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slideLayouts/slideLayout792.xml" ContentType="application/vnd.openxmlformats-officedocument.presentationml.slideLayout+xml"/>
  <Override PartName="/ppt/slideLayouts/slideLayout793.xml" ContentType="application/vnd.openxmlformats-officedocument.presentationml.slideLayout+xml"/>
  <Override PartName="/ppt/slideLayouts/slideLayout794.xml" ContentType="application/vnd.openxmlformats-officedocument.presentationml.slideLayout+xml"/>
  <Override PartName="/ppt/slideLayouts/slideLayout795.xml" ContentType="application/vnd.openxmlformats-officedocument.presentationml.slideLayout+xml"/>
  <Override PartName="/ppt/slideLayouts/slideLayout796.xml" ContentType="application/vnd.openxmlformats-officedocument.presentationml.slideLayout+xml"/>
  <Override PartName="/ppt/slideLayouts/slideLayout797.xml" ContentType="application/vnd.openxmlformats-officedocument.presentationml.slideLayout+xml"/>
  <Override PartName="/ppt/slideLayouts/slideLayout798.xml" ContentType="application/vnd.openxmlformats-officedocument.presentationml.slideLayout+xml"/>
  <Override PartName="/ppt/slideLayouts/slideLayout799.xml" ContentType="application/vnd.openxmlformats-officedocument.presentationml.slideLayout+xml"/>
  <Override PartName="/ppt/slideLayouts/slideLayout800.xml" ContentType="application/vnd.openxmlformats-officedocument.presentationml.slideLayout+xml"/>
  <Override PartName="/ppt/slideLayouts/slideLayout801.xml" ContentType="application/vnd.openxmlformats-officedocument.presentationml.slideLayout+xml"/>
  <Override PartName="/ppt/slideLayouts/slideLayout802.xml" ContentType="application/vnd.openxmlformats-officedocument.presentationml.slideLayout+xml"/>
  <Override PartName="/ppt/slideLayouts/slideLayout803.xml" ContentType="application/vnd.openxmlformats-officedocument.presentationml.slideLayout+xml"/>
  <Override PartName="/ppt/slideLayouts/slideLayout804.xml" ContentType="application/vnd.openxmlformats-officedocument.presentationml.slideLayout+xml"/>
  <Override PartName="/ppt/slideLayouts/slideLayout805.xml" ContentType="application/vnd.openxmlformats-officedocument.presentationml.slideLayout+xml"/>
  <Override PartName="/ppt/slideLayouts/slideLayout806.xml" ContentType="application/vnd.openxmlformats-officedocument.presentationml.slideLayout+xml"/>
  <Override PartName="/ppt/slideLayouts/slideLayout807.xml" ContentType="application/vnd.openxmlformats-officedocument.presentationml.slideLayout+xml"/>
  <Override PartName="/ppt/slideLayouts/slideLayout808.xml" ContentType="application/vnd.openxmlformats-officedocument.presentationml.slideLayout+xml"/>
  <Override PartName="/ppt/slideLayouts/slideLayout809.xml" ContentType="application/vnd.openxmlformats-officedocument.presentationml.slideLayout+xml"/>
  <Override PartName="/ppt/slideLayouts/slideLayout810.xml" ContentType="application/vnd.openxmlformats-officedocument.presentationml.slideLayout+xml"/>
  <Override PartName="/ppt/slideLayouts/slideLayout811.xml" ContentType="application/vnd.openxmlformats-officedocument.presentationml.slideLayout+xml"/>
  <Override PartName="/ppt/slideLayouts/slideLayout812.xml" ContentType="application/vnd.openxmlformats-officedocument.presentationml.slideLayout+xml"/>
  <Override PartName="/ppt/slideLayouts/slideLayout813.xml" ContentType="application/vnd.openxmlformats-officedocument.presentationml.slideLayout+xml"/>
  <Override PartName="/ppt/slideLayouts/slideLayout814.xml" ContentType="application/vnd.openxmlformats-officedocument.presentationml.slideLayout+xml"/>
  <Override PartName="/ppt/slideLayouts/slideLayout815.xml" ContentType="application/vnd.openxmlformats-officedocument.presentationml.slideLayout+xml"/>
  <Override PartName="/ppt/slideLayouts/slideLayout816.xml" ContentType="application/vnd.openxmlformats-officedocument.presentationml.slideLayout+xml"/>
  <Override PartName="/ppt/slideLayouts/slideLayout817.xml" ContentType="application/vnd.openxmlformats-officedocument.presentationml.slideLayout+xml"/>
  <Override PartName="/ppt/slideLayouts/slideLayout818.xml" ContentType="application/vnd.openxmlformats-officedocument.presentationml.slideLayout+xml"/>
  <Override PartName="/ppt/slideLayouts/slideLayout819.xml" ContentType="application/vnd.openxmlformats-officedocument.presentationml.slideLayout+xml"/>
  <Override PartName="/ppt/slideLayouts/slideLayout820.xml" ContentType="application/vnd.openxmlformats-officedocument.presentationml.slideLayout+xml"/>
  <Override PartName="/ppt/slideLayouts/slideLayout821.xml" ContentType="application/vnd.openxmlformats-officedocument.presentationml.slideLayout+xml"/>
  <Override PartName="/ppt/slideLayouts/slideLayout822.xml" ContentType="application/vnd.openxmlformats-officedocument.presentationml.slideLayout+xml"/>
  <Override PartName="/ppt/slideLayouts/slideLayout823.xml" ContentType="application/vnd.openxmlformats-officedocument.presentationml.slideLayout+xml"/>
  <Override PartName="/ppt/slideLayouts/slideLayout824.xml" ContentType="application/vnd.openxmlformats-officedocument.presentationml.slideLayout+xml"/>
  <Override PartName="/ppt/slideLayouts/slideLayout825.xml" ContentType="application/vnd.openxmlformats-officedocument.presentationml.slideLayout+xml"/>
  <Override PartName="/ppt/slideLayouts/slideLayout826.xml" ContentType="application/vnd.openxmlformats-officedocument.presentationml.slideLayout+xml"/>
  <Override PartName="/ppt/slideLayouts/slideLayout827.xml" ContentType="application/vnd.openxmlformats-officedocument.presentationml.slideLayout+xml"/>
  <Override PartName="/ppt/slideLayouts/slideLayout828.xml" ContentType="application/vnd.openxmlformats-officedocument.presentationml.slideLayout+xml"/>
  <Override PartName="/ppt/slideLayouts/slideLayout829.xml" ContentType="application/vnd.openxmlformats-officedocument.presentationml.slideLayout+xml"/>
  <Override PartName="/ppt/slideLayouts/slideLayout830.xml" ContentType="application/vnd.openxmlformats-officedocument.presentationml.slideLayout+xml"/>
  <Override PartName="/ppt/slideLayouts/slideLayout831.xml" ContentType="application/vnd.openxmlformats-officedocument.presentationml.slideLayout+xml"/>
  <Override PartName="/ppt/slideLayouts/slideLayout832.xml" ContentType="application/vnd.openxmlformats-officedocument.presentationml.slideLayout+xml"/>
  <Override PartName="/ppt/slideLayouts/slideLayout833.xml" ContentType="application/vnd.openxmlformats-officedocument.presentationml.slideLayout+xml"/>
  <Override PartName="/ppt/slideLayouts/slideLayout834.xml" ContentType="application/vnd.openxmlformats-officedocument.presentationml.slideLayout+xml"/>
  <Override PartName="/ppt/slideLayouts/slideLayout835.xml" ContentType="application/vnd.openxmlformats-officedocument.presentationml.slideLayout+xml"/>
  <Override PartName="/ppt/slideLayouts/slideLayout836.xml" ContentType="application/vnd.openxmlformats-officedocument.presentationml.slideLayout+xml"/>
  <Override PartName="/ppt/slideLayouts/slideLayout837.xml" ContentType="application/vnd.openxmlformats-officedocument.presentationml.slideLayout+xml"/>
  <Override PartName="/ppt/slideLayouts/slideLayout838.xml" ContentType="application/vnd.openxmlformats-officedocument.presentationml.slideLayout+xml"/>
  <Override PartName="/ppt/slideLayouts/slideLayout839.xml" ContentType="application/vnd.openxmlformats-officedocument.presentationml.slideLayout+xml"/>
  <Override PartName="/ppt/slideLayouts/slideLayout840.xml" ContentType="application/vnd.openxmlformats-officedocument.presentationml.slideLayout+xml"/>
  <Override PartName="/ppt/slideLayouts/slideLayout841.xml" ContentType="application/vnd.openxmlformats-officedocument.presentationml.slideLayout+xml"/>
  <Override PartName="/ppt/slideLayouts/slideLayout842.xml" ContentType="application/vnd.openxmlformats-officedocument.presentationml.slideLayout+xml"/>
  <Override PartName="/ppt/slideLayouts/slideLayout843.xml" ContentType="application/vnd.openxmlformats-officedocument.presentationml.slideLayout+xml"/>
  <Override PartName="/ppt/slideLayouts/slideLayout844.xml" ContentType="application/vnd.openxmlformats-officedocument.presentationml.slideLayout+xml"/>
  <Override PartName="/ppt/slideLayouts/slideLayout845.xml" ContentType="application/vnd.openxmlformats-officedocument.presentationml.slideLayout+xml"/>
  <Override PartName="/ppt/slideLayouts/slideLayout846.xml" ContentType="application/vnd.openxmlformats-officedocument.presentationml.slideLayout+xml"/>
  <Override PartName="/ppt/slideLayouts/slideLayout847.xml" ContentType="application/vnd.openxmlformats-officedocument.presentationml.slideLayout+xml"/>
  <Override PartName="/ppt/slideLayouts/slideLayout848.xml" ContentType="application/vnd.openxmlformats-officedocument.presentationml.slideLayout+xml"/>
  <Override PartName="/ppt/slideLayouts/slideLayout849.xml" ContentType="application/vnd.openxmlformats-officedocument.presentationml.slideLayout+xml"/>
  <Override PartName="/ppt/slideLayouts/slideLayout850.xml" ContentType="application/vnd.openxmlformats-officedocument.presentationml.slideLayout+xml"/>
  <Override PartName="/ppt/slideLayouts/slideLayout851.xml" ContentType="application/vnd.openxmlformats-officedocument.presentationml.slideLayout+xml"/>
  <Override PartName="/ppt/slideLayouts/slideLayout852.xml" ContentType="application/vnd.openxmlformats-officedocument.presentationml.slideLayout+xml"/>
  <Override PartName="/ppt/slideLayouts/slideLayout853.xml" ContentType="application/vnd.openxmlformats-officedocument.presentationml.slideLayout+xml"/>
  <Override PartName="/ppt/slideLayouts/slideLayout854.xml" ContentType="application/vnd.openxmlformats-officedocument.presentationml.slideLayout+xml"/>
  <Override PartName="/ppt/slideLayouts/slideLayout855.xml" ContentType="application/vnd.openxmlformats-officedocument.presentationml.slideLayout+xml"/>
  <Override PartName="/ppt/slideLayouts/slideLayout856.xml" ContentType="application/vnd.openxmlformats-officedocument.presentationml.slideLayout+xml"/>
  <Override PartName="/ppt/slideLayouts/slideLayout857.xml" ContentType="application/vnd.openxmlformats-officedocument.presentationml.slideLayout+xml"/>
  <Override PartName="/ppt/slideLayouts/slideLayout858.xml" ContentType="application/vnd.openxmlformats-officedocument.presentationml.slideLayout+xml"/>
  <Override PartName="/ppt/slideLayouts/slideLayout859.xml" ContentType="application/vnd.openxmlformats-officedocument.presentationml.slideLayout+xml"/>
  <Override PartName="/ppt/slideLayouts/slideLayout860.xml" ContentType="application/vnd.openxmlformats-officedocument.presentationml.slideLayout+xml"/>
  <Override PartName="/ppt/slideLayouts/slideLayout861.xml" ContentType="application/vnd.openxmlformats-officedocument.presentationml.slideLayout+xml"/>
  <Override PartName="/ppt/slideLayouts/slideLayout862.xml" ContentType="application/vnd.openxmlformats-officedocument.presentationml.slideLayout+xml"/>
  <Override PartName="/ppt/slideLayouts/slideLayout863.xml" ContentType="application/vnd.openxmlformats-officedocument.presentationml.slideLayout+xml"/>
  <Override PartName="/ppt/slideLayouts/slideLayout864.xml" ContentType="application/vnd.openxmlformats-officedocument.presentationml.slideLayout+xml"/>
  <Override PartName="/ppt/slideLayouts/slideLayout865.xml" ContentType="application/vnd.openxmlformats-officedocument.presentationml.slideLayout+xml"/>
  <Override PartName="/ppt/slideLayouts/slideLayout866.xml" ContentType="application/vnd.openxmlformats-officedocument.presentationml.slideLayout+xml"/>
  <Override PartName="/ppt/slideLayouts/slideLayout867.xml" ContentType="application/vnd.openxmlformats-officedocument.presentationml.slideLayout+xml"/>
  <Override PartName="/ppt/slideLayouts/slideLayout868.xml" ContentType="application/vnd.openxmlformats-officedocument.presentationml.slideLayout+xml"/>
  <Override PartName="/ppt/slideLayouts/slideLayout869.xml" ContentType="application/vnd.openxmlformats-officedocument.presentationml.slideLayout+xml"/>
  <Override PartName="/ppt/slideLayouts/slideLayout870.xml" ContentType="application/vnd.openxmlformats-officedocument.presentationml.slideLayout+xml"/>
  <Override PartName="/ppt/slideLayouts/slideLayout871.xml" ContentType="application/vnd.openxmlformats-officedocument.presentationml.slideLayout+xml"/>
  <Override PartName="/ppt/slideLayouts/slideLayout872.xml" ContentType="application/vnd.openxmlformats-officedocument.presentationml.slideLayout+xml"/>
  <Override PartName="/ppt/slideLayouts/slideLayout873.xml" ContentType="application/vnd.openxmlformats-officedocument.presentationml.slideLayout+xml"/>
  <Override PartName="/ppt/slideLayouts/slideLayout874.xml" ContentType="application/vnd.openxmlformats-officedocument.presentationml.slideLayout+xml"/>
  <Override PartName="/ppt/slideLayouts/slideLayout875.xml" ContentType="application/vnd.openxmlformats-officedocument.presentationml.slideLayout+xml"/>
  <Override PartName="/ppt/slideLayouts/slideLayout876.xml" ContentType="application/vnd.openxmlformats-officedocument.presentationml.slideLayout+xml"/>
  <Override PartName="/ppt/slideLayouts/slideLayout877.xml" ContentType="application/vnd.openxmlformats-officedocument.presentationml.slideLayout+xml"/>
  <Override PartName="/ppt/slideLayouts/slideLayout878.xml" ContentType="application/vnd.openxmlformats-officedocument.presentationml.slideLayout+xml"/>
  <Override PartName="/ppt/slideLayouts/slideLayout879.xml" ContentType="application/vnd.openxmlformats-officedocument.presentationml.slideLayout+xml"/>
  <Override PartName="/ppt/slideLayouts/slideLayout880.xml" ContentType="application/vnd.openxmlformats-officedocument.presentationml.slideLayout+xml"/>
  <Override PartName="/ppt/slideLayouts/slideLayout881.xml" ContentType="application/vnd.openxmlformats-officedocument.presentationml.slideLayout+xml"/>
  <Override PartName="/ppt/slideLayouts/slideLayout882.xml" ContentType="application/vnd.openxmlformats-officedocument.presentationml.slideLayout+xml"/>
  <Override PartName="/ppt/slideLayouts/slideLayout883.xml" ContentType="application/vnd.openxmlformats-officedocument.presentationml.slideLayout+xml"/>
  <Override PartName="/ppt/slideLayouts/slideLayout884.xml" ContentType="application/vnd.openxmlformats-officedocument.presentationml.slideLayout+xml"/>
  <Override PartName="/ppt/slideLayouts/slideLayout885.xml" ContentType="application/vnd.openxmlformats-officedocument.presentationml.slideLayout+xml"/>
  <Override PartName="/ppt/slideLayouts/slideLayout886.xml" ContentType="application/vnd.openxmlformats-officedocument.presentationml.slideLayout+xml"/>
  <Override PartName="/ppt/slideLayouts/slideLayout887.xml" ContentType="application/vnd.openxmlformats-officedocument.presentationml.slideLayout+xml"/>
  <Override PartName="/ppt/slideLayouts/slideLayout888.xml" ContentType="application/vnd.openxmlformats-officedocument.presentationml.slideLayout+xml"/>
  <Override PartName="/ppt/slideLayouts/slideLayout889.xml" ContentType="application/vnd.openxmlformats-officedocument.presentationml.slideLayout+xml"/>
  <Override PartName="/ppt/slideLayouts/slideLayout890.xml" ContentType="application/vnd.openxmlformats-officedocument.presentationml.slideLayout+xml"/>
  <Override PartName="/ppt/slideLayouts/slideLayout891.xml" ContentType="application/vnd.openxmlformats-officedocument.presentationml.slideLayout+xml"/>
  <Override PartName="/ppt/slideLayouts/slideLayout892.xml" ContentType="application/vnd.openxmlformats-officedocument.presentationml.slideLayout+xml"/>
  <Override PartName="/ppt/slideLayouts/slideLayout893.xml" ContentType="application/vnd.openxmlformats-officedocument.presentationml.slideLayout+xml"/>
  <Override PartName="/ppt/slideLayouts/slideLayout894.xml" ContentType="application/vnd.openxmlformats-officedocument.presentationml.slideLayout+xml"/>
  <Override PartName="/ppt/slideLayouts/slideLayout895.xml" ContentType="application/vnd.openxmlformats-officedocument.presentationml.slideLayout+xml"/>
  <Override PartName="/ppt/slideLayouts/slideLayout896.xml" ContentType="application/vnd.openxmlformats-officedocument.presentationml.slideLayout+xml"/>
  <Override PartName="/ppt/slideLayouts/slideLayout897.xml" ContentType="application/vnd.openxmlformats-officedocument.presentationml.slideLayout+xml"/>
  <Override PartName="/ppt/slideLayouts/slideLayout898.xml" ContentType="application/vnd.openxmlformats-officedocument.presentationml.slideLayout+xml"/>
  <Override PartName="/ppt/slideLayouts/slideLayout899.xml" ContentType="application/vnd.openxmlformats-officedocument.presentationml.slideLayout+xml"/>
  <Override PartName="/ppt/slideLayouts/slideLayout900.xml" ContentType="application/vnd.openxmlformats-officedocument.presentationml.slideLayout+xml"/>
  <Override PartName="/ppt/slideLayouts/slideLayout901.xml" ContentType="application/vnd.openxmlformats-officedocument.presentationml.slideLayout+xml"/>
  <Override PartName="/ppt/slideLayouts/slideLayout902.xml" ContentType="application/vnd.openxmlformats-officedocument.presentationml.slideLayout+xml"/>
  <Override PartName="/ppt/slideLayouts/slideLayout903.xml" ContentType="application/vnd.openxmlformats-officedocument.presentationml.slideLayout+xml"/>
  <Override PartName="/ppt/slideLayouts/slideLayout904.xml" ContentType="application/vnd.openxmlformats-officedocument.presentationml.slideLayout+xml"/>
  <Override PartName="/ppt/slideLayouts/slideLayout905.xml" ContentType="application/vnd.openxmlformats-officedocument.presentationml.slideLayout+xml"/>
  <Override PartName="/ppt/slideLayouts/slideLayout906.xml" ContentType="application/vnd.openxmlformats-officedocument.presentationml.slideLayout+xml"/>
  <Override PartName="/ppt/slideLayouts/slideLayout907.xml" ContentType="application/vnd.openxmlformats-officedocument.presentationml.slideLayout+xml"/>
  <Override PartName="/ppt/slideLayouts/slideLayout908.xml" ContentType="application/vnd.openxmlformats-officedocument.presentationml.slideLayout+xml"/>
  <Override PartName="/ppt/slideLayouts/slideLayout909.xml" ContentType="application/vnd.openxmlformats-officedocument.presentationml.slideLayout+xml"/>
  <Override PartName="/ppt/slideLayouts/slideLayout910.xml" ContentType="application/vnd.openxmlformats-officedocument.presentationml.slideLayout+xml"/>
  <Override PartName="/ppt/slideLayouts/slideLayout911.xml" ContentType="application/vnd.openxmlformats-officedocument.presentationml.slideLayout+xml"/>
  <Override PartName="/ppt/slideLayouts/slideLayout912.xml" ContentType="application/vnd.openxmlformats-officedocument.presentationml.slideLayout+xml"/>
  <Override PartName="/ppt/slideLayouts/slideLayout913.xml" ContentType="application/vnd.openxmlformats-officedocument.presentationml.slideLayout+xml"/>
  <Override PartName="/ppt/slideLayouts/slideLayout914.xml" ContentType="application/vnd.openxmlformats-officedocument.presentationml.slideLayout+xml"/>
  <Override PartName="/ppt/slideLayouts/slideLayout915.xml" ContentType="application/vnd.openxmlformats-officedocument.presentationml.slideLayout+xml"/>
  <Override PartName="/ppt/slideLayouts/slideLayout916.xml" ContentType="application/vnd.openxmlformats-officedocument.presentationml.slideLayout+xml"/>
  <Override PartName="/ppt/slideLayouts/slideLayout917.xml" ContentType="application/vnd.openxmlformats-officedocument.presentationml.slideLayout+xml"/>
  <Override PartName="/ppt/slideLayouts/slideLayout918.xml" ContentType="application/vnd.openxmlformats-officedocument.presentationml.slideLayout+xml"/>
  <Override PartName="/ppt/slideLayouts/slideLayout919.xml" ContentType="application/vnd.openxmlformats-officedocument.presentationml.slideLayout+xml"/>
  <Override PartName="/ppt/slideLayouts/slideLayout920.xml" ContentType="application/vnd.openxmlformats-officedocument.presentationml.slideLayout+xml"/>
  <Override PartName="/ppt/slideLayouts/slideLayout921.xml" ContentType="application/vnd.openxmlformats-officedocument.presentationml.slideLayout+xml"/>
  <Override PartName="/ppt/slideLayouts/slideLayout922.xml" ContentType="application/vnd.openxmlformats-officedocument.presentationml.slideLayout+xml"/>
  <Override PartName="/ppt/slideLayouts/slideLayout923.xml" ContentType="application/vnd.openxmlformats-officedocument.presentationml.slideLayout+xml"/>
  <Override PartName="/ppt/slideLayouts/slideLayout924.xml" ContentType="application/vnd.openxmlformats-officedocument.presentationml.slideLayout+xml"/>
  <Override PartName="/ppt/slideLayouts/slideLayout925.xml" ContentType="application/vnd.openxmlformats-officedocument.presentationml.slideLayout+xml"/>
  <Override PartName="/ppt/slideLayouts/slideLayout926.xml" ContentType="application/vnd.openxmlformats-officedocument.presentationml.slideLayout+xml"/>
  <Override PartName="/ppt/slideLayouts/slideLayout927.xml" ContentType="application/vnd.openxmlformats-officedocument.presentationml.slideLayout+xml"/>
  <Override PartName="/ppt/slideLayouts/slideLayout928.xml" ContentType="application/vnd.openxmlformats-officedocument.presentationml.slideLayout+xml"/>
  <Override PartName="/ppt/slideLayouts/slideLayout929.xml" ContentType="application/vnd.openxmlformats-officedocument.presentationml.slideLayout+xml"/>
  <Override PartName="/ppt/slideLayouts/slideLayout930.xml" ContentType="application/vnd.openxmlformats-officedocument.presentationml.slideLayout+xml"/>
  <Override PartName="/ppt/slideLayouts/slideLayout931.xml" ContentType="application/vnd.openxmlformats-officedocument.presentationml.slideLayout+xml"/>
  <Override PartName="/ppt/slideLayouts/slideLayout932.xml" ContentType="application/vnd.openxmlformats-officedocument.presentationml.slideLayout+xml"/>
  <Override PartName="/ppt/slideLayouts/slideLayout933.xml" ContentType="application/vnd.openxmlformats-officedocument.presentationml.slideLayout+xml"/>
  <Override PartName="/ppt/slideLayouts/slideLayout934.xml" ContentType="application/vnd.openxmlformats-officedocument.presentationml.slideLayout+xml"/>
  <Override PartName="/ppt/slideLayouts/slideLayout935.xml" ContentType="application/vnd.openxmlformats-officedocument.presentationml.slideLayout+xml"/>
  <Override PartName="/ppt/slideLayouts/slideLayout936.xml" ContentType="application/vnd.openxmlformats-officedocument.presentationml.slideLayout+xml"/>
  <Override PartName="/ppt/slideLayouts/slideLayout937.xml" ContentType="application/vnd.openxmlformats-officedocument.presentationml.slideLayout+xml"/>
  <Override PartName="/ppt/slideLayouts/slideLayout938.xml" ContentType="application/vnd.openxmlformats-officedocument.presentationml.slideLayout+xml"/>
  <Override PartName="/ppt/slideLayouts/slideLayout939.xml" ContentType="application/vnd.openxmlformats-officedocument.presentationml.slideLayout+xml"/>
  <Override PartName="/ppt/slideLayouts/slideLayout940.xml" ContentType="application/vnd.openxmlformats-officedocument.presentationml.slideLayout+xml"/>
  <Override PartName="/ppt/slideLayouts/slideLayout941.xml" ContentType="application/vnd.openxmlformats-officedocument.presentationml.slideLayout+xml"/>
  <Override PartName="/ppt/slideLayouts/slideLayout942.xml" ContentType="application/vnd.openxmlformats-officedocument.presentationml.slideLayout+xml"/>
  <Override PartName="/ppt/slideLayouts/slideLayout943.xml" ContentType="application/vnd.openxmlformats-officedocument.presentationml.slideLayout+xml"/>
  <Override PartName="/ppt/slideLayouts/slideLayout944.xml" ContentType="application/vnd.openxmlformats-officedocument.presentationml.slideLayout+xml"/>
  <Override PartName="/ppt/slideLayouts/slideLayout945.xml" ContentType="application/vnd.openxmlformats-officedocument.presentationml.slideLayout+xml"/>
  <Override PartName="/ppt/slideLayouts/slideLayout946.xml" ContentType="application/vnd.openxmlformats-officedocument.presentationml.slideLayout+xml"/>
  <Override PartName="/ppt/slideLayouts/slideLayout947.xml" ContentType="application/vnd.openxmlformats-officedocument.presentationml.slideLayout+xml"/>
  <Override PartName="/ppt/slideLayouts/slideLayout948.xml" ContentType="application/vnd.openxmlformats-officedocument.presentationml.slideLayout+xml"/>
  <Override PartName="/ppt/slideLayouts/slideLayout949.xml" ContentType="application/vnd.openxmlformats-officedocument.presentationml.slideLayout+xml"/>
  <Override PartName="/ppt/slideLayouts/slideLayout950.xml" ContentType="application/vnd.openxmlformats-officedocument.presentationml.slideLayout+xml"/>
  <Override PartName="/ppt/slideLayouts/slideLayout951.xml" ContentType="application/vnd.openxmlformats-officedocument.presentationml.slideLayout+xml"/>
  <Override PartName="/ppt/slideLayouts/slideLayout952.xml" ContentType="application/vnd.openxmlformats-officedocument.presentationml.slideLayout+xml"/>
  <Override PartName="/ppt/slideLayouts/slideLayout953.xml" ContentType="application/vnd.openxmlformats-officedocument.presentationml.slideLayout+xml"/>
  <Override PartName="/ppt/slideLayouts/slideLayout954.xml" ContentType="application/vnd.openxmlformats-officedocument.presentationml.slideLayout+xml"/>
  <Override PartName="/ppt/slideLayouts/slideLayout955.xml" ContentType="application/vnd.openxmlformats-officedocument.presentationml.slideLayout+xml"/>
  <Override PartName="/ppt/slideLayouts/slideLayout956.xml" ContentType="application/vnd.openxmlformats-officedocument.presentationml.slideLayout+xml"/>
  <Override PartName="/ppt/theme/theme2.xml" ContentType="application/vnd.openxmlformats-officedocument.theme+xml"/>
  <Override PartName="/ppt/slideLayouts/slideLayout957.xml" ContentType="application/vnd.openxmlformats-officedocument.presentationml.slideLayout+xml"/>
  <Override PartName="/ppt/slideLayouts/slideLayout958.xml" ContentType="application/vnd.openxmlformats-officedocument.presentationml.slideLayout+xml"/>
  <Override PartName="/ppt/slideLayouts/slideLayout959.xml" ContentType="application/vnd.openxmlformats-officedocument.presentationml.slideLayout+xml"/>
  <Override PartName="/ppt/slideLayouts/slideLayout960.xml" ContentType="application/vnd.openxmlformats-officedocument.presentationml.slideLayout+xml"/>
  <Override PartName="/ppt/slideLayouts/slideLayout961.xml" ContentType="application/vnd.openxmlformats-officedocument.presentationml.slideLayout+xml"/>
  <Override PartName="/ppt/slideLayouts/slideLayout962.xml" ContentType="application/vnd.openxmlformats-officedocument.presentationml.slideLayout+xml"/>
  <Override PartName="/ppt/slideLayouts/slideLayout963.xml" ContentType="application/vnd.openxmlformats-officedocument.presentationml.slideLayout+xml"/>
  <Override PartName="/ppt/slideLayouts/slideLayout964.xml" ContentType="application/vnd.openxmlformats-officedocument.presentationml.slideLayout+xml"/>
  <Override PartName="/ppt/slideLayouts/slideLayout965.xml" ContentType="application/vnd.openxmlformats-officedocument.presentationml.slideLayout+xml"/>
  <Override PartName="/ppt/slideLayouts/slideLayout966.xml" ContentType="application/vnd.openxmlformats-officedocument.presentationml.slideLayout+xml"/>
  <Override PartName="/ppt/slideLayouts/slideLayout96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omments/modernComment_149_B9BB8372.xml" ContentType="application/vnd.ms-powerpoint.comment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omments/modernComment_139_A43AC41B.xml" ContentType="application/vnd.ms-powerpoint.comments+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7158" r:id="rId1"/>
    <p:sldMasterId id="2147483648" r:id="rId2"/>
    <p:sldMasterId id="2147487385" r:id="rId3"/>
  </p:sldMasterIdLst>
  <p:notesMasterIdLst>
    <p:notesMasterId r:id="rId40"/>
  </p:notesMasterIdLst>
  <p:sldIdLst>
    <p:sldId id="295" r:id="rId4"/>
    <p:sldId id="261" r:id="rId5"/>
    <p:sldId id="259" r:id="rId6"/>
    <p:sldId id="294" r:id="rId7"/>
    <p:sldId id="331" r:id="rId8"/>
    <p:sldId id="257" r:id="rId9"/>
    <p:sldId id="298" r:id="rId10"/>
    <p:sldId id="329" r:id="rId11"/>
    <p:sldId id="297" r:id="rId12"/>
    <p:sldId id="336" r:id="rId13"/>
    <p:sldId id="338" r:id="rId14"/>
    <p:sldId id="308" r:id="rId15"/>
    <p:sldId id="328" r:id="rId16"/>
    <p:sldId id="312" r:id="rId17"/>
    <p:sldId id="332" r:id="rId18"/>
    <p:sldId id="311" r:id="rId19"/>
    <p:sldId id="313" r:id="rId20"/>
    <p:sldId id="309" r:id="rId21"/>
    <p:sldId id="300" r:id="rId22"/>
    <p:sldId id="327" r:id="rId23"/>
    <p:sldId id="326" r:id="rId24"/>
    <p:sldId id="325" r:id="rId25"/>
    <p:sldId id="324" r:id="rId26"/>
    <p:sldId id="323" r:id="rId27"/>
    <p:sldId id="322" r:id="rId28"/>
    <p:sldId id="321" r:id="rId29"/>
    <p:sldId id="320" r:id="rId30"/>
    <p:sldId id="319" r:id="rId31"/>
    <p:sldId id="318" r:id="rId32"/>
    <p:sldId id="317" r:id="rId33"/>
    <p:sldId id="316" r:id="rId34"/>
    <p:sldId id="315" r:id="rId35"/>
    <p:sldId id="314" r:id="rId36"/>
    <p:sldId id="337" r:id="rId37"/>
    <p:sldId id="264" r:id="rId38"/>
    <p:sldId id="330" r:id="rId3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5FBE01E-7B92-B9C0-0995-5C3FE74E91A1}" name="Alana Rivera" initials="AR" userId="S::arg3669@ads.northwestern.edu::fc8b707a-b7e9-4f2a-8d71-2d76819b7881" providerId="AD"/>
  <p188:author id="{FCF8223C-610E-2BBA-F33B-0E1F55F6BB33}" name="Patricia Ann Lee King" initials="PK" userId="S::pal094@ads.northwestern.edu::dbab7ec2-5444-4d21-afe7-a39974533ddc" providerId="AD"/>
  <p188:author id="{0B48CC40-4357-5959-C41E-8F630855A478}" name="Aleena Lida Surenian" initials="AS" userId="S::als0813@ads.northwestern.edu::e2fd0e4e-6417-49b0-ab16-0ba26a1719f0"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B876A4F-AD42-CBBA-EE00-82C0FA4D3C5B}" v="65" dt="2023-10-27T19:00:17.188"/>
    <p1510:client id="{1148AA69-EB47-4771-A3F4-7FD541A22206}" v="181" dt="2022-10-24T05:59:21.838"/>
    <p1510:client id="{1D502B6E-D6DA-150A-2E60-633C9D8FDAC2}" v="4" dt="2022-10-26T17:12:04.780"/>
    <p1510:client id="{3AF81392-8C37-6BCB-FF68-A5FD1FDBE964}" v="182" dt="2022-10-26T15:48:39.608"/>
    <p1510:client id="{42A43FDF-78EB-CB61-4BF2-137ACA597BBB}" v="435" dt="2023-10-19T14:00:45.584"/>
    <p1510:client id="{49E8B3CF-D83D-A40E-3C36-DB4BE4D2F37F}" v="33" dt="2023-10-31T01:51:24.151"/>
    <p1510:client id="{4EE8648F-3C20-EDC7-AF6F-9D8A3E63CEA1}" v="28" dt="2023-10-21T15:34:59.022"/>
    <p1510:client id="{5B3ABB19-CE13-712D-6175-E23D36AEEC92}" v="15" dt="2023-10-26T19:29:28.236"/>
    <p1510:client id="{62B35DF4-4029-0A2B-969D-23D6229D4407}" v="175" dt="2023-10-31T21:40:32.404"/>
    <p1510:client id="{69900CFE-5F1D-3447-652C-765EC062E95C}" v="14" dt="2023-10-26T22:04:00.953"/>
    <p1510:client id="{8445105A-0FC8-750A-CF3C-EF6C46DA4DC7}" v="71" dt="2023-11-10T15:48:22.626"/>
    <p1510:client id="{A15ABF4C-D96F-B11A-8358-5EDCB822D569}" v="1000" dt="2023-11-01T03:04:53.087"/>
    <p1510:client id="{A78FD106-6DFD-7C54-3E6F-6E1E09738B14}" v="127" dt="2023-10-19T14:38:33.029"/>
    <p1510:client id="{A8A6FDFC-1230-1E0A-850E-DC5E3510C336}" v="448" dt="2023-10-19T14:30:11.524"/>
    <p1510:client id="{B58B0361-A678-B228-69DF-9F4C6BABC781}" v="1" dt="2023-11-02T10:57:29.414"/>
    <p1510:client id="{C8103C42-2934-D793-1836-1B2A892D4325}" v="1" dt="2023-11-02T14:40:05.506"/>
    <p1510:client id="{C8BD7206-BBA1-3D07-E4B7-8AEBDB0410A0}" v="1" dt="2023-10-27T19:08:58.960"/>
    <p1510:client id="{DDB9926A-E2DC-C891-D03C-4D1065848DE4}" v="308" dt="2023-10-31T19:02:31.692"/>
    <p1510:client id="{E15CFE83-0DD0-D96F-5C44-5E4D51B26DA8}" v="36" dt="2023-10-31T02:35:32.13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viewProps" Target="viewProps.xml"/><Relationship Id="rId47" Type="http://schemas.microsoft.com/office/2018/10/relationships/authors" Target="author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notesMaster" Target="notesMasters/notesMaster1.xml"/><Relationship Id="rId45" Type="http://schemas.microsoft.com/office/2016/11/relationships/changesInfo" Target="changesInfos/changesInfo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theme" Target="theme/theme1.xml"/><Relationship Id="rId8" Type="http://schemas.openxmlformats.org/officeDocument/2006/relationships/slide" Target="slides/slide5.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microsoft.com/office/2015/10/relationships/revisionInfo" Target="revisionInfo.xml"/><Relationship Id="rId20" Type="http://schemas.openxmlformats.org/officeDocument/2006/relationships/slide" Target="slides/slide17.xml"/><Relationship Id="rId41"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atricia Ann Lee King" userId="S::pal094@ads.northwestern.edu::dbab7ec2-5444-4d21-afe7-a39974533ddc" providerId="AD" clId="Web-{DDB9926A-E2DC-C891-D03C-4D1065848DE4}"/>
    <pc:docChg chg="addSld delSld modSld sldOrd">
      <pc:chgData name="Patricia Ann Lee King" userId="S::pal094@ads.northwestern.edu::dbab7ec2-5444-4d21-afe7-a39974533ddc" providerId="AD" clId="Web-{DDB9926A-E2DC-C891-D03C-4D1065848DE4}" dt="2023-10-31T19:02:31.676" v="386" actId="20577"/>
      <pc:docMkLst>
        <pc:docMk/>
      </pc:docMkLst>
      <pc:sldChg chg="modSp">
        <pc:chgData name="Patricia Ann Lee King" userId="S::pal094@ads.northwestern.edu::dbab7ec2-5444-4d21-afe7-a39974533ddc" providerId="AD" clId="Web-{DDB9926A-E2DC-C891-D03C-4D1065848DE4}" dt="2023-10-31T18:16:24.007" v="16" actId="20577"/>
        <pc:sldMkLst>
          <pc:docMk/>
          <pc:sldMk cId="3240133074" sldId="259"/>
        </pc:sldMkLst>
        <pc:spChg chg="mod">
          <ac:chgData name="Patricia Ann Lee King" userId="S::pal094@ads.northwestern.edu::dbab7ec2-5444-4d21-afe7-a39974533ddc" providerId="AD" clId="Web-{DDB9926A-E2DC-C891-D03C-4D1065848DE4}" dt="2023-10-31T18:16:24.007" v="16" actId="20577"/>
          <ac:spMkLst>
            <pc:docMk/>
            <pc:sldMk cId="3240133074" sldId="259"/>
            <ac:spMk id="7" creationId="{7E13C86E-7C8D-3F7D-948E-5B86E04CE1A7}"/>
          </ac:spMkLst>
        </pc:spChg>
      </pc:sldChg>
      <pc:sldChg chg="delCm">
        <pc:chgData name="Patricia Ann Lee King" userId="S::pal094@ads.northwestern.edu::dbab7ec2-5444-4d21-afe7-a39974533ddc" providerId="AD" clId="Web-{DDB9926A-E2DC-C891-D03C-4D1065848DE4}" dt="2023-10-31T18:16:29.913" v="17"/>
        <pc:sldMkLst>
          <pc:docMk/>
          <pc:sldMk cId="2134732932" sldId="294"/>
        </pc:sldMkLst>
        <pc:extLst>
          <p:ext xmlns:p="http://schemas.openxmlformats.org/presentationml/2006/main" uri="{D6D511B9-2390-475A-947B-AFAB55BFBCF1}">
            <pc226:cmChg xmlns:pc226="http://schemas.microsoft.com/office/powerpoint/2022/06/main/command" chg="del">
              <pc226:chgData name="Patricia Ann Lee King" userId="S::pal094@ads.northwestern.edu::dbab7ec2-5444-4d21-afe7-a39974533ddc" providerId="AD" clId="Web-{DDB9926A-E2DC-C891-D03C-4D1065848DE4}" dt="2023-10-31T18:16:29.913" v="17"/>
              <pc2:cmMkLst xmlns:pc2="http://schemas.microsoft.com/office/powerpoint/2019/9/main/command">
                <pc:docMk/>
                <pc:sldMk cId="2134732932" sldId="294"/>
                <pc2:cmMk id="{8C8DBFA9-8FAD-4969-A843-3E68AF1AA058}"/>
              </pc2:cmMkLst>
            </pc226:cmChg>
          </p:ext>
        </pc:extLst>
      </pc:sldChg>
      <pc:sldChg chg="modSp delCm">
        <pc:chgData name="Patricia Ann Lee King" userId="S::pal094@ads.northwestern.edu::dbab7ec2-5444-4d21-afe7-a39974533ddc" providerId="AD" clId="Web-{DDB9926A-E2DC-C891-D03C-4D1065848DE4}" dt="2023-10-31T18:34:21.986" v="213"/>
        <pc:sldMkLst>
          <pc:docMk/>
          <pc:sldMk cId="3593832193" sldId="297"/>
        </pc:sldMkLst>
        <pc:spChg chg="mod">
          <ac:chgData name="Patricia Ann Lee King" userId="S::pal094@ads.northwestern.edu::dbab7ec2-5444-4d21-afe7-a39974533ddc" providerId="AD" clId="Web-{DDB9926A-E2DC-C891-D03C-4D1065848DE4}" dt="2023-10-31T18:32:48.858" v="208" actId="20577"/>
          <ac:spMkLst>
            <pc:docMk/>
            <pc:sldMk cId="3593832193" sldId="297"/>
            <ac:spMk id="2" creationId="{4454D9D2-FD51-4B03-BD7A-F1350B0E301B}"/>
          </ac:spMkLst>
        </pc:spChg>
        <pc:extLst>
          <p:ext xmlns:p="http://schemas.openxmlformats.org/presentationml/2006/main" uri="{D6D511B9-2390-475A-947B-AFAB55BFBCF1}">
            <pc226:cmChg xmlns:pc226="http://schemas.microsoft.com/office/powerpoint/2022/06/main/command" chg="del">
              <pc226:chgData name="Patricia Ann Lee King" userId="S::pal094@ads.northwestern.edu::dbab7ec2-5444-4d21-afe7-a39974533ddc" providerId="AD" clId="Web-{DDB9926A-E2DC-C891-D03C-4D1065848DE4}" dt="2023-10-31T18:34:21.986" v="213"/>
              <pc2:cmMkLst xmlns:pc2="http://schemas.microsoft.com/office/powerpoint/2019/9/main/command">
                <pc:docMk/>
                <pc:sldMk cId="3593832193" sldId="297"/>
                <pc2:cmMk id="{4F3247D3-89A8-4432-9CE7-0B6FF6FC4E62}"/>
              </pc2:cmMkLst>
            </pc226:cmChg>
          </p:ext>
        </pc:extLst>
      </pc:sldChg>
      <pc:sldChg chg="ord">
        <pc:chgData name="Patricia Ann Lee King" userId="S::pal094@ads.northwestern.edu::dbab7ec2-5444-4d21-afe7-a39974533ddc" providerId="AD" clId="Web-{DDB9926A-E2DC-C891-D03C-4D1065848DE4}" dt="2023-10-31T18:20:17.110" v="18"/>
        <pc:sldMkLst>
          <pc:docMk/>
          <pc:sldMk cId="3373422964" sldId="300"/>
        </pc:sldMkLst>
      </pc:sldChg>
      <pc:sldChg chg="modSp">
        <pc:chgData name="Patricia Ann Lee King" userId="S::pal094@ads.northwestern.edu::dbab7ec2-5444-4d21-afe7-a39974533ddc" providerId="AD" clId="Web-{DDB9926A-E2DC-C891-D03C-4D1065848DE4}" dt="2023-10-31T19:02:31.676" v="386" actId="20577"/>
        <pc:sldMkLst>
          <pc:docMk/>
          <pc:sldMk cId="2128475166" sldId="315"/>
        </pc:sldMkLst>
        <pc:spChg chg="mod">
          <ac:chgData name="Patricia Ann Lee King" userId="S::pal094@ads.northwestern.edu::dbab7ec2-5444-4d21-afe7-a39974533ddc" providerId="AD" clId="Web-{DDB9926A-E2DC-C891-D03C-4D1065848DE4}" dt="2023-10-31T19:02:31.676" v="386" actId="20577"/>
          <ac:spMkLst>
            <pc:docMk/>
            <pc:sldMk cId="2128475166" sldId="315"/>
            <ac:spMk id="6" creationId="{00000000-0000-0000-0000-000000000000}"/>
          </ac:spMkLst>
        </pc:spChg>
      </pc:sldChg>
      <pc:sldChg chg="modSp">
        <pc:chgData name="Patricia Ann Lee King" userId="S::pal094@ads.northwestern.edu::dbab7ec2-5444-4d21-afe7-a39974533ddc" providerId="AD" clId="Web-{DDB9926A-E2DC-C891-D03C-4D1065848DE4}" dt="2023-10-31T18:59:30.591" v="383" actId="1076"/>
        <pc:sldMkLst>
          <pc:docMk/>
          <pc:sldMk cId="368992253" sldId="321"/>
        </pc:sldMkLst>
        <pc:spChg chg="mod">
          <ac:chgData name="Patricia Ann Lee King" userId="S::pal094@ads.northwestern.edu::dbab7ec2-5444-4d21-afe7-a39974533ddc" providerId="AD" clId="Web-{DDB9926A-E2DC-C891-D03C-4D1065848DE4}" dt="2023-10-31T18:59:30.591" v="383" actId="1076"/>
          <ac:spMkLst>
            <pc:docMk/>
            <pc:sldMk cId="368992253" sldId="321"/>
            <ac:spMk id="5" creationId="{00000000-0000-0000-0000-000000000000}"/>
          </ac:spMkLst>
        </pc:spChg>
        <pc:spChg chg="mod">
          <ac:chgData name="Patricia Ann Lee King" userId="S::pal094@ads.northwestern.edu::dbab7ec2-5444-4d21-afe7-a39974533ddc" providerId="AD" clId="Web-{DDB9926A-E2DC-C891-D03C-4D1065848DE4}" dt="2023-10-31T18:59:21.935" v="382" actId="20577"/>
          <ac:spMkLst>
            <pc:docMk/>
            <pc:sldMk cId="368992253" sldId="321"/>
            <ac:spMk id="6" creationId="{00000000-0000-0000-0000-000000000000}"/>
          </ac:spMkLst>
        </pc:spChg>
      </pc:sldChg>
      <pc:sldChg chg="modSp">
        <pc:chgData name="Patricia Ann Lee King" userId="S::pal094@ads.northwestern.edu::dbab7ec2-5444-4d21-afe7-a39974533ddc" providerId="AD" clId="Web-{DDB9926A-E2DC-C891-D03C-4D1065848DE4}" dt="2023-10-31T18:51:21.979" v="357" actId="20577"/>
        <pc:sldMkLst>
          <pc:docMk/>
          <pc:sldMk cId="410180325" sldId="323"/>
        </pc:sldMkLst>
        <pc:spChg chg="mod">
          <ac:chgData name="Patricia Ann Lee King" userId="S::pal094@ads.northwestern.edu::dbab7ec2-5444-4d21-afe7-a39974533ddc" providerId="AD" clId="Web-{DDB9926A-E2DC-C891-D03C-4D1065848DE4}" dt="2023-10-31T18:50:25.977" v="339" actId="1076"/>
          <ac:spMkLst>
            <pc:docMk/>
            <pc:sldMk cId="410180325" sldId="323"/>
            <ac:spMk id="4" creationId="{00000000-0000-0000-0000-000000000000}"/>
          </ac:spMkLst>
        </pc:spChg>
        <pc:spChg chg="mod">
          <ac:chgData name="Patricia Ann Lee King" userId="S::pal094@ads.northwestern.edu::dbab7ec2-5444-4d21-afe7-a39974533ddc" providerId="AD" clId="Web-{DDB9926A-E2DC-C891-D03C-4D1065848DE4}" dt="2023-10-31T18:51:21.979" v="357" actId="20577"/>
          <ac:spMkLst>
            <pc:docMk/>
            <pc:sldMk cId="410180325" sldId="323"/>
            <ac:spMk id="5" creationId="{00000000-0000-0000-0000-000000000000}"/>
          </ac:spMkLst>
        </pc:spChg>
      </pc:sldChg>
      <pc:sldChg chg="modSp">
        <pc:chgData name="Patricia Ann Lee King" userId="S::pal094@ads.northwestern.edu::dbab7ec2-5444-4d21-afe7-a39974533ddc" providerId="AD" clId="Web-{DDB9926A-E2DC-C891-D03C-4D1065848DE4}" dt="2023-10-31T18:50:16.117" v="337" actId="20577"/>
        <pc:sldMkLst>
          <pc:docMk/>
          <pc:sldMk cId="2030386992" sldId="324"/>
        </pc:sldMkLst>
        <pc:spChg chg="mod">
          <ac:chgData name="Patricia Ann Lee King" userId="S::pal094@ads.northwestern.edu::dbab7ec2-5444-4d21-afe7-a39974533ddc" providerId="AD" clId="Web-{DDB9926A-E2DC-C891-D03C-4D1065848DE4}" dt="2023-10-31T18:47:09.313" v="330" actId="14100"/>
          <ac:spMkLst>
            <pc:docMk/>
            <pc:sldMk cId="2030386992" sldId="324"/>
            <ac:spMk id="6" creationId="{00000000-0000-0000-0000-000000000000}"/>
          </ac:spMkLst>
        </pc:spChg>
        <pc:spChg chg="mod">
          <ac:chgData name="Patricia Ann Lee King" userId="S::pal094@ads.northwestern.edu::dbab7ec2-5444-4d21-afe7-a39974533ddc" providerId="AD" clId="Web-{DDB9926A-E2DC-C891-D03C-4D1065848DE4}" dt="2023-10-31T18:50:16.117" v="337" actId="20577"/>
          <ac:spMkLst>
            <pc:docMk/>
            <pc:sldMk cId="2030386992" sldId="324"/>
            <ac:spMk id="7" creationId="{00000000-0000-0000-0000-000000000000}"/>
          </ac:spMkLst>
        </pc:spChg>
        <pc:grpChg chg="mod">
          <ac:chgData name="Patricia Ann Lee King" userId="S::pal094@ads.northwestern.edu::dbab7ec2-5444-4d21-afe7-a39974533ddc" providerId="AD" clId="Web-{DDB9926A-E2DC-C891-D03C-4D1065848DE4}" dt="2023-10-31T18:45:43.684" v="329" actId="1076"/>
          <ac:grpSpMkLst>
            <pc:docMk/>
            <pc:sldMk cId="2030386992" sldId="324"/>
            <ac:grpSpMk id="2" creationId="{00000000-0000-0000-0000-000000000000}"/>
          </ac:grpSpMkLst>
        </pc:grpChg>
      </pc:sldChg>
      <pc:sldChg chg="ord">
        <pc:chgData name="Patricia Ann Lee King" userId="S::pal094@ads.northwestern.edu::dbab7ec2-5444-4d21-afe7-a39974533ddc" providerId="AD" clId="Web-{DDB9926A-E2DC-C891-D03C-4D1065848DE4}" dt="2023-10-31T18:31:36.933" v="179"/>
        <pc:sldMkLst>
          <pc:docMk/>
          <pc:sldMk cId="3116073842" sldId="329"/>
        </pc:sldMkLst>
      </pc:sldChg>
      <pc:sldChg chg="addSp delSp modSp new mod setBg modClrScheme chgLayout">
        <pc:chgData name="Patricia Ann Lee King" userId="S::pal094@ads.northwestern.edu::dbab7ec2-5444-4d21-afe7-a39974533ddc" providerId="AD" clId="Web-{DDB9926A-E2DC-C891-D03C-4D1065848DE4}" dt="2023-10-31T18:32:34.373" v="203" actId="20577"/>
        <pc:sldMkLst>
          <pc:docMk/>
          <pc:sldMk cId="2342621754" sldId="331"/>
        </pc:sldMkLst>
        <pc:spChg chg="mod ord">
          <ac:chgData name="Patricia Ann Lee King" userId="S::pal094@ads.northwestern.edu::dbab7ec2-5444-4d21-afe7-a39974533ddc" providerId="AD" clId="Web-{DDB9926A-E2DC-C891-D03C-4D1065848DE4}" dt="2023-10-31T18:30:45.994" v="177"/>
          <ac:spMkLst>
            <pc:docMk/>
            <pc:sldMk cId="2342621754" sldId="331"/>
            <ac:spMk id="2" creationId="{E07F7E2A-A18F-72E9-B14F-34C1DE89593D}"/>
          </ac:spMkLst>
        </pc:spChg>
        <pc:spChg chg="del mod ord">
          <ac:chgData name="Patricia Ann Lee King" userId="S::pal094@ads.northwestern.edu::dbab7ec2-5444-4d21-afe7-a39974533ddc" providerId="AD" clId="Web-{DDB9926A-E2DC-C891-D03C-4D1065848DE4}" dt="2023-10-31T18:25:55.279" v="49"/>
          <ac:spMkLst>
            <pc:docMk/>
            <pc:sldMk cId="2342621754" sldId="331"/>
            <ac:spMk id="3" creationId="{D606CCF8-875F-8223-1945-4700D5258872}"/>
          </ac:spMkLst>
        </pc:spChg>
        <pc:spChg chg="add del">
          <ac:chgData name="Patricia Ann Lee King" userId="S::pal094@ads.northwestern.edu::dbab7ec2-5444-4d21-afe7-a39974533ddc" providerId="AD" clId="Web-{DDB9926A-E2DC-C891-D03C-4D1065848DE4}" dt="2023-10-31T18:30:45.994" v="177"/>
          <ac:spMkLst>
            <pc:docMk/>
            <pc:sldMk cId="2342621754" sldId="331"/>
            <ac:spMk id="9" creationId="{B50AB553-2A96-4A92-96F2-93548E096954}"/>
          </ac:spMkLst>
        </pc:spChg>
        <pc:spChg chg="add">
          <ac:chgData name="Patricia Ann Lee King" userId="S::pal094@ads.northwestern.edu::dbab7ec2-5444-4d21-afe7-a39974533ddc" providerId="AD" clId="Web-{DDB9926A-E2DC-C891-D03C-4D1065848DE4}" dt="2023-10-31T18:30:45.994" v="177"/>
          <ac:spMkLst>
            <pc:docMk/>
            <pc:sldMk cId="2342621754" sldId="331"/>
            <ac:spMk id="14" creationId="{2E442304-DDBD-4F7B-8017-36BCC863FB40}"/>
          </ac:spMkLst>
        </pc:spChg>
        <pc:spChg chg="add">
          <ac:chgData name="Patricia Ann Lee King" userId="S::pal094@ads.northwestern.edu::dbab7ec2-5444-4d21-afe7-a39974533ddc" providerId="AD" clId="Web-{DDB9926A-E2DC-C891-D03C-4D1065848DE4}" dt="2023-10-31T18:30:45.994" v="177"/>
          <ac:spMkLst>
            <pc:docMk/>
            <pc:sldMk cId="2342621754" sldId="331"/>
            <ac:spMk id="16" creationId="{5E107275-3853-46FD-A241-DE4355A42675}"/>
          </ac:spMkLst>
        </pc:spChg>
        <pc:graphicFrameChg chg="add mod ord modGraphic">
          <ac:chgData name="Patricia Ann Lee King" userId="S::pal094@ads.northwestern.edu::dbab7ec2-5444-4d21-afe7-a39974533ddc" providerId="AD" clId="Web-{DDB9926A-E2DC-C891-D03C-4D1065848DE4}" dt="2023-10-31T18:32:34.373" v="203" actId="20577"/>
          <ac:graphicFrameMkLst>
            <pc:docMk/>
            <pc:sldMk cId="2342621754" sldId="331"/>
            <ac:graphicFrameMk id="4" creationId="{89B53106-8C8D-3C66-2069-3A50A5A0F2E4}"/>
          </ac:graphicFrameMkLst>
        </pc:graphicFrameChg>
      </pc:sldChg>
      <pc:sldChg chg="add ord">
        <pc:chgData name="Patricia Ann Lee King" userId="S::pal094@ads.northwestern.edu::dbab7ec2-5444-4d21-afe7-a39974533ddc" providerId="AD" clId="Web-{DDB9926A-E2DC-C891-D03C-4D1065848DE4}" dt="2023-10-31T18:35:09.019" v="220"/>
        <pc:sldMkLst>
          <pc:docMk/>
          <pc:sldMk cId="2726134848" sldId="332"/>
        </pc:sldMkLst>
      </pc:sldChg>
      <pc:sldChg chg="add del">
        <pc:chgData name="Patricia Ann Lee King" userId="S::pal094@ads.northwestern.edu::dbab7ec2-5444-4d21-afe7-a39974533ddc" providerId="AD" clId="Web-{DDB9926A-E2DC-C891-D03C-4D1065848DE4}" dt="2023-10-31T18:33:42.375" v="210"/>
        <pc:sldMkLst>
          <pc:docMk/>
          <pc:sldMk cId="3221265795" sldId="332"/>
        </pc:sldMkLst>
      </pc:sldChg>
      <pc:sldChg chg="modSp new">
        <pc:chgData name="Patricia Ann Lee King" userId="S::pal094@ads.northwestern.edu::dbab7ec2-5444-4d21-afe7-a39974533ddc" providerId="AD" clId="Web-{DDB9926A-E2DC-C891-D03C-4D1065848DE4}" dt="2023-10-31T18:34:32.377" v="218" actId="20577"/>
        <pc:sldMkLst>
          <pc:docMk/>
          <pc:sldMk cId="823628989" sldId="333"/>
        </pc:sldMkLst>
        <pc:spChg chg="mod">
          <ac:chgData name="Patricia Ann Lee King" userId="S::pal094@ads.northwestern.edu::dbab7ec2-5444-4d21-afe7-a39974533ddc" providerId="AD" clId="Web-{DDB9926A-E2DC-C891-D03C-4D1065848DE4}" dt="2023-10-31T18:34:32.377" v="218" actId="20577"/>
          <ac:spMkLst>
            <pc:docMk/>
            <pc:sldMk cId="823628989" sldId="333"/>
            <ac:spMk id="2" creationId="{EEAB98A4-5BF3-7302-56F9-B9FC136127AB}"/>
          </ac:spMkLst>
        </pc:spChg>
      </pc:sldChg>
      <pc:sldChg chg="addSp delSp modSp add mod modClrScheme chgLayout">
        <pc:chgData name="Patricia Ann Lee King" userId="S::pal094@ads.northwestern.edu::dbab7ec2-5444-4d21-afe7-a39974533ddc" providerId="AD" clId="Web-{DDB9926A-E2DC-C891-D03C-4D1065848DE4}" dt="2023-10-31T18:44:53.198" v="328" actId="1076"/>
        <pc:sldMkLst>
          <pc:docMk/>
          <pc:sldMk cId="749832103" sldId="334"/>
        </pc:sldMkLst>
        <pc:spChg chg="del">
          <ac:chgData name="Patricia Ann Lee King" userId="S::pal094@ads.northwestern.edu::dbab7ec2-5444-4d21-afe7-a39974533ddc" providerId="AD" clId="Web-{DDB9926A-E2DC-C891-D03C-4D1065848DE4}" dt="2023-10-31T18:40:43.485" v="222"/>
          <ac:spMkLst>
            <pc:docMk/>
            <pc:sldMk cId="749832103" sldId="334"/>
            <ac:spMk id="2" creationId="{00000000-0000-0000-0000-000000000000}"/>
          </ac:spMkLst>
        </pc:spChg>
        <pc:spChg chg="del">
          <ac:chgData name="Patricia Ann Lee King" userId="S::pal094@ads.northwestern.edu::dbab7ec2-5444-4d21-afe7-a39974533ddc" providerId="AD" clId="Web-{DDB9926A-E2DC-C891-D03C-4D1065848DE4}" dt="2023-10-31T18:40:51.204" v="225"/>
          <ac:spMkLst>
            <pc:docMk/>
            <pc:sldMk cId="749832103" sldId="334"/>
            <ac:spMk id="3" creationId="{00000000-0000-0000-0000-000000000000}"/>
          </ac:spMkLst>
        </pc:spChg>
        <pc:spChg chg="del">
          <ac:chgData name="Patricia Ann Lee King" userId="S::pal094@ads.northwestern.edu::dbab7ec2-5444-4d21-afe7-a39974533ddc" providerId="AD" clId="Web-{DDB9926A-E2DC-C891-D03C-4D1065848DE4}" dt="2023-10-31T18:40:57.877" v="229"/>
          <ac:spMkLst>
            <pc:docMk/>
            <pc:sldMk cId="749832103" sldId="334"/>
            <ac:spMk id="4" creationId="{00000000-0000-0000-0000-000000000000}"/>
          </ac:spMkLst>
        </pc:spChg>
        <pc:spChg chg="del">
          <ac:chgData name="Patricia Ann Lee King" userId="S::pal094@ads.northwestern.edu::dbab7ec2-5444-4d21-afe7-a39974533ddc" providerId="AD" clId="Web-{DDB9926A-E2DC-C891-D03C-4D1065848DE4}" dt="2023-10-31T18:40:57.001" v="228"/>
          <ac:spMkLst>
            <pc:docMk/>
            <pc:sldMk cId="749832103" sldId="334"/>
            <ac:spMk id="5" creationId="{00000000-0000-0000-0000-000000000000}"/>
          </ac:spMkLst>
        </pc:spChg>
        <pc:spChg chg="del">
          <ac:chgData name="Patricia Ann Lee King" userId="S::pal094@ads.northwestern.edu::dbab7ec2-5444-4d21-afe7-a39974533ddc" providerId="AD" clId="Web-{DDB9926A-E2DC-C891-D03C-4D1065848DE4}" dt="2023-10-31T18:40:51.142" v="224"/>
          <ac:spMkLst>
            <pc:docMk/>
            <pc:sldMk cId="749832103" sldId="334"/>
            <ac:spMk id="6" creationId="{00000000-0000-0000-0000-000000000000}"/>
          </ac:spMkLst>
        </pc:spChg>
        <pc:spChg chg="del">
          <ac:chgData name="Patricia Ann Lee King" userId="S::pal094@ads.northwestern.edu::dbab7ec2-5444-4d21-afe7-a39974533ddc" providerId="AD" clId="Web-{DDB9926A-E2DC-C891-D03C-4D1065848DE4}" dt="2023-10-31T18:40:47.642" v="223"/>
          <ac:spMkLst>
            <pc:docMk/>
            <pc:sldMk cId="749832103" sldId="334"/>
            <ac:spMk id="7" creationId="{00000000-0000-0000-0000-000000000000}"/>
          </ac:spMkLst>
        </pc:spChg>
        <pc:spChg chg="del">
          <ac:chgData name="Patricia Ann Lee King" userId="S::pal094@ads.northwestern.edu::dbab7ec2-5444-4d21-afe7-a39974533ddc" providerId="AD" clId="Web-{DDB9926A-E2DC-C891-D03C-4D1065848DE4}" dt="2023-10-31T18:40:56.158" v="227"/>
          <ac:spMkLst>
            <pc:docMk/>
            <pc:sldMk cId="749832103" sldId="334"/>
            <ac:spMk id="8" creationId="{00000000-0000-0000-0000-000000000000}"/>
          </ac:spMkLst>
        </pc:spChg>
        <pc:spChg chg="del">
          <ac:chgData name="Patricia Ann Lee King" userId="S::pal094@ads.northwestern.edu::dbab7ec2-5444-4d21-afe7-a39974533ddc" providerId="AD" clId="Web-{DDB9926A-E2DC-C891-D03C-4D1065848DE4}" dt="2023-10-31T18:40:54.111" v="226"/>
          <ac:spMkLst>
            <pc:docMk/>
            <pc:sldMk cId="749832103" sldId="334"/>
            <ac:spMk id="9" creationId="{00000000-0000-0000-0000-000000000000}"/>
          </ac:spMkLst>
        </pc:spChg>
        <pc:spChg chg="add mod">
          <ac:chgData name="Patricia Ann Lee King" userId="S::pal094@ads.northwestern.edu::dbab7ec2-5444-4d21-afe7-a39974533ddc" providerId="AD" clId="Web-{DDB9926A-E2DC-C891-D03C-4D1065848DE4}" dt="2023-10-31T18:41:24.299" v="235" actId="20577"/>
          <ac:spMkLst>
            <pc:docMk/>
            <pc:sldMk cId="749832103" sldId="334"/>
            <ac:spMk id="10" creationId="{B2A2E5BA-693C-47C5-FA98-2ACAC51ECE30}"/>
          </ac:spMkLst>
        </pc:spChg>
        <pc:spChg chg="add mod">
          <ac:chgData name="Patricia Ann Lee King" userId="S::pal094@ads.northwestern.edu::dbab7ec2-5444-4d21-afe7-a39974533ddc" providerId="AD" clId="Web-{DDB9926A-E2DC-C891-D03C-4D1065848DE4}" dt="2023-10-31T18:44:25.775" v="324" actId="14100"/>
          <ac:spMkLst>
            <pc:docMk/>
            <pc:sldMk cId="749832103" sldId="334"/>
            <ac:spMk id="11" creationId="{05572FC7-4545-5ABF-A599-368958A2D258}"/>
          </ac:spMkLst>
        </pc:spChg>
        <pc:picChg chg="add mod">
          <ac:chgData name="Patricia Ann Lee King" userId="S::pal094@ads.northwestern.edu::dbab7ec2-5444-4d21-afe7-a39974533ddc" providerId="AD" clId="Web-{DDB9926A-E2DC-C891-D03C-4D1065848DE4}" dt="2023-10-31T18:44:53.198" v="328" actId="1076"/>
          <ac:picMkLst>
            <pc:docMk/>
            <pc:sldMk cId="749832103" sldId="334"/>
            <ac:picMk id="12" creationId="{19D79C28-2A17-80D0-8EB5-9804B63CBC16}"/>
          </ac:picMkLst>
        </pc:picChg>
      </pc:sldChg>
      <pc:sldChg chg="delSp modSp add replId">
        <pc:chgData name="Patricia Ann Lee King" userId="S::pal094@ads.northwestern.edu::dbab7ec2-5444-4d21-afe7-a39974533ddc" providerId="AD" clId="Web-{DDB9926A-E2DC-C891-D03C-4D1065848DE4}" dt="2023-10-31T18:54:56.346" v="375" actId="20577"/>
        <pc:sldMkLst>
          <pc:docMk/>
          <pc:sldMk cId="1876152505" sldId="335"/>
        </pc:sldMkLst>
        <pc:spChg chg="mod">
          <ac:chgData name="Patricia Ann Lee King" userId="S::pal094@ads.northwestern.edu::dbab7ec2-5444-4d21-afe7-a39974533ddc" providerId="AD" clId="Web-{DDB9926A-E2DC-C891-D03C-4D1065848DE4}" dt="2023-10-31T18:54:56.346" v="375" actId="20577"/>
          <ac:spMkLst>
            <pc:docMk/>
            <pc:sldMk cId="1876152505" sldId="335"/>
            <ac:spMk id="10" creationId="{B2A2E5BA-693C-47C5-FA98-2ACAC51ECE30}"/>
          </ac:spMkLst>
        </pc:spChg>
        <pc:spChg chg="mod">
          <ac:chgData name="Patricia Ann Lee King" userId="S::pal094@ads.northwestern.edu::dbab7ec2-5444-4d21-afe7-a39974533ddc" providerId="AD" clId="Web-{DDB9926A-E2DC-C891-D03C-4D1065848DE4}" dt="2023-10-31T18:54:22.251" v="364" actId="20577"/>
          <ac:spMkLst>
            <pc:docMk/>
            <pc:sldMk cId="1876152505" sldId="335"/>
            <ac:spMk id="11" creationId="{05572FC7-4545-5ABF-A599-368958A2D258}"/>
          </ac:spMkLst>
        </pc:spChg>
        <pc:picChg chg="del">
          <ac:chgData name="Patricia Ann Lee King" userId="S::pal094@ads.northwestern.edu::dbab7ec2-5444-4d21-afe7-a39974533ddc" providerId="AD" clId="Web-{DDB9926A-E2DC-C891-D03C-4D1065848DE4}" dt="2023-10-31T18:54:22.517" v="365"/>
          <ac:picMkLst>
            <pc:docMk/>
            <pc:sldMk cId="1876152505" sldId="335"/>
            <ac:picMk id="12" creationId="{19D79C28-2A17-80D0-8EB5-9804B63CBC16}"/>
          </ac:picMkLst>
        </pc:picChg>
      </pc:sldChg>
      <pc:sldChg chg="new del">
        <pc:chgData name="Patricia Ann Lee King" userId="S::pal094@ads.northwestern.edu::dbab7ec2-5444-4d21-afe7-a39974533ddc" providerId="AD" clId="Web-{DDB9926A-E2DC-C891-D03C-4D1065848DE4}" dt="2023-10-31T18:54:12.391" v="360"/>
        <pc:sldMkLst>
          <pc:docMk/>
          <pc:sldMk cId="557163559" sldId="336"/>
        </pc:sldMkLst>
      </pc:sldChg>
    </pc:docChg>
  </pc:docChgLst>
  <pc:docChgLst>
    <pc:chgData name="Patricia Ann Lee King" userId="S::pal094@ads.northwestern.edu::dbab7ec2-5444-4d21-afe7-a39974533ddc" providerId="AD" clId="Web-{5B3ABB19-CE13-712D-6175-E23D36AEEC92}"/>
    <pc:docChg chg="mod modSld sldOrd">
      <pc:chgData name="Patricia Ann Lee King" userId="S::pal094@ads.northwestern.edu::dbab7ec2-5444-4d21-afe7-a39974533ddc" providerId="AD" clId="Web-{5B3ABB19-CE13-712D-6175-E23D36AEEC92}" dt="2023-10-26T19:29:28.236" v="13"/>
      <pc:docMkLst>
        <pc:docMk/>
      </pc:docMkLst>
      <pc:sldChg chg="ord">
        <pc:chgData name="Patricia Ann Lee King" userId="S::pal094@ads.northwestern.edu::dbab7ec2-5444-4d21-afe7-a39974533ddc" providerId="AD" clId="Web-{5B3ABB19-CE13-712D-6175-E23D36AEEC92}" dt="2023-10-26T19:27:00.449" v="9"/>
        <pc:sldMkLst>
          <pc:docMk/>
          <pc:sldMk cId="2640496646" sldId="257"/>
        </pc:sldMkLst>
      </pc:sldChg>
      <pc:sldChg chg="modSp">
        <pc:chgData name="Patricia Ann Lee King" userId="S::pal094@ads.northwestern.edu::dbab7ec2-5444-4d21-afe7-a39974533ddc" providerId="AD" clId="Web-{5B3ABB19-CE13-712D-6175-E23D36AEEC92}" dt="2023-10-26T19:24:54.366" v="3" actId="20577"/>
        <pc:sldMkLst>
          <pc:docMk/>
          <pc:sldMk cId="1823951541" sldId="261"/>
        </pc:sldMkLst>
        <pc:spChg chg="mod">
          <ac:chgData name="Patricia Ann Lee King" userId="S::pal094@ads.northwestern.edu::dbab7ec2-5444-4d21-afe7-a39974533ddc" providerId="AD" clId="Web-{5B3ABB19-CE13-712D-6175-E23D36AEEC92}" dt="2023-10-26T19:24:54.366" v="3" actId="20577"/>
          <ac:spMkLst>
            <pc:docMk/>
            <pc:sldMk cId="1823951541" sldId="261"/>
            <ac:spMk id="3" creationId="{1D742501-F937-8041-84E5-748F96AE991B}"/>
          </ac:spMkLst>
        </pc:spChg>
      </pc:sldChg>
      <pc:sldChg chg="addCm">
        <pc:chgData name="Patricia Ann Lee King" userId="S::pal094@ads.northwestern.edu::dbab7ec2-5444-4d21-afe7-a39974533ddc" providerId="AD" clId="Web-{5B3ABB19-CE13-712D-6175-E23D36AEEC92}" dt="2023-10-26T19:29:05.969" v="12"/>
        <pc:sldMkLst>
          <pc:docMk/>
          <pc:sldMk cId="2134732932" sldId="294"/>
        </pc:sldMkLst>
        <pc:extLst>
          <p:ext xmlns:p="http://schemas.openxmlformats.org/presentationml/2006/main" uri="{D6D511B9-2390-475A-947B-AFAB55BFBCF1}">
            <pc226:cmChg xmlns:pc226="http://schemas.microsoft.com/office/powerpoint/2022/06/main/command" chg="add">
              <pc226:chgData name="Patricia Ann Lee King" userId="S::pal094@ads.northwestern.edu::dbab7ec2-5444-4d21-afe7-a39974533ddc" providerId="AD" clId="Web-{5B3ABB19-CE13-712D-6175-E23D36AEEC92}" dt="2023-10-26T19:29:05.969" v="12"/>
              <pc2:cmMkLst xmlns:pc2="http://schemas.microsoft.com/office/powerpoint/2019/9/main/command">
                <pc:docMk/>
                <pc:sldMk cId="2134732932" sldId="294"/>
                <pc2:cmMk id="{8C8DBFA9-8FAD-4969-A843-3E68AF1AA058}"/>
              </pc2:cmMkLst>
            </pc226:cmChg>
          </p:ext>
        </pc:extLst>
      </pc:sldChg>
      <pc:sldChg chg="addCm modCm">
        <pc:chgData name="Patricia Ann Lee King" userId="S::pal094@ads.northwestern.edu::dbab7ec2-5444-4d21-afe7-a39974533ddc" providerId="AD" clId="Web-{5B3ABB19-CE13-712D-6175-E23D36AEEC92}" dt="2023-10-26T19:29:28.236" v="13"/>
        <pc:sldMkLst>
          <pc:docMk/>
          <pc:sldMk cId="828383430" sldId="296"/>
        </pc:sldMkLst>
        <pc:extLst>
          <p:ext xmlns:p="http://schemas.openxmlformats.org/presentationml/2006/main" uri="{D6D511B9-2390-475A-947B-AFAB55BFBCF1}">
            <pc226:cmChg xmlns:pc226="http://schemas.microsoft.com/office/powerpoint/2022/06/main/command" chg="add mod">
              <pc226:chgData name="Patricia Ann Lee King" userId="S::pal094@ads.northwestern.edu::dbab7ec2-5444-4d21-afe7-a39974533ddc" providerId="AD" clId="Web-{5B3ABB19-CE13-712D-6175-E23D36AEEC92}" dt="2023-10-26T19:29:28.236" v="13"/>
              <pc2:cmMkLst xmlns:pc2="http://schemas.microsoft.com/office/powerpoint/2019/9/main/command">
                <pc:docMk/>
                <pc:sldMk cId="828383430" sldId="296"/>
                <pc2:cmMk id="{5005963A-C88C-470F-BC9F-DC6A870B9B65}"/>
              </pc2:cmMkLst>
            </pc226:cmChg>
          </p:ext>
        </pc:extLst>
      </pc:sldChg>
      <pc:sldChg chg="addCm">
        <pc:chgData name="Patricia Ann Lee King" userId="S::pal094@ads.northwestern.edu::dbab7ec2-5444-4d21-afe7-a39974533ddc" providerId="AD" clId="Web-{5B3ABB19-CE13-712D-6175-E23D36AEEC92}" dt="2023-10-26T19:26:09.588" v="5"/>
        <pc:sldMkLst>
          <pc:docMk/>
          <pc:sldMk cId="3593832193" sldId="297"/>
        </pc:sldMkLst>
        <pc:extLst>
          <p:ext xmlns:p="http://schemas.openxmlformats.org/presentationml/2006/main" uri="{D6D511B9-2390-475A-947B-AFAB55BFBCF1}">
            <pc226:cmChg xmlns:pc226="http://schemas.microsoft.com/office/powerpoint/2022/06/main/command" chg="add">
              <pc226:chgData name="Patricia Ann Lee King" userId="S::pal094@ads.northwestern.edu::dbab7ec2-5444-4d21-afe7-a39974533ddc" providerId="AD" clId="Web-{5B3ABB19-CE13-712D-6175-E23D36AEEC92}" dt="2023-10-26T19:26:09.588" v="5"/>
              <pc2:cmMkLst xmlns:pc2="http://schemas.microsoft.com/office/powerpoint/2019/9/main/command">
                <pc:docMk/>
                <pc:sldMk cId="3593832193" sldId="297"/>
                <pc2:cmMk id="{4F3247D3-89A8-4432-9CE7-0B6FF6FC4E62}"/>
              </pc2:cmMkLst>
            </pc226:cmChg>
          </p:ext>
        </pc:extLst>
      </pc:sldChg>
      <pc:sldChg chg="ord">
        <pc:chgData name="Patricia Ann Lee King" userId="S::pal094@ads.northwestern.edu::dbab7ec2-5444-4d21-afe7-a39974533ddc" providerId="AD" clId="Web-{5B3ABB19-CE13-712D-6175-E23D36AEEC92}" dt="2023-10-26T19:27:00.449" v="8"/>
        <pc:sldMkLst>
          <pc:docMk/>
          <pc:sldMk cId="3756315028" sldId="298"/>
        </pc:sldMkLst>
      </pc:sldChg>
      <pc:sldChg chg="ord">
        <pc:chgData name="Patricia Ann Lee King" userId="S::pal094@ads.northwestern.edu::dbab7ec2-5444-4d21-afe7-a39974533ddc" providerId="AD" clId="Web-{5B3ABB19-CE13-712D-6175-E23D36AEEC92}" dt="2023-10-26T19:28:11.920" v="10"/>
        <pc:sldMkLst>
          <pc:docMk/>
          <pc:sldMk cId="3373422964" sldId="300"/>
        </pc:sldMkLst>
      </pc:sldChg>
    </pc:docChg>
  </pc:docChgLst>
  <pc:docChgLst>
    <pc:chgData name="Alana Rivera" userId="S::arg3669@ads.northwestern.edu::fc8b707a-b7e9-4f2a-8d71-2d76819b7881" providerId="AD" clId="Web-{1D502B6E-D6DA-150A-2E60-633C9D8FDAC2}"/>
    <pc:docChg chg="modSld">
      <pc:chgData name="Alana Rivera" userId="S::arg3669@ads.northwestern.edu::fc8b707a-b7e9-4f2a-8d71-2d76819b7881" providerId="AD" clId="Web-{1D502B6E-D6DA-150A-2E60-633C9D8FDAC2}" dt="2022-10-26T17:12:04.780" v="2" actId="20577"/>
      <pc:docMkLst>
        <pc:docMk/>
      </pc:docMkLst>
      <pc:sldChg chg="modSp">
        <pc:chgData name="Alana Rivera" userId="S::arg3669@ads.northwestern.edu::fc8b707a-b7e9-4f2a-8d71-2d76819b7881" providerId="AD" clId="Web-{1D502B6E-D6DA-150A-2E60-633C9D8FDAC2}" dt="2022-10-26T17:12:04.780" v="2" actId="20577"/>
        <pc:sldMkLst>
          <pc:docMk/>
          <pc:sldMk cId="3240133074" sldId="259"/>
        </pc:sldMkLst>
        <pc:spChg chg="mod">
          <ac:chgData name="Alana Rivera" userId="S::arg3669@ads.northwestern.edu::fc8b707a-b7e9-4f2a-8d71-2d76819b7881" providerId="AD" clId="Web-{1D502B6E-D6DA-150A-2E60-633C9D8FDAC2}" dt="2022-10-26T17:12:04.780" v="2" actId="20577"/>
          <ac:spMkLst>
            <pc:docMk/>
            <pc:sldMk cId="3240133074" sldId="259"/>
            <ac:spMk id="7" creationId="{7E13C86E-7C8D-3F7D-948E-5B86E04CE1A7}"/>
          </ac:spMkLst>
        </pc:spChg>
      </pc:sldChg>
    </pc:docChg>
  </pc:docChgLst>
  <pc:docChgLst>
    <pc:chgData name="Patricia Ann Lee King" userId="S::pal094@ads.northwestern.edu::dbab7ec2-5444-4d21-afe7-a39974533ddc" providerId="AD" clId="Web-{3AF81392-8C37-6BCB-FF68-A5FD1FDBE964}"/>
    <pc:docChg chg="addSld modSld sldOrd modMainMaster">
      <pc:chgData name="Patricia Ann Lee King" userId="S::pal094@ads.northwestern.edu::dbab7ec2-5444-4d21-afe7-a39974533ddc" providerId="AD" clId="Web-{3AF81392-8C37-6BCB-FF68-A5FD1FDBE964}" dt="2022-10-26T15:48:39.608" v="148" actId="20577"/>
      <pc:docMkLst>
        <pc:docMk/>
      </pc:docMkLst>
      <pc:sldChg chg="ord">
        <pc:chgData name="Patricia Ann Lee King" userId="S::pal094@ads.northwestern.edu::dbab7ec2-5444-4d21-afe7-a39974533ddc" providerId="AD" clId="Web-{3AF81392-8C37-6BCB-FF68-A5FD1FDBE964}" dt="2022-10-26T15:42:55.143" v="47"/>
        <pc:sldMkLst>
          <pc:docMk/>
          <pc:sldMk cId="2640496646" sldId="257"/>
        </pc:sldMkLst>
      </pc:sldChg>
      <pc:sldChg chg="addSp delSp modSp">
        <pc:chgData name="Patricia Ann Lee King" userId="S::pal094@ads.northwestern.edu::dbab7ec2-5444-4d21-afe7-a39974533ddc" providerId="AD" clId="Web-{3AF81392-8C37-6BCB-FF68-A5FD1FDBE964}" dt="2022-10-26T15:42:28.736" v="46" actId="14100"/>
        <pc:sldMkLst>
          <pc:docMk/>
          <pc:sldMk cId="3240133074" sldId="259"/>
        </pc:sldMkLst>
        <pc:spChg chg="del">
          <ac:chgData name="Patricia Ann Lee King" userId="S::pal094@ads.northwestern.edu::dbab7ec2-5444-4d21-afe7-a39974533ddc" providerId="AD" clId="Web-{3AF81392-8C37-6BCB-FF68-A5FD1FDBE964}" dt="2022-10-26T15:39:06.745" v="36"/>
          <ac:spMkLst>
            <pc:docMk/>
            <pc:sldMk cId="3240133074" sldId="259"/>
            <ac:spMk id="2" creationId="{00000000-0000-0000-0000-000000000000}"/>
          </ac:spMkLst>
        </pc:spChg>
        <pc:spChg chg="del mod">
          <ac:chgData name="Patricia Ann Lee King" userId="S::pal094@ads.northwestern.edu::dbab7ec2-5444-4d21-afe7-a39974533ddc" providerId="AD" clId="Web-{3AF81392-8C37-6BCB-FF68-A5FD1FDBE964}" dt="2022-10-26T15:39:00.385" v="32"/>
          <ac:spMkLst>
            <pc:docMk/>
            <pc:sldMk cId="3240133074" sldId="259"/>
            <ac:spMk id="3" creationId="{00000000-0000-0000-0000-000000000000}"/>
          </ac:spMkLst>
        </pc:spChg>
        <pc:spChg chg="add del">
          <ac:chgData name="Patricia Ann Lee King" userId="S::pal094@ads.northwestern.edu::dbab7ec2-5444-4d21-afe7-a39974533ddc" providerId="AD" clId="Web-{3AF81392-8C37-6BCB-FF68-A5FD1FDBE964}" dt="2022-10-26T15:39:08.323" v="37"/>
          <ac:spMkLst>
            <pc:docMk/>
            <pc:sldMk cId="3240133074" sldId="259"/>
            <ac:spMk id="6" creationId="{7E13C86E-7C8D-3F7D-948E-5B86E04CE1A7}"/>
          </ac:spMkLst>
        </pc:spChg>
        <pc:spChg chg="add mod">
          <ac:chgData name="Patricia Ann Lee King" userId="S::pal094@ads.northwestern.edu::dbab7ec2-5444-4d21-afe7-a39974533ddc" providerId="AD" clId="Web-{3AF81392-8C37-6BCB-FF68-A5FD1FDBE964}" dt="2022-10-26T15:42:28.736" v="46" actId="14100"/>
          <ac:spMkLst>
            <pc:docMk/>
            <pc:sldMk cId="3240133074" sldId="259"/>
            <ac:spMk id="7" creationId="{7E13C86E-7C8D-3F7D-948E-5B86E04CE1A7}"/>
          </ac:spMkLst>
        </pc:spChg>
        <pc:spChg chg="mod">
          <ac:chgData name="Patricia Ann Lee King" userId="S::pal094@ads.northwestern.edu::dbab7ec2-5444-4d21-afe7-a39974533ddc" providerId="AD" clId="Web-{3AF81392-8C37-6BCB-FF68-A5FD1FDBE964}" dt="2022-10-26T15:39:23.230" v="40"/>
          <ac:spMkLst>
            <pc:docMk/>
            <pc:sldMk cId="3240133074" sldId="259"/>
            <ac:spMk id="16386" creationId="{00000000-0000-0000-0000-000000000000}"/>
          </ac:spMkLst>
        </pc:spChg>
        <pc:picChg chg="del mod">
          <ac:chgData name="Patricia Ann Lee King" userId="S::pal094@ads.northwestern.edu::dbab7ec2-5444-4d21-afe7-a39974533ddc" providerId="AD" clId="Web-{3AF81392-8C37-6BCB-FF68-A5FD1FDBE964}" dt="2022-10-26T15:39:40.496" v="43"/>
          <ac:picMkLst>
            <pc:docMk/>
            <pc:sldMk cId="3240133074" sldId="259"/>
            <ac:picMk id="4" creationId="{A4BBC840-FF8F-6CCE-8016-B9FF5D02C30F}"/>
          </ac:picMkLst>
        </pc:picChg>
        <pc:picChg chg="del mod">
          <ac:chgData name="Patricia Ann Lee King" userId="S::pal094@ads.northwestern.edu::dbab7ec2-5444-4d21-afe7-a39974533ddc" providerId="AD" clId="Web-{3AF81392-8C37-6BCB-FF68-A5FD1FDBE964}" dt="2022-10-26T15:39:39.824" v="42"/>
          <ac:picMkLst>
            <pc:docMk/>
            <pc:sldMk cId="3240133074" sldId="259"/>
            <ac:picMk id="5" creationId="{D8A2635F-4F6B-00C0-47F2-F89FE9DD439D}"/>
          </ac:picMkLst>
        </pc:picChg>
      </pc:sldChg>
      <pc:sldChg chg="modSp">
        <pc:chgData name="Patricia Ann Lee King" userId="S::pal094@ads.northwestern.edu::dbab7ec2-5444-4d21-afe7-a39974533ddc" providerId="AD" clId="Web-{3AF81392-8C37-6BCB-FF68-A5FD1FDBE964}" dt="2022-10-26T15:46:58.104" v="87" actId="1076"/>
        <pc:sldMkLst>
          <pc:docMk/>
          <pc:sldMk cId="889144415" sldId="267"/>
        </pc:sldMkLst>
        <pc:spChg chg="mod">
          <ac:chgData name="Patricia Ann Lee King" userId="S::pal094@ads.northwestern.edu::dbab7ec2-5444-4d21-afe7-a39974533ddc" providerId="AD" clId="Web-{3AF81392-8C37-6BCB-FF68-A5FD1FDBE964}" dt="2022-10-26T15:46:58.104" v="87" actId="1076"/>
          <ac:spMkLst>
            <pc:docMk/>
            <pc:sldMk cId="889144415" sldId="267"/>
            <ac:spMk id="184" creationId="{00000000-0000-0000-0000-000000000000}"/>
          </ac:spMkLst>
        </pc:spChg>
      </pc:sldChg>
      <pc:sldChg chg="modSp">
        <pc:chgData name="Patricia Ann Lee King" userId="S::pal094@ads.northwestern.edu::dbab7ec2-5444-4d21-afe7-a39974533ddc" providerId="AD" clId="Web-{3AF81392-8C37-6BCB-FF68-A5FD1FDBE964}" dt="2022-10-26T15:46:24.791" v="82" actId="20577"/>
        <pc:sldMkLst>
          <pc:docMk/>
          <pc:sldMk cId="3851415293" sldId="273"/>
        </pc:sldMkLst>
        <pc:spChg chg="mod">
          <ac:chgData name="Patricia Ann Lee King" userId="S::pal094@ads.northwestern.edu::dbab7ec2-5444-4d21-afe7-a39974533ddc" providerId="AD" clId="Web-{3AF81392-8C37-6BCB-FF68-A5FD1FDBE964}" dt="2022-10-26T15:46:24.791" v="82" actId="20577"/>
          <ac:spMkLst>
            <pc:docMk/>
            <pc:sldMk cId="3851415293" sldId="273"/>
            <ac:spMk id="183" creationId="{00000000-0000-0000-0000-000000000000}"/>
          </ac:spMkLst>
        </pc:spChg>
        <pc:spChg chg="mod">
          <ac:chgData name="Patricia Ann Lee King" userId="S::pal094@ads.northwestern.edu::dbab7ec2-5444-4d21-afe7-a39974533ddc" providerId="AD" clId="Web-{3AF81392-8C37-6BCB-FF68-A5FD1FDBE964}" dt="2022-10-26T15:46:13.759" v="80" actId="20577"/>
          <ac:spMkLst>
            <pc:docMk/>
            <pc:sldMk cId="3851415293" sldId="273"/>
            <ac:spMk id="184" creationId="{00000000-0000-0000-0000-000000000000}"/>
          </ac:spMkLst>
        </pc:spChg>
      </pc:sldChg>
      <pc:sldChg chg="modSp">
        <pc:chgData name="Patricia Ann Lee King" userId="S::pal094@ads.northwestern.edu::dbab7ec2-5444-4d21-afe7-a39974533ddc" providerId="AD" clId="Web-{3AF81392-8C37-6BCB-FF68-A5FD1FDBE964}" dt="2022-10-26T15:46:37.588" v="85" actId="20577"/>
        <pc:sldMkLst>
          <pc:docMk/>
          <pc:sldMk cId="3093554521" sldId="274"/>
        </pc:sldMkLst>
        <pc:spChg chg="mod">
          <ac:chgData name="Patricia Ann Lee King" userId="S::pal094@ads.northwestern.edu::dbab7ec2-5444-4d21-afe7-a39974533ddc" providerId="AD" clId="Web-{3AF81392-8C37-6BCB-FF68-A5FD1FDBE964}" dt="2022-10-26T15:46:37.588" v="85" actId="20577"/>
          <ac:spMkLst>
            <pc:docMk/>
            <pc:sldMk cId="3093554521" sldId="274"/>
            <ac:spMk id="183" creationId="{00000000-0000-0000-0000-000000000000}"/>
          </ac:spMkLst>
        </pc:spChg>
        <pc:spChg chg="mod">
          <ac:chgData name="Patricia Ann Lee King" userId="S::pal094@ads.northwestern.edu::dbab7ec2-5444-4d21-afe7-a39974533ddc" providerId="AD" clId="Web-{3AF81392-8C37-6BCB-FF68-A5FD1FDBE964}" dt="2022-10-26T15:45:41.524" v="75" actId="1076"/>
          <ac:spMkLst>
            <pc:docMk/>
            <pc:sldMk cId="3093554521" sldId="274"/>
            <ac:spMk id="184" creationId="{00000000-0000-0000-0000-000000000000}"/>
          </ac:spMkLst>
        </pc:spChg>
      </pc:sldChg>
      <pc:sldChg chg="modSp">
        <pc:chgData name="Patricia Ann Lee King" userId="S::pal094@ads.northwestern.edu::dbab7ec2-5444-4d21-afe7-a39974533ddc" providerId="AD" clId="Web-{3AF81392-8C37-6BCB-FF68-A5FD1FDBE964}" dt="2022-10-26T15:45:27.898" v="73" actId="1076"/>
        <pc:sldMkLst>
          <pc:docMk/>
          <pc:sldMk cId="3908016199" sldId="275"/>
        </pc:sldMkLst>
        <pc:spChg chg="mod">
          <ac:chgData name="Patricia Ann Lee King" userId="S::pal094@ads.northwestern.edu::dbab7ec2-5444-4d21-afe7-a39974533ddc" providerId="AD" clId="Web-{3AF81392-8C37-6BCB-FF68-A5FD1FDBE964}" dt="2022-10-26T15:45:27.898" v="73" actId="1076"/>
          <ac:spMkLst>
            <pc:docMk/>
            <pc:sldMk cId="3908016199" sldId="275"/>
            <ac:spMk id="183" creationId="{00000000-0000-0000-0000-000000000000}"/>
          </ac:spMkLst>
        </pc:spChg>
        <pc:spChg chg="mod">
          <ac:chgData name="Patricia Ann Lee King" userId="S::pal094@ads.northwestern.edu::dbab7ec2-5444-4d21-afe7-a39974533ddc" providerId="AD" clId="Web-{3AF81392-8C37-6BCB-FF68-A5FD1FDBE964}" dt="2022-10-26T15:45:10.507" v="71" actId="1076"/>
          <ac:spMkLst>
            <pc:docMk/>
            <pc:sldMk cId="3908016199" sldId="275"/>
            <ac:spMk id="184" creationId="{00000000-0000-0000-0000-000000000000}"/>
          </ac:spMkLst>
        </pc:spChg>
      </pc:sldChg>
      <pc:sldChg chg="modSp">
        <pc:chgData name="Patricia Ann Lee King" userId="S::pal094@ads.northwestern.edu::dbab7ec2-5444-4d21-afe7-a39974533ddc" providerId="AD" clId="Web-{3AF81392-8C37-6BCB-FF68-A5FD1FDBE964}" dt="2022-10-26T15:44:51.397" v="69" actId="1076"/>
        <pc:sldMkLst>
          <pc:docMk/>
          <pc:sldMk cId="3301044659" sldId="276"/>
        </pc:sldMkLst>
        <pc:spChg chg="mod">
          <ac:chgData name="Patricia Ann Lee King" userId="S::pal094@ads.northwestern.edu::dbab7ec2-5444-4d21-afe7-a39974533ddc" providerId="AD" clId="Web-{3AF81392-8C37-6BCB-FF68-A5FD1FDBE964}" dt="2022-10-26T15:44:48.163" v="68"/>
          <ac:spMkLst>
            <pc:docMk/>
            <pc:sldMk cId="3301044659" sldId="276"/>
            <ac:spMk id="184" creationId="{00000000-0000-0000-0000-000000000000}"/>
          </ac:spMkLst>
        </pc:spChg>
        <pc:graphicFrameChg chg="mod">
          <ac:chgData name="Patricia Ann Lee King" userId="S::pal094@ads.northwestern.edu::dbab7ec2-5444-4d21-afe7-a39974533ddc" providerId="AD" clId="Web-{3AF81392-8C37-6BCB-FF68-A5FD1FDBE964}" dt="2022-10-26T15:44:51.397" v="69" actId="1076"/>
          <ac:graphicFrameMkLst>
            <pc:docMk/>
            <pc:sldMk cId="3301044659" sldId="276"/>
            <ac:graphicFrameMk id="2" creationId="{673B48C7-463F-442A-B05D-38DCA9085DB1}"/>
          </ac:graphicFrameMkLst>
        </pc:graphicFrameChg>
      </pc:sldChg>
      <pc:sldChg chg="modSp">
        <pc:chgData name="Patricia Ann Lee King" userId="S::pal094@ads.northwestern.edu::dbab7ec2-5444-4d21-afe7-a39974533ddc" providerId="AD" clId="Web-{3AF81392-8C37-6BCB-FF68-A5FD1FDBE964}" dt="2022-10-26T15:44:33.240" v="64" actId="1076"/>
        <pc:sldMkLst>
          <pc:docMk/>
          <pc:sldMk cId="3825933464" sldId="277"/>
        </pc:sldMkLst>
        <pc:spChg chg="mod">
          <ac:chgData name="Patricia Ann Lee King" userId="S::pal094@ads.northwestern.edu::dbab7ec2-5444-4d21-afe7-a39974533ddc" providerId="AD" clId="Web-{3AF81392-8C37-6BCB-FF68-A5FD1FDBE964}" dt="2022-10-26T15:44:19.599" v="60" actId="20577"/>
          <ac:spMkLst>
            <pc:docMk/>
            <pc:sldMk cId="3825933464" sldId="277"/>
            <ac:spMk id="183" creationId="{00000000-0000-0000-0000-000000000000}"/>
          </ac:spMkLst>
        </pc:spChg>
        <pc:spChg chg="mod">
          <ac:chgData name="Patricia Ann Lee King" userId="S::pal094@ads.northwestern.edu::dbab7ec2-5444-4d21-afe7-a39974533ddc" providerId="AD" clId="Web-{3AF81392-8C37-6BCB-FF68-A5FD1FDBE964}" dt="2022-10-26T15:44:33.240" v="64" actId="1076"/>
          <ac:spMkLst>
            <pc:docMk/>
            <pc:sldMk cId="3825933464" sldId="277"/>
            <ac:spMk id="184" creationId="{00000000-0000-0000-0000-000000000000}"/>
          </ac:spMkLst>
        </pc:spChg>
      </pc:sldChg>
      <pc:sldChg chg="modSp">
        <pc:chgData name="Patricia Ann Lee King" userId="S::pal094@ads.northwestern.edu::dbab7ec2-5444-4d21-afe7-a39974533ddc" providerId="AD" clId="Web-{3AF81392-8C37-6BCB-FF68-A5FD1FDBE964}" dt="2022-10-26T15:44:12.208" v="59" actId="20577"/>
        <pc:sldMkLst>
          <pc:docMk/>
          <pc:sldMk cId="3688668769" sldId="278"/>
        </pc:sldMkLst>
        <pc:spChg chg="mod">
          <ac:chgData name="Patricia Ann Lee King" userId="S::pal094@ads.northwestern.edu::dbab7ec2-5444-4d21-afe7-a39974533ddc" providerId="AD" clId="Web-{3AF81392-8C37-6BCB-FF68-A5FD1FDBE964}" dt="2022-10-26T15:44:12.208" v="59" actId="20577"/>
          <ac:spMkLst>
            <pc:docMk/>
            <pc:sldMk cId="3688668769" sldId="278"/>
            <ac:spMk id="183" creationId="{00000000-0000-0000-0000-000000000000}"/>
          </ac:spMkLst>
        </pc:spChg>
        <pc:spChg chg="mod">
          <ac:chgData name="Patricia Ann Lee King" userId="S::pal094@ads.northwestern.edu::dbab7ec2-5444-4d21-afe7-a39974533ddc" providerId="AD" clId="Web-{3AF81392-8C37-6BCB-FF68-A5FD1FDBE964}" dt="2022-10-26T15:43:51.926" v="55" actId="20577"/>
          <ac:spMkLst>
            <pc:docMk/>
            <pc:sldMk cId="3688668769" sldId="278"/>
            <ac:spMk id="184" creationId="{00000000-0000-0000-0000-000000000000}"/>
          </ac:spMkLst>
        </pc:spChg>
        <pc:picChg chg="mod">
          <ac:chgData name="Patricia Ann Lee King" userId="S::pal094@ads.northwestern.edu::dbab7ec2-5444-4d21-afe7-a39974533ddc" providerId="AD" clId="Web-{3AF81392-8C37-6BCB-FF68-A5FD1FDBE964}" dt="2022-10-26T15:43:59.333" v="57" actId="1076"/>
          <ac:picMkLst>
            <pc:docMk/>
            <pc:sldMk cId="3688668769" sldId="278"/>
            <ac:picMk id="6" creationId="{06DB31EF-532C-914D-815B-C6326C3F188A}"/>
          </ac:picMkLst>
        </pc:picChg>
      </pc:sldChg>
      <pc:sldChg chg="modSp">
        <pc:chgData name="Patricia Ann Lee King" userId="S::pal094@ads.northwestern.edu::dbab7ec2-5444-4d21-afe7-a39974533ddc" providerId="AD" clId="Web-{3AF81392-8C37-6BCB-FF68-A5FD1FDBE964}" dt="2022-10-26T15:43:43.504" v="54" actId="20577"/>
        <pc:sldMkLst>
          <pc:docMk/>
          <pc:sldMk cId="915813506" sldId="279"/>
        </pc:sldMkLst>
        <pc:spChg chg="mod">
          <ac:chgData name="Patricia Ann Lee King" userId="S::pal094@ads.northwestern.edu::dbab7ec2-5444-4d21-afe7-a39974533ddc" providerId="AD" clId="Web-{3AF81392-8C37-6BCB-FF68-A5FD1FDBE964}" dt="2022-10-26T15:43:43.504" v="54" actId="20577"/>
          <ac:spMkLst>
            <pc:docMk/>
            <pc:sldMk cId="915813506" sldId="279"/>
            <ac:spMk id="183" creationId="{00000000-0000-0000-0000-000000000000}"/>
          </ac:spMkLst>
        </pc:spChg>
        <pc:spChg chg="mod">
          <ac:chgData name="Patricia Ann Lee King" userId="S::pal094@ads.northwestern.edu::dbab7ec2-5444-4d21-afe7-a39974533ddc" providerId="AD" clId="Web-{3AF81392-8C37-6BCB-FF68-A5FD1FDBE964}" dt="2022-10-26T15:43:37.613" v="53" actId="20577"/>
          <ac:spMkLst>
            <pc:docMk/>
            <pc:sldMk cId="915813506" sldId="279"/>
            <ac:spMk id="184" creationId="{00000000-0000-0000-0000-000000000000}"/>
          </ac:spMkLst>
        </pc:spChg>
      </pc:sldChg>
      <pc:sldChg chg="modSp">
        <pc:chgData name="Patricia Ann Lee King" userId="S::pal094@ads.northwestern.edu::dbab7ec2-5444-4d21-afe7-a39974533ddc" providerId="AD" clId="Web-{3AF81392-8C37-6BCB-FF68-A5FD1FDBE964}" dt="2022-10-26T15:43:28.160" v="52" actId="20577"/>
        <pc:sldMkLst>
          <pc:docMk/>
          <pc:sldMk cId="860572346" sldId="280"/>
        </pc:sldMkLst>
        <pc:spChg chg="mod">
          <ac:chgData name="Patricia Ann Lee King" userId="S::pal094@ads.northwestern.edu::dbab7ec2-5444-4d21-afe7-a39974533ddc" providerId="AD" clId="Web-{3AF81392-8C37-6BCB-FF68-A5FD1FDBE964}" dt="2022-10-26T15:43:28.160" v="52" actId="20577"/>
          <ac:spMkLst>
            <pc:docMk/>
            <pc:sldMk cId="860572346" sldId="280"/>
            <ac:spMk id="183" creationId="{00000000-0000-0000-0000-000000000000}"/>
          </ac:spMkLst>
        </pc:spChg>
        <pc:spChg chg="mod">
          <ac:chgData name="Patricia Ann Lee King" userId="S::pal094@ads.northwestern.edu::dbab7ec2-5444-4d21-afe7-a39974533ddc" providerId="AD" clId="Web-{3AF81392-8C37-6BCB-FF68-A5FD1FDBE964}" dt="2022-10-26T15:43:22.925" v="51"/>
          <ac:spMkLst>
            <pc:docMk/>
            <pc:sldMk cId="860572346" sldId="280"/>
            <ac:spMk id="184" creationId="{00000000-0000-0000-0000-000000000000}"/>
          </ac:spMkLst>
        </pc:spChg>
      </pc:sldChg>
      <pc:sldChg chg="add">
        <pc:chgData name="Patricia Ann Lee King" userId="S::pal094@ads.northwestern.edu::dbab7ec2-5444-4d21-afe7-a39974533ddc" providerId="AD" clId="Web-{3AF81392-8C37-6BCB-FF68-A5FD1FDBE964}" dt="2022-10-26T15:40:14.341" v="44"/>
        <pc:sldMkLst>
          <pc:docMk/>
          <pc:sldMk cId="2990772570" sldId="292"/>
        </pc:sldMkLst>
      </pc:sldChg>
      <pc:sldChg chg="add">
        <pc:chgData name="Patricia Ann Lee King" userId="S::pal094@ads.northwestern.edu::dbab7ec2-5444-4d21-afe7-a39974533ddc" providerId="AD" clId="Web-{3AF81392-8C37-6BCB-FF68-A5FD1FDBE964}" dt="2022-10-26T15:41:18.984" v="45"/>
        <pc:sldMkLst>
          <pc:docMk/>
          <pc:sldMk cId="1143569566" sldId="293"/>
        </pc:sldMkLst>
      </pc:sldChg>
      <pc:sldChg chg="modSp new">
        <pc:chgData name="Patricia Ann Lee King" userId="S::pal094@ads.northwestern.edu::dbab7ec2-5444-4d21-afe7-a39974533ddc" providerId="AD" clId="Web-{3AF81392-8C37-6BCB-FF68-A5FD1FDBE964}" dt="2022-10-26T15:48:39.608" v="148" actId="20577"/>
        <pc:sldMkLst>
          <pc:docMk/>
          <pc:sldMk cId="2134732932" sldId="294"/>
        </pc:sldMkLst>
        <pc:spChg chg="mod">
          <ac:chgData name="Patricia Ann Lee King" userId="S::pal094@ads.northwestern.edu::dbab7ec2-5444-4d21-afe7-a39974533ddc" providerId="AD" clId="Web-{3AF81392-8C37-6BCB-FF68-A5FD1FDBE964}" dt="2022-10-26T15:48:03.560" v="107" actId="20577"/>
          <ac:spMkLst>
            <pc:docMk/>
            <pc:sldMk cId="2134732932" sldId="294"/>
            <ac:spMk id="2" creationId="{EDE6EE7F-C16B-4045-C3DC-E4EF868A7F37}"/>
          </ac:spMkLst>
        </pc:spChg>
        <pc:spChg chg="mod">
          <ac:chgData name="Patricia Ann Lee King" userId="S::pal094@ads.northwestern.edu::dbab7ec2-5444-4d21-afe7-a39974533ddc" providerId="AD" clId="Web-{3AF81392-8C37-6BCB-FF68-A5FD1FDBE964}" dt="2022-10-26T15:48:39.608" v="148" actId="20577"/>
          <ac:spMkLst>
            <pc:docMk/>
            <pc:sldMk cId="2134732932" sldId="294"/>
            <ac:spMk id="3" creationId="{5BA491EF-4ED0-06C8-11F1-59D448DFDA97}"/>
          </ac:spMkLst>
        </pc:spChg>
      </pc:sldChg>
      <pc:sldMasterChg chg="modSldLayout">
        <pc:chgData name="Patricia Ann Lee King" userId="S::pal094@ads.northwestern.edu::dbab7ec2-5444-4d21-afe7-a39974533ddc" providerId="AD" clId="Web-{3AF81392-8C37-6BCB-FF68-A5FD1FDBE964}" dt="2022-10-26T15:40:14.341" v="44"/>
        <pc:sldMasterMkLst>
          <pc:docMk/>
          <pc:sldMasterMk cId="1505562281" sldId="2147483660"/>
        </pc:sldMasterMkLst>
        <pc:sldLayoutChg chg="replId">
          <pc:chgData name="Patricia Ann Lee King" userId="S::pal094@ads.northwestern.edu::dbab7ec2-5444-4d21-afe7-a39974533ddc" providerId="AD" clId="Web-{3AF81392-8C37-6BCB-FF68-A5FD1FDBE964}" dt="2022-10-26T15:40:14.341" v="44"/>
          <pc:sldLayoutMkLst>
            <pc:docMk/>
            <pc:sldMasterMk cId="1505562281" sldId="2147483660"/>
            <pc:sldLayoutMk cId="3883598479" sldId="2147487230"/>
          </pc:sldLayoutMkLst>
        </pc:sldLayoutChg>
      </pc:sldMasterChg>
      <pc:sldMasterChg chg="addSldLayout">
        <pc:chgData name="Patricia Ann Lee King" userId="S::pal094@ads.northwestern.edu::dbab7ec2-5444-4d21-afe7-a39974533ddc" providerId="AD" clId="Web-{3AF81392-8C37-6BCB-FF68-A5FD1FDBE964}" dt="2022-10-26T15:41:18.984" v="45"/>
        <pc:sldMasterMkLst>
          <pc:docMk/>
          <pc:sldMasterMk cId="560092682" sldId="2147487158"/>
        </pc:sldMasterMkLst>
        <pc:sldLayoutChg chg="add">
          <pc:chgData name="Patricia Ann Lee King" userId="S::pal094@ads.northwestern.edu::dbab7ec2-5444-4d21-afe7-a39974533ddc" providerId="AD" clId="Web-{3AF81392-8C37-6BCB-FF68-A5FD1FDBE964}" dt="2022-10-26T15:40:14.341" v="44"/>
          <pc:sldLayoutMkLst>
            <pc:docMk/>
            <pc:sldMasterMk cId="560092682" sldId="2147487158"/>
            <pc:sldLayoutMk cId="2441756453" sldId="2147483680"/>
          </pc:sldLayoutMkLst>
        </pc:sldLayoutChg>
        <pc:sldLayoutChg chg="add">
          <pc:chgData name="Patricia Ann Lee King" userId="S::pal094@ads.northwestern.edu::dbab7ec2-5444-4d21-afe7-a39974533ddc" providerId="AD" clId="Web-{3AF81392-8C37-6BCB-FF68-A5FD1FDBE964}" dt="2022-10-26T15:40:14.341" v="44"/>
          <pc:sldLayoutMkLst>
            <pc:docMk/>
            <pc:sldMasterMk cId="560092682" sldId="2147487158"/>
            <pc:sldLayoutMk cId="4224424939" sldId="2147483681"/>
          </pc:sldLayoutMkLst>
        </pc:sldLayoutChg>
        <pc:sldLayoutChg chg="add">
          <pc:chgData name="Patricia Ann Lee King" userId="S::pal094@ads.northwestern.edu::dbab7ec2-5444-4d21-afe7-a39974533ddc" providerId="AD" clId="Web-{3AF81392-8C37-6BCB-FF68-A5FD1FDBE964}" dt="2022-10-26T15:40:14.341" v="44"/>
          <pc:sldLayoutMkLst>
            <pc:docMk/>
            <pc:sldMasterMk cId="560092682" sldId="2147487158"/>
            <pc:sldLayoutMk cId="2441756453" sldId="2147483833"/>
          </pc:sldLayoutMkLst>
        </pc:sldLayoutChg>
        <pc:sldLayoutChg chg="add">
          <pc:chgData name="Patricia Ann Lee King" userId="S::pal094@ads.northwestern.edu::dbab7ec2-5444-4d21-afe7-a39974533ddc" providerId="AD" clId="Web-{3AF81392-8C37-6BCB-FF68-A5FD1FDBE964}" dt="2022-10-26T15:40:14.341" v="44"/>
          <pc:sldLayoutMkLst>
            <pc:docMk/>
            <pc:sldMasterMk cId="560092682" sldId="2147487158"/>
            <pc:sldLayoutMk cId="4224424939" sldId="2147483834"/>
          </pc:sldLayoutMkLst>
        </pc:sldLayoutChg>
        <pc:sldLayoutChg chg="add">
          <pc:chgData name="Patricia Ann Lee King" userId="S::pal094@ads.northwestern.edu::dbab7ec2-5444-4d21-afe7-a39974533ddc" providerId="AD" clId="Web-{3AF81392-8C37-6BCB-FF68-A5FD1FDBE964}" dt="2022-10-26T15:40:14.341" v="44"/>
          <pc:sldLayoutMkLst>
            <pc:docMk/>
            <pc:sldMasterMk cId="560092682" sldId="2147487158"/>
            <pc:sldLayoutMk cId="1480140117" sldId="2147483937"/>
          </pc:sldLayoutMkLst>
        </pc:sldLayoutChg>
        <pc:sldLayoutChg chg="add">
          <pc:chgData name="Patricia Ann Lee King" userId="S::pal094@ads.northwestern.edu::dbab7ec2-5444-4d21-afe7-a39974533ddc" providerId="AD" clId="Web-{3AF81392-8C37-6BCB-FF68-A5FD1FDBE964}" dt="2022-10-26T15:40:14.341" v="44"/>
          <pc:sldLayoutMkLst>
            <pc:docMk/>
            <pc:sldMasterMk cId="560092682" sldId="2147487158"/>
            <pc:sldLayoutMk cId="1059781530" sldId="2147483938"/>
          </pc:sldLayoutMkLst>
        </pc:sldLayoutChg>
        <pc:sldLayoutChg chg="add">
          <pc:chgData name="Patricia Ann Lee King" userId="S::pal094@ads.northwestern.edu::dbab7ec2-5444-4d21-afe7-a39974533ddc" providerId="AD" clId="Web-{3AF81392-8C37-6BCB-FF68-A5FD1FDBE964}" dt="2022-10-26T15:40:14.341" v="44"/>
          <pc:sldLayoutMkLst>
            <pc:docMk/>
            <pc:sldMasterMk cId="560092682" sldId="2147487158"/>
            <pc:sldLayoutMk cId="3610496501" sldId="2147483939"/>
          </pc:sldLayoutMkLst>
        </pc:sldLayoutChg>
        <pc:sldLayoutChg chg="add">
          <pc:chgData name="Patricia Ann Lee King" userId="S::pal094@ads.northwestern.edu::dbab7ec2-5444-4d21-afe7-a39974533ddc" providerId="AD" clId="Web-{3AF81392-8C37-6BCB-FF68-A5FD1FDBE964}" dt="2022-10-26T15:40:14.341" v="44"/>
          <pc:sldLayoutMkLst>
            <pc:docMk/>
            <pc:sldMasterMk cId="560092682" sldId="2147487158"/>
            <pc:sldLayoutMk cId="698059872" sldId="2147483941"/>
          </pc:sldLayoutMkLst>
        </pc:sldLayoutChg>
        <pc:sldLayoutChg chg="add">
          <pc:chgData name="Patricia Ann Lee King" userId="S::pal094@ads.northwestern.edu::dbab7ec2-5444-4d21-afe7-a39974533ddc" providerId="AD" clId="Web-{3AF81392-8C37-6BCB-FF68-A5FD1FDBE964}" dt="2022-10-26T15:41:18.984" v="45"/>
          <pc:sldLayoutMkLst>
            <pc:docMk/>
            <pc:sldMasterMk cId="560092682" sldId="2147487158"/>
            <pc:sldLayoutMk cId="980529727" sldId="2147483942"/>
          </pc:sldLayoutMkLst>
        </pc:sldLayoutChg>
        <pc:sldLayoutChg chg="add">
          <pc:chgData name="Patricia Ann Lee King" userId="S::pal094@ads.northwestern.edu::dbab7ec2-5444-4d21-afe7-a39974533ddc" providerId="AD" clId="Web-{3AF81392-8C37-6BCB-FF68-A5FD1FDBE964}" dt="2022-10-26T15:41:18.984" v="45"/>
          <pc:sldLayoutMkLst>
            <pc:docMk/>
            <pc:sldMasterMk cId="560092682" sldId="2147487158"/>
            <pc:sldLayoutMk cId="1705532739" sldId="2147483943"/>
          </pc:sldLayoutMkLst>
        </pc:sldLayoutChg>
        <pc:sldLayoutChg chg="add">
          <pc:chgData name="Patricia Ann Lee King" userId="S::pal094@ads.northwestern.edu::dbab7ec2-5444-4d21-afe7-a39974533ddc" providerId="AD" clId="Web-{3AF81392-8C37-6BCB-FF68-A5FD1FDBE964}" dt="2022-10-26T15:40:14.341" v="44"/>
          <pc:sldLayoutMkLst>
            <pc:docMk/>
            <pc:sldMasterMk cId="560092682" sldId="2147487158"/>
            <pc:sldLayoutMk cId="3630801759" sldId="2147487163"/>
          </pc:sldLayoutMkLst>
        </pc:sldLayoutChg>
        <pc:sldLayoutChg chg="add">
          <pc:chgData name="Patricia Ann Lee King" userId="S::pal094@ads.northwestern.edu::dbab7ec2-5444-4d21-afe7-a39974533ddc" providerId="AD" clId="Web-{3AF81392-8C37-6BCB-FF68-A5FD1FDBE964}" dt="2022-10-26T15:40:14.341" v="44"/>
          <pc:sldLayoutMkLst>
            <pc:docMk/>
            <pc:sldMasterMk cId="560092682" sldId="2147487158"/>
            <pc:sldLayoutMk cId="1709868767" sldId="2147487164"/>
          </pc:sldLayoutMkLst>
        </pc:sldLayoutChg>
        <pc:sldLayoutChg chg="add">
          <pc:chgData name="Patricia Ann Lee King" userId="S::pal094@ads.northwestern.edu::dbab7ec2-5444-4d21-afe7-a39974533ddc" providerId="AD" clId="Web-{3AF81392-8C37-6BCB-FF68-A5FD1FDBE964}" dt="2022-10-26T15:40:14.341" v="44"/>
          <pc:sldLayoutMkLst>
            <pc:docMk/>
            <pc:sldMasterMk cId="560092682" sldId="2147487158"/>
            <pc:sldLayoutMk cId="1998157548" sldId="2147487165"/>
          </pc:sldLayoutMkLst>
        </pc:sldLayoutChg>
        <pc:sldLayoutChg chg="add">
          <pc:chgData name="Patricia Ann Lee King" userId="S::pal094@ads.northwestern.edu::dbab7ec2-5444-4d21-afe7-a39974533ddc" providerId="AD" clId="Web-{3AF81392-8C37-6BCB-FF68-A5FD1FDBE964}" dt="2022-10-26T15:40:14.341" v="44"/>
          <pc:sldLayoutMkLst>
            <pc:docMk/>
            <pc:sldMasterMk cId="560092682" sldId="2147487158"/>
            <pc:sldLayoutMk cId="980529727" sldId="2147487166"/>
          </pc:sldLayoutMkLst>
        </pc:sldLayoutChg>
        <pc:sldLayoutChg chg="add">
          <pc:chgData name="Patricia Ann Lee King" userId="S::pal094@ads.northwestern.edu::dbab7ec2-5444-4d21-afe7-a39974533ddc" providerId="AD" clId="Web-{3AF81392-8C37-6BCB-FF68-A5FD1FDBE964}" dt="2022-10-26T15:40:14.341" v="44"/>
          <pc:sldLayoutMkLst>
            <pc:docMk/>
            <pc:sldMasterMk cId="560092682" sldId="2147487158"/>
            <pc:sldLayoutMk cId="191337409" sldId="2147487167"/>
          </pc:sldLayoutMkLst>
        </pc:sldLayoutChg>
        <pc:sldLayoutChg chg="add">
          <pc:chgData name="Patricia Ann Lee King" userId="S::pal094@ads.northwestern.edu::dbab7ec2-5444-4d21-afe7-a39974533ddc" providerId="AD" clId="Web-{3AF81392-8C37-6BCB-FF68-A5FD1FDBE964}" dt="2022-10-26T15:40:14.341" v="44"/>
          <pc:sldLayoutMkLst>
            <pc:docMk/>
            <pc:sldMasterMk cId="560092682" sldId="2147487158"/>
            <pc:sldLayoutMk cId="1075216660" sldId="2147487168"/>
          </pc:sldLayoutMkLst>
        </pc:sldLayoutChg>
        <pc:sldLayoutChg chg="add">
          <pc:chgData name="Patricia Ann Lee King" userId="S::pal094@ads.northwestern.edu::dbab7ec2-5444-4d21-afe7-a39974533ddc" providerId="AD" clId="Web-{3AF81392-8C37-6BCB-FF68-A5FD1FDBE964}" dt="2022-10-26T15:40:14.341" v="44"/>
          <pc:sldLayoutMkLst>
            <pc:docMk/>
            <pc:sldMasterMk cId="560092682" sldId="2147487158"/>
            <pc:sldLayoutMk cId="3476272431" sldId="2147487169"/>
          </pc:sldLayoutMkLst>
        </pc:sldLayoutChg>
        <pc:sldLayoutChg chg="add">
          <pc:chgData name="Patricia Ann Lee King" userId="S::pal094@ads.northwestern.edu::dbab7ec2-5444-4d21-afe7-a39974533ddc" providerId="AD" clId="Web-{3AF81392-8C37-6BCB-FF68-A5FD1FDBE964}" dt="2022-10-26T15:40:14.341" v="44"/>
          <pc:sldLayoutMkLst>
            <pc:docMk/>
            <pc:sldMasterMk cId="560092682" sldId="2147487158"/>
            <pc:sldLayoutMk cId="1480140117" sldId="2147487170"/>
          </pc:sldLayoutMkLst>
        </pc:sldLayoutChg>
        <pc:sldLayoutChg chg="add">
          <pc:chgData name="Patricia Ann Lee King" userId="S::pal094@ads.northwestern.edu::dbab7ec2-5444-4d21-afe7-a39974533ddc" providerId="AD" clId="Web-{3AF81392-8C37-6BCB-FF68-A5FD1FDBE964}" dt="2022-10-26T15:40:14.341" v="44"/>
          <pc:sldLayoutMkLst>
            <pc:docMk/>
            <pc:sldMasterMk cId="560092682" sldId="2147487158"/>
            <pc:sldLayoutMk cId="1059781530" sldId="2147487171"/>
          </pc:sldLayoutMkLst>
        </pc:sldLayoutChg>
        <pc:sldLayoutChg chg="add">
          <pc:chgData name="Patricia Ann Lee King" userId="S::pal094@ads.northwestern.edu::dbab7ec2-5444-4d21-afe7-a39974533ddc" providerId="AD" clId="Web-{3AF81392-8C37-6BCB-FF68-A5FD1FDBE964}" dt="2022-10-26T15:40:14.341" v="44"/>
          <pc:sldLayoutMkLst>
            <pc:docMk/>
            <pc:sldMasterMk cId="560092682" sldId="2147487158"/>
            <pc:sldLayoutMk cId="1410130633" sldId="2147487172"/>
          </pc:sldLayoutMkLst>
        </pc:sldLayoutChg>
        <pc:sldLayoutChg chg="add">
          <pc:chgData name="Patricia Ann Lee King" userId="S::pal094@ads.northwestern.edu::dbab7ec2-5444-4d21-afe7-a39974533ddc" providerId="AD" clId="Web-{3AF81392-8C37-6BCB-FF68-A5FD1FDBE964}" dt="2022-10-26T15:40:14.341" v="44"/>
          <pc:sldLayoutMkLst>
            <pc:docMk/>
            <pc:sldMasterMk cId="560092682" sldId="2147487158"/>
            <pc:sldLayoutMk cId="698059872" sldId="2147487173"/>
          </pc:sldLayoutMkLst>
        </pc:sldLayoutChg>
        <pc:sldLayoutChg chg="add">
          <pc:chgData name="Patricia Ann Lee King" userId="S::pal094@ads.northwestern.edu::dbab7ec2-5444-4d21-afe7-a39974533ddc" providerId="AD" clId="Web-{3AF81392-8C37-6BCB-FF68-A5FD1FDBE964}" dt="2022-10-26T15:40:14.341" v="44"/>
          <pc:sldLayoutMkLst>
            <pc:docMk/>
            <pc:sldMasterMk cId="560092682" sldId="2147487158"/>
            <pc:sldLayoutMk cId="3630801759" sldId="2147487227"/>
          </pc:sldLayoutMkLst>
        </pc:sldLayoutChg>
        <pc:sldLayoutChg chg="add">
          <pc:chgData name="Patricia Ann Lee King" userId="S::pal094@ads.northwestern.edu::dbab7ec2-5444-4d21-afe7-a39974533ddc" providerId="AD" clId="Web-{3AF81392-8C37-6BCB-FF68-A5FD1FDBE964}" dt="2022-10-26T15:40:14.341" v="44"/>
          <pc:sldLayoutMkLst>
            <pc:docMk/>
            <pc:sldMasterMk cId="560092682" sldId="2147487158"/>
            <pc:sldLayoutMk cId="1709868767" sldId="2147487228"/>
          </pc:sldLayoutMkLst>
        </pc:sldLayoutChg>
        <pc:sldLayoutChg chg="add">
          <pc:chgData name="Patricia Ann Lee King" userId="S::pal094@ads.northwestern.edu::dbab7ec2-5444-4d21-afe7-a39974533ddc" providerId="AD" clId="Web-{3AF81392-8C37-6BCB-FF68-A5FD1FDBE964}" dt="2022-10-26T15:40:14.341" v="44"/>
          <pc:sldLayoutMkLst>
            <pc:docMk/>
            <pc:sldMasterMk cId="560092682" sldId="2147487158"/>
            <pc:sldLayoutMk cId="1998157548" sldId="2147487229"/>
          </pc:sldLayoutMkLst>
        </pc:sldLayoutChg>
        <pc:sldLayoutChg chg="add">
          <pc:chgData name="Patricia Ann Lee King" userId="S::pal094@ads.northwestern.edu::dbab7ec2-5444-4d21-afe7-a39974533ddc" providerId="AD" clId="Web-{3AF81392-8C37-6BCB-FF68-A5FD1FDBE964}" dt="2022-10-26T15:40:14.341" v="44"/>
          <pc:sldLayoutMkLst>
            <pc:docMk/>
            <pc:sldMasterMk cId="560092682" sldId="2147487158"/>
            <pc:sldLayoutMk cId="191337409" sldId="2147487231"/>
          </pc:sldLayoutMkLst>
        </pc:sldLayoutChg>
        <pc:sldLayoutChg chg="add">
          <pc:chgData name="Patricia Ann Lee King" userId="S::pal094@ads.northwestern.edu::dbab7ec2-5444-4d21-afe7-a39974533ddc" providerId="AD" clId="Web-{3AF81392-8C37-6BCB-FF68-A5FD1FDBE964}" dt="2022-10-26T15:40:14.341" v="44"/>
          <pc:sldLayoutMkLst>
            <pc:docMk/>
            <pc:sldMasterMk cId="560092682" sldId="2147487158"/>
            <pc:sldLayoutMk cId="1075216660" sldId="2147487232"/>
          </pc:sldLayoutMkLst>
        </pc:sldLayoutChg>
        <pc:sldLayoutChg chg="add">
          <pc:chgData name="Patricia Ann Lee King" userId="S::pal094@ads.northwestern.edu::dbab7ec2-5444-4d21-afe7-a39974533ddc" providerId="AD" clId="Web-{3AF81392-8C37-6BCB-FF68-A5FD1FDBE964}" dt="2022-10-26T15:40:14.341" v="44"/>
          <pc:sldLayoutMkLst>
            <pc:docMk/>
            <pc:sldMasterMk cId="560092682" sldId="2147487158"/>
            <pc:sldLayoutMk cId="3476272431" sldId="2147487233"/>
          </pc:sldLayoutMkLst>
        </pc:sldLayoutChg>
        <pc:sldLayoutChg chg="add">
          <pc:chgData name="Patricia Ann Lee King" userId="S::pal094@ads.northwestern.edu::dbab7ec2-5444-4d21-afe7-a39974533ddc" providerId="AD" clId="Web-{3AF81392-8C37-6BCB-FF68-A5FD1FDBE964}" dt="2022-10-26T15:40:14.341" v="44"/>
          <pc:sldLayoutMkLst>
            <pc:docMk/>
            <pc:sldMasterMk cId="560092682" sldId="2147487158"/>
            <pc:sldLayoutMk cId="3069300124" sldId="2147487234"/>
          </pc:sldLayoutMkLst>
        </pc:sldLayoutChg>
        <pc:sldLayoutChg chg="add">
          <pc:chgData name="Patricia Ann Lee King" userId="S::pal094@ads.northwestern.edu::dbab7ec2-5444-4d21-afe7-a39974533ddc" providerId="AD" clId="Web-{3AF81392-8C37-6BCB-FF68-A5FD1FDBE964}" dt="2022-10-26T15:40:14.341" v="44"/>
          <pc:sldLayoutMkLst>
            <pc:docMk/>
            <pc:sldMasterMk cId="560092682" sldId="2147487158"/>
            <pc:sldLayoutMk cId="1410130633" sldId="2147487236"/>
          </pc:sldLayoutMkLst>
        </pc:sldLayoutChg>
        <pc:sldLayoutChg chg="add">
          <pc:chgData name="Patricia Ann Lee King" userId="S::pal094@ads.northwestern.edu::dbab7ec2-5444-4d21-afe7-a39974533ddc" providerId="AD" clId="Web-{3AF81392-8C37-6BCB-FF68-A5FD1FDBE964}" dt="2022-10-26T15:40:14.341" v="44"/>
          <pc:sldLayoutMkLst>
            <pc:docMk/>
            <pc:sldMasterMk cId="560092682" sldId="2147487158"/>
            <pc:sldLayoutMk cId="980529727" sldId="2147487237"/>
          </pc:sldLayoutMkLst>
        </pc:sldLayoutChg>
        <pc:sldLayoutChg chg="add">
          <pc:chgData name="Patricia Ann Lee King" userId="S::pal094@ads.northwestern.edu::dbab7ec2-5444-4d21-afe7-a39974533ddc" providerId="AD" clId="Web-{3AF81392-8C37-6BCB-FF68-A5FD1FDBE964}" dt="2022-10-26T15:40:14.341" v="44"/>
          <pc:sldLayoutMkLst>
            <pc:docMk/>
            <pc:sldMasterMk cId="560092682" sldId="2147487158"/>
            <pc:sldLayoutMk cId="3069300124" sldId="2147487310"/>
          </pc:sldLayoutMkLst>
        </pc:sldLayoutChg>
        <pc:sldLayoutChg chg="add">
          <pc:chgData name="Patricia Ann Lee King" userId="S::pal094@ads.northwestern.edu::dbab7ec2-5444-4d21-afe7-a39974533ddc" providerId="AD" clId="Web-{3AF81392-8C37-6BCB-FF68-A5FD1FDBE964}" dt="2022-10-26T15:40:14.341" v="44"/>
          <pc:sldLayoutMkLst>
            <pc:docMk/>
            <pc:sldMasterMk cId="560092682" sldId="2147487158"/>
            <pc:sldLayoutMk cId="309320368" sldId="2147487319"/>
          </pc:sldLayoutMkLst>
        </pc:sldLayoutChg>
        <pc:sldLayoutChg chg="add">
          <pc:chgData name="Patricia Ann Lee King" userId="S::pal094@ads.northwestern.edu::dbab7ec2-5444-4d21-afe7-a39974533ddc" providerId="AD" clId="Web-{3AF81392-8C37-6BCB-FF68-A5FD1FDBE964}" dt="2022-10-26T15:40:14.341" v="44"/>
          <pc:sldLayoutMkLst>
            <pc:docMk/>
            <pc:sldMasterMk cId="560092682" sldId="2147487158"/>
            <pc:sldLayoutMk cId="3610496501" sldId="2147487320"/>
          </pc:sldLayoutMkLst>
        </pc:sldLayoutChg>
      </pc:sldMasterChg>
    </pc:docChg>
  </pc:docChgLst>
  <pc:docChgLst>
    <pc:chgData name="Aleena Lida Surenian" userId="S::als0813@ads.northwestern.edu::e2fd0e4e-6417-49b0-ab16-0ba26a1719f0" providerId="AD" clId="Web-{0B876A4F-AD42-CBBA-EE00-82C0FA4D3C5B}"/>
    <pc:docChg chg="modSld">
      <pc:chgData name="Aleena Lida Surenian" userId="S::als0813@ads.northwestern.edu::e2fd0e4e-6417-49b0-ab16-0ba26a1719f0" providerId="AD" clId="Web-{0B876A4F-AD42-CBBA-EE00-82C0FA4D3C5B}" dt="2023-10-27T19:00:16.500" v="37" actId="20577"/>
      <pc:docMkLst>
        <pc:docMk/>
      </pc:docMkLst>
      <pc:sldChg chg="modSp">
        <pc:chgData name="Aleena Lida Surenian" userId="S::als0813@ads.northwestern.edu::e2fd0e4e-6417-49b0-ab16-0ba26a1719f0" providerId="AD" clId="Web-{0B876A4F-AD42-CBBA-EE00-82C0FA4D3C5B}" dt="2023-10-27T19:00:16.500" v="37" actId="20577"/>
        <pc:sldMkLst>
          <pc:docMk/>
          <pc:sldMk cId="534217119" sldId="306"/>
        </pc:sldMkLst>
        <pc:spChg chg="mod">
          <ac:chgData name="Aleena Lida Surenian" userId="S::als0813@ads.northwestern.edu::e2fd0e4e-6417-49b0-ab16-0ba26a1719f0" providerId="AD" clId="Web-{0B876A4F-AD42-CBBA-EE00-82C0FA4D3C5B}" dt="2023-10-27T19:00:00.297" v="4" actId="20577"/>
          <ac:spMkLst>
            <pc:docMk/>
            <pc:sldMk cId="534217119" sldId="306"/>
            <ac:spMk id="20" creationId="{00000000-0000-0000-0000-000000000000}"/>
          </ac:spMkLst>
        </pc:spChg>
        <pc:spChg chg="mod">
          <ac:chgData name="Aleena Lida Surenian" userId="S::als0813@ads.northwestern.edu::e2fd0e4e-6417-49b0-ab16-0ba26a1719f0" providerId="AD" clId="Web-{0B876A4F-AD42-CBBA-EE00-82C0FA4D3C5B}" dt="2023-10-27T19:00:06.547" v="20" actId="20577"/>
          <ac:spMkLst>
            <pc:docMk/>
            <pc:sldMk cId="534217119" sldId="306"/>
            <ac:spMk id="21" creationId="{00000000-0000-0000-0000-000000000000}"/>
          </ac:spMkLst>
        </pc:spChg>
        <pc:spChg chg="mod">
          <ac:chgData name="Aleena Lida Surenian" userId="S::als0813@ads.northwestern.edu::e2fd0e4e-6417-49b0-ab16-0ba26a1719f0" providerId="AD" clId="Web-{0B876A4F-AD42-CBBA-EE00-82C0FA4D3C5B}" dt="2023-10-27T19:00:12.797" v="33" actId="20577"/>
          <ac:spMkLst>
            <pc:docMk/>
            <pc:sldMk cId="534217119" sldId="306"/>
            <ac:spMk id="22" creationId="{00000000-0000-0000-0000-000000000000}"/>
          </ac:spMkLst>
        </pc:spChg>
        <pc:spChg chg="mod">
          <ac:chgData name="Aleena Lida Surenian" userId="S::als0813@ads.northwestern.edu::e2fd0e4e-6417-49b0-ab16-0ba26a1719f0" providerId="AD" clId="Web-{0B876A4F-AD42-CBBA-EE00-82C0FA4D3C5B}" dt="2023-10-27T19:00:16.500" v="37" actId="20577"/>
          <ac:spMkLst>
            <pc:docMk/>
            <pc:sldMk cId="534217119" sldId="306"/>
            <ac:spMk id="23" creationId="{00000000-0000-0000-0000-000000000000}"/>
          </ac:spMkLst>
        </pc:spChg>
      </pc:sldChg>
    </pc:docChg>
  </pc:docChgLst>
  <pc:docChgLst>
    <pc:chgData name="Aleena Lida Surenian" userId="S::als0813@ads.northwestern.edu::e2fd0e4e-6417-49b0-ab16-0ba26a1719f0" providerId="AD" clId="Web-{8445105A-0FC8-750A-CF3C-EF6C46DA4DC7}"/>
    <pc:docChg chg="modSld">
      <pc:chgData name="Aleena Lida Surenian" userId="S::als0813@ads.northwestern.edu::e2fd0e4e-6417-49b0-ab16-0ba26a1719f0" providerId="AD" clId="Web-{8445105A-0FC8-750A-CF3C-EF6C46DA4DC7}" dt="2023-11-10T15:48:22.033" v="38"/>
      <pc:docMkLst>
        <pc:docMk/>
      </pc:docMkLst>
      <pc:sldChg chg="delSp modSp">
        <pc:chgData name="Aleena Lida Surenian" userId="S::als0813@ads.northwestern.edu::e2fd0e4e-6417-49b0-ab16-0ba26a1719f0" providerId="AD" clId="Web-{8445105A-0FC8-750A-CF3C-EF6C46DA4DC7}" dt="2023-11-10T15:46:40.953" v="4"/>
        <pc:sldMkLst>
          <pc:docMk/>
          <pc:sldMk cId="3240133074" sldId="259"/>
        </pc:sldMkLst>
        <pc:spChg chg="mod">
          <ac:chgData name="Aleena Lida Surenian" userId="S::als0813@ads.northwestern.edu::e2fd0e4e-6417-49b0-ab16-0ba26a1719f0" providerId="AD" clId="Web-{8445105A-0FC8-750A-CF3C-EF6C46DA4DC7}" dt="2023-11-10T15:46:40.890" v="3" actId="20577"/>
          <ac:spMkLst>
            <pc:docMk/>
            <pc:sldMk cId="3240133074" sldId="259"/>
            <ac:spMk id="7" creationId="{7E13C86E-7C8D-3F7D-948E-5B86E04CE1A7}"/>
          </ac:spMkLst>
        </pc:spChg>
        <pc:picChg chg="del">
          <ac:chgData name="Aleena Lida Surenian" userId="S::als0813@ads.northwestern.edu::e2fd0e4e-6417-49b0-ab16-0ba26a1719f0" providerId="AD" clId="Web-{8445105A-0FC8-750A-CF3C-EF6C46DA4DC7}" dt="2023-11-10T15:46:40.953" v="4"/>
          <ac:picMkLst>
            <pc:docMk/>
            <pc:sldMk cId="3240133074" sldId="259"/>
            <ac:picMk id="2" creationId="{6EF74818-61F0-CF2D-8B35-1B4F9DC26E0C}"/>
          </ac:picMkLst>
        </pc:picChg>
      </pc:sldChg>
      <pc:sldChg chg="addSp delSp modSp">
        <pc:chgData name="Aleena Lida Surenian" userId="S::als0813@ads.northwestern.edu::e2fd0e4e-6417-49b0-ab16-0ba26a1719f0" providerId="AD" clId="Web-{8445105A-0FC8-750A-CF3C-EF6C46DA4DC7}" dt="2023-11-10T15:46:41.359" v="8"/>
        <pc:sldMkLst>
          <pc:docMk/>
          <pc:sldMk cId="1823951541" sldId="261"/>
        </pc:sldMkLst>
        <pc:spChg chg="del">
          <ac:chgData name="Aleena Lida Surenian" userId="S::als0813@ads.northwestern.edu::e2fd0e4e-6417-49b0-ab16-0ba26a1719f0" providerId="AD" clId="Web-{8445105A-0FC8-750A-CF3C-EF6C46DA4DC7}" dt="2023-11-10T15:46:41.359" v="8"/>
          <ac:spMkLst>
            <pc:docMk/>
            <pc:sldMk cId="1823951541" sldId="261"/>
            <ac:spMk id="2" creationId="{2164C29B-7F3F-1839-DD50-C890ABFE5A6D}"/>
          </ac:spMkLst>
        </pc:spChg>
        <pc:spChg chg="mod">
          <ac:chgData name="Aleena Lida Surenian" userId="S::als0813@ads.northwestern.edu::e2fd0e4e-6417-49b0-ab16-0ba26a1719f0" providerId="AD" clId="Web-{8445105A-0FC8-750A-CF3C-EF6C46DA4DC7}" dt="2023-11-10T15:46:41.218" v="7" actId="20577"/>
          <ac:spMkLst>
            <pc:docMk/>
            <pc:sldMk cId="1823951541" sldId="261"/>
            <ac:spMk id="4" creationId="{19922563-64D6-2A4E-B048-13AC25DB45AD}"/>
          </ac:spMkLst>
        </pc:spChg>
        <pc:spChg chg="add mod">
          <ac:chgData name="Aleena Lida Surenian" userId="S::als0813@ads.northwestern.edu::e2fd0e4e-6417-49b0-ab16-0ba26a1719f0" providerId="AD" clId="Web-{8445105A-0FC8-750A-CF3C-EF6C46DA4DC7}" dt="2023-11-10T15:46:41.359" v="8"/>
          <ac:spMkLst>
            <pc:docMk/>
            <pc:sldMk cId="1823951541" sldId="261"/>
            <ac:spMk id="7" creationId="{2E1A63C7-0CF6-5E5A-B805-30BC67432CC9}"/>
          </ac:spMkLst>
        </pc:spChg>
        <pc:picChg chg="del">
          <ac:chgData name="Aleena Lida Surenian" userId="S::als0813@ads.northwestern.edu::e2fd0e4e-6417-49b0-ab16-0ba26a1719f0" providerId="AD" clId="Web-{8445105A-0FC8-750A-CF3C-EF6C46DA4DC7}" dt="2023-11-10T15:46:41.359" v="8"/>
          <ac:picMkLst>
            <pc:docMk/>
            <pc:sldMk cId="1823951541" sldId="261"/>
            <ac:picMk id="6" creationId="{30C1A51F-9C76-7D94-57CD-AC4A39EF6029}"/>
          </ac:picMkLst>
        </pc:picChg>
      </pc:sldChg>
      <pc:sldChg chg="delSp modSp">
        <pc:chgData name="Aleena Lida Surenian" userId="S::als0813@ads.northwestern.edu::e2fd0e4e-6417-49b0-ab16-0ba26a1719f0" providerId="AD" clId="Web-{8445105A-0FC8-750A-CF3C-EF6C46DA4DC7}" dt="2023-11-10T15:46:59.734" v="11"/>
        <pc:sldMkLst>
          <pc:docMk/>
          <pc:sldMk cId="3053287326" sldId="311"/>
        </pc:sldMkLst>
        <pc:spChg chg="mod">
          <ac:chgData name="Aleena Lida Surenian" userId="S::als0813@ads.northwestern.edu::e2fd0e4e-6417-49b0-ab16-0ba26a1719f0" providerId="AD" clId="Web-{8445105A-0FC8-750A-CF3C-EF6C46DA4DC7}" dt="2023-11-10T15:46:54.172" v="9" actId="20577"/>
          <ac:spMkLst>
            <pc:docMk/>
            <pc:sldMk cId="3053287326" sldId="311"/>
            <ac:spMk id="6" creationId="{2364E342-A98E-4E6A-9ABE-E187A502C24F}"/>
          </ac:spMkLst>
        </pc:spChg>
        <pc:picChg chg="del">
          <ac:chgData name="Aleena Lida Surenian" userId="S::als0813@ads.northwestern.edu::e2fd0e4e-6417-49b0-ab16-0ba26a1719f0" providerId="AD" clId="Web-{8445105A-0FC8-750A-CF3C-EF6C46DA4DC7}" dt="2023-11-10T15:46:59.734" v="11"/>
          <ac:picMkLst>
            <pc:docMk/>
            <pc:sldMk cId="3053287326" sldId="311"/>
            <ac:picMk id="9" creationId="{B7680CAF-7645-BBD5-9950-24CE6E641F36}"/>
          </ac:picMkLst>
        </pc:picChg>
        <pc:picChg chg="del">
          <ac:chgData name="Aleena Lida Surenian" userId="S::als0813@ads.northwestern.edu::e2fd0e4e-6417-49b0-ab16-0ba26a1719f0" providerId="AD" clId="Web-{8445105A-0FC8-750A-CF3C-EF6C46DA4DC7}" dt="2023-11-10T15:46:57.109" v="10"/>
          <ac:picMkLst>
            <pc:docMk/>
            <pc:sldMk cId="3053287326" sldId="311"/>
            <ac:picMk id="10" creationId="{87E1CB06-D4B6-034A-6E16-EE92C2DF95C2}"/>
          </ac:picMkLst>
        </pc:picChg>
      </pc:sldChg>
      <pc:sldChg chg="delSp modSp">
        <pc:chgData name="Aleena Lida Surenian" userId="S::als0813@ads.northwestern.edu::e2fd0e4e-6417-49b0-ab16-0ba26a1719f0" providerId="AD" clId="Web-{8445105A-0FC8-750A-CF3C-EF6C46DA4DC7}" dt="2023-11-10T15:48:18.392" v="36"/>
        <pc:sldMkLst>
          <pc:docMk/>
          <pc:sldMk cId="910938155" sldId="314"/>
        </pc:sldMkLst>
        <pc:spChg chg="mod">
          <ac:chgData name="Aleena Lida Surenian" userId="S::als0813@ads.northwestern.edu::e2fd0e4e-6417-49b0-ab16-0ba26a1719f0" providerId="AD" clId="Web-{8445105A-0FC8-750A-CF3C-EF6C46DA4DC7}" dt="2023-11-10T15:48:14.736" v="34" actId="20577"/>
          <ac:spMkLst>
            <pc:docMk/>
            <pc:sldMk cId="910938155" sldId="314"/>
            <ac:spMk id="8" creationId="{00000000-0000-0000-0000-000000000000}"/>
          </ac:spMkLst>
        </pc:spChg>
        <pc:picChg chg="del">
          <ac:chgData name="Aleena Lida Surenian" userId="S::als0813@ads.northwestern.edu::e2fd0e4e-6417-49b0-ab16-0ba26a1719f0" providerId="AD" clId="Web-{8445105A-0FC8-750A-CF3C-EF6C46DA4DC7}" dt="2023-11-10T15:48:15.251" v="35"/>
          <ac:picMkLst>
            <pc:docMk/>
            <pc:sldMk cId="910938155" sldId="314"/>
            <ac:picMk id="9" creationId="{43B28592-62A5-7AFA-53E6-8ABAD0484FC8}"/>
          </ac:picMkLst>
        </pc:picChg>
        <pc:picChg chg="del">
          <ac:chgData name="Aleena Lida Surenian" userId="S::als0813@ads.northwestern.edu::e2fd0e4e-6417-49b0-ab16-0ba26a1719f0" providerId="AD" clId="Web-{8445105A-0FC8-750A-CF3C-EF6C46DA4DC7}" dt="2023-11-10T15:48:18.392" v="36"/>
          <ac:picMkLst>
            <pc:docMk/>
            <pc:sldMk cId="910938155" sldId="314"/>
            <ac:picMk id="10" creationId="{7E287FF7-1EA8-BC32-4B64-DD891E023904}"/>
          </ac:picMkLst>
        </pc:picChg>
      </pc:sldChg>
      <pc:sldChg chg="delSp modSp">
        <pc:chgData name="Aleena Lida Surenian" userId="S::als0813@ads.northwestern.edu::e2fd0e4e-6417-49b0-ab16-0ba26a1719f0" providerId="AD" clId="Web-{8445105A-0FC8-750A-CF3C-EF6C46DA4DC7}" dt="2023-11-10T15:48:05.751" v="32"/>
        <pc:sldMkLst>
          <pc:docMk/>
          <pc:sldMk cId="2128475166" sldId="315"/>
        </pc:sldMkLst>
        <pc:spChg chg="del">
          <ac:chgData name="Aleena Lida Surenian" userId="S::als0813@ads.northwestern.edu::e2fd0e4e-6417-49b0-ab16-0ba26a1719f0" providerId="AD" clId="Web-{8445105A-0FC8-750A-CF3C-EF6C46DA4DC7}" dt="2023-11-10T15:48:04.501" v="31"/>
          <ac:spMkLst>
            <pc:docMk/>
            <pc:sldMk cId="2128475166" sldId="315"/>
            <ac:spMk id="5" creationId="{00000000-0000-0000-0000-000000000000}"/>
          </ac:spMkLst>
        </pc:spChg>
        <pc:spChg chg="mod">
          <ac:chgData name="Aleena Lida Surenian" userId="S::als0813@ads.northwestern.edu::e2fd0e4e-6417-49b0-ab16-0ba26a1719f0" providerId="AD" clId="Web-{8445105A-0FC8-750A-CF3C-EF6C46DA4DC7}" dt="2023-11-10T15:48:04.017" v="30" actId="20577"/>
          <ac:spMkLst>
            <pc:docMk/>
            <pc:sldMk cId="2128475166" sldId="315"/>
            <ac:spMk id="6" creationId="{00000000-0000-0000-0000-000000000000}"/>
          </ac:spMkLst>
        </pc:spChg>
        <pc:picChg chg="del">
          <ac:chgData name="Aleena Lida Surenian" userId="S::als0813@ads.northwestern.edu::e2fd0e4e-6417-49b0-ab16-0ba26a1719f0" providerId="AD" clId="Web-{8445105A-0FC8-750A-CF3C-EF6C46DA4DC7}" dt="2023-11-10T15:48:05.751" v="32"/>
          <ac:picMkLst>
            <pc:docMk/>
            <pc:sldMk cId="2128475166" sldId="315"/>
            <ac:picMk id="7" creationId="{ACE85636-ACF8-0BC0-E710-EEFF73E148B9}"/>
          </ac:picMkLst>
        </pc:picChg>
      </pc:sldChg>
      <pc:sldChg chg="delSp modSp">
        <pc:chgData name="Aleena Lida Surenian" userId="S::als0813@ads.northwestern.edu::e2fd0e4e-6417-49b0-ab16-0ba26a1719f0" providerId="AD" clId="Web-{8445105A-0FC8-750A-CF3C-EF6C46DA4DC7}" dt="2023-11-10T15:47:42.594" v="29"/>
        <pc:sldMkLst>
          <pc:docMk/>
          <pc:sldMk cId="4237872439" sldId="317"/>
        </pc:sldMkLst>
        <pc:spChg chg="del">
          <ac:chgData name="Aleena Lida Surenian" userId="S::als0813@ads.northwestern.edu::e2fd0e4e-6417-49b0-ab16-0ba26a1719f0" providerId="AD" clId="Web-{8445105A-0FC8-750A-CF3C-EF6C46DA4DC7}" dt="2023-11-10T15:47:42.594" v="29"/>
          <ac:spMkLst>
            <pc:docMk/>
            <pc:sldMk cId="4237872439" sldId="317"/>
            <ac:spMk id="4" creationId="{00000000-0000-0000-0000-000000000000}"/>
          </ac:spMkLst>
        </pc:spChg>
        <pc:spChg chg="mod">
          <ac:chgData name="Aleena Lida Surenian" userId="S::als0813@ads.northwestern.edu::e2fd0e4e-6417-49b0-ab16-0ba26a1719f0" providerId="AD" clId="Web-{8445105A-0FC8-750A-CF3C-EF6C46DA4DC7}" dt="2023-11-10T15:47:41.563" v="28" actId="20577"/>
          <ac:spMkLst>
            <pc:docMk/>
            <pc:sldMk cId="4237872439" sldId="317"/>
            <ac:spMk id="6" creationId="{00000000-0000-0000-0000-000000000000}"/>
          </ac:spMkLst>
        </pc:spChg>
      </pc:sldChg>
      <pc:sldChg chg="delSp modSp">
        <pc:chgData name="Aleena Lida Surenian" userId="S::als0813@ads.northwestern.edu::e2fd0e4e-6417-49b0-ab16-0ba26a1719f0" providerId="AD" clId="Web-{8445105A-0FC8-750A-CF3C-EF6C46DA4DC7}" dt="2023-11-10T15:47:31.235" v="25"/>
        <pc:sldMkLst>
          <pc:docMk/>
          <pc:sldMk cId="4198102940" sldId="319"/>
        </pc:sldMkLst>
        <pc:spChg chg="del">
          <ac:chgData name="Aleena Lida Surenian" userId="S::als0813@ads.northwestern.edu::e2fd0e4e-6417-49b0-ab16-0ba26a1719f0" providerId="AD" clId="Web-{8445105A-0FC8-750A-CF3C-EF6C46DA4DC7}" dt="2023-11-10T15:47:31.235" v="25"/>
          <ac:spMkLst>
            <pc:docMk/>
            <pc:sldMk cId="4198102940" sldId="319"/>
            <ac:spMk id="4" creationId="{00000000-0000-0000-0000-000000000000}"/>
          </ac:spMkLst>
        </pc:spChg>
        <pc:spChg chg="mod">
          <ac:chgData name="Aleena Lida Surenian" userId="S::als0813@ads.northwestern.edu::e2fd0e4e-6417-49b0-ab16-0ba26a1719f0" providerId="AD" clId="Web-{8445105A-0FC8-750A-CF3C-EF6C46DA4DC7}" dt="2023-11-10T15:47:30.672" v="24" actId="20577"/>
          <ac:spMkLst>
            <pc:docMk/>
            <pc:sldMk cId="4198102940" sldId="319"/>
            <ac:spMk id="5" creationId="{00000000-0000-0000-0000-000000000000}"/>
          </ac:spMkLst>
        </pc:spChg>
      </pc:sldChg>
      <pc:sldChg chg="delSp modSp">
        <pc:chgData name="Aleena Lida Surenian" userId="S::als0813@ads.northwestern.edu::e2fd0e4e-6417-49b0-ab16-0ba26a1719f0" providerId="AD" clId="Web-{8445105A-0FC8-750A-CF3C-EF6C46DA4DC7}" dt="2023-11-10T15:47:22.172" v="22"/>
        <pc:sldMkLst>
          <pc:docMk/>
          <pc:sldMk cId="368992253" sldId="321"/>
        </pc:sldMkLst>
        <pc:spChg chg="del">
          <ac:chgData name="Aleena Lida Surenian" userId="S::als0813@ads.northwestern.edu::e2fd0e4e-6417-49b0-ab16-0ba26a1719f0" providerId="AD" clId="Web-{8445105A-0FC8-750A-CF3C-EF6C46DA4DC7}" dt="2023-11-10T15:47:22.172" v="22"/>
          <ac:spMkLst>
            <pc:docMk/>
            <pc:sldMk cId="368992253" sldId="321"/>
            <ac:spMk id="4" creationId="{00000000-0000-0000-0000-000000000000}"/>
          </ac:spMkLst>
        </pc:spChg>
        <pc:spChg chg="mod">
          <ac:chgData name="Aleena Lida Surenian" userId="S::als0813@ads.northwestern.edu::e2fd0e4e-6417-49b0-ab16-0ba26a1719f0" providerId="AD" clId="Web-{8445105A-0FC8-750A-CF3C-EF6C46DA4DC7}" dt="2023-11-10T15:47:21.578" v="21" actId="20577"/>
          <ac:spMkLst>
            <pc:docMk/>
            <pc:sldMk cId="368992253" sldId="321"/>
            <ac:spMk id="5" creationId="{00000000-0000-0000-0000-000000000000}"/>
          </ac:spMkLst>
        </pc:spChg>
      </pc:sldChg>
      <pc:sldChg chg="delSp modSp">
        <pc:chgData name="Aleena Lida Surenian" userId="S::als0813@ads.northwestern.edu::e2fd0e4e-6417-49b0-ab16-0ba26a1719f0" providerId="AD" clId="Web-{8445105A-0FC8-750A-CF3C-EF6C46DA4DC7}" dt="2023-11-10T15:47:17.766" v="20"/>
        <pc:sldMkLst>
          <pc:docMk/>
          <pc:sldMk cId="410180325" sldId="323"/>
        </pc:sldMkLst>
        <pc:spChg chg="del">
          <ac:chgData name="Aleena Lida Surenian" userId="S::als0813@ads.northwestern.edu::e2fd0e4e-6417-49b0-ab16-0ba26a1719f0" providerId="AD" clId="Web-{8445105A-0FC8-750A-CF3C-EF6C46DA4DC7}" dt="2023-11-10T15:47:17.766" v="20"/>
          <ac:spMkLst>
            <pc:docMk/>
            <pc:sldMk cId="410180325" sldId="323"/>
            <ac:spMk id="3" creationId="{00000000-0000-0000-0000-000000000000}"/>
          </ac:spMkLst>
        </pc:spChg>
        <pc:spChg chg="mod">
          <ac:chgData name="Aleena Lida Surenian" userId="S::als0813@ads.northwestern.edu::e2fd0e4e-6417-49b0-ab16-0ba26a1719f0" providerId="AD" clId="Web-{8445105A-0FC8-750A-CF3C-EF6C46DA4DC7}" dt="2023-11-10T15:47:17.235" v="19" actId="20577"/>
          <ac:spMkLst>
            <pc:docMk/>
            <pc:sldMk cId="410180325" sldId="323"/>
            <ac:spMk id="5" creationId="{00000000-0000-0000-0000-000000000000}"/>
          </ac:spMkLst>
        </pc:spChg>
      </pc:sldChg>
      <pc:sldChg chg="delSp modSp">
        <pc:chgData name="Aleena Lida Surenian" userId="S::als0813@ads.northwestern.edu::e2fd0e4e-6417-49b0-ab16-0ba26a1719f0" providerId="AD" clId="Web-{8445105A-0FC8-750A-CF3C-EF6C46DA4DC7}" dt="2023-11-10T15:47:13.375" v="18"/>
        <pc:sldMkLst>
          <pc:docMk/>
          <pc:sldMk cId="2030386992" sldId="324"/>
        </pc:sldMkLst>
        <pc:spChg chg="mod">
          <ac:chgData name="Aleena Lida Surenian" userId="S::als0813@ads.northwestern.edu::e2fd0e4e-6417-49b0-ab16-0ba26a1719f0" providerId="AD" clId="Web-{8445105A-0FC8-750A-CF3C-EF6C46DA4DC7}" dt="2023-11-10T15:47:12.719" v="17" actId="20577"/>
          <ac:spMkLst>
            <pc:docMk/>
            <pc:sldMk cId="2030386992" sldId="324"/>
            <ac:spMk id="7" creationId="{00000000-0000-0000-0000-000000000000}"/>
          </ac:spMkLst>
        </pc:spChg>
        <pc:grpChg chg="del">
          <ac:chgData name="Aleena Lida Surenian" userId="S::als0813@ads.northwestern.edu::e2fd0e4e-6417-49b0-ab16-0ba26a1719f0" providerId="AD" clId="Web-{8445105A-0FC8-750A-CF3C-EF6C46DA4DC7}" dt="2023-11-10T15:47:13.375" v="18"/>
          <ac:grpSpMkLst>
            <pc:docMk/>
            <pc:sldMk cId="2030386992" sldId="324"/>
            <ac:grpSpMk id="2" creationId="{00000000-0000-0000-0000-000000000000}"/>
          </ac:grpSpMkLst>
        </pc:grpChg>
      </pc:sldChg>
      <pc:sldChg chg="delSp modSp">
        <pc:chgData name="Aleena Lida Surenian" userId="S::als0813@ads.northwestern.edu::e2fd0e4e-6417-49b0-ab16-0ba26a1719f0" providerId="AD" clId="Web-{8445105A-0FC8-750A-CF3C-EF6C46DA4DC7}" dt="2023-11-10T15:47:08.313" v="16"/>
        <pc:sldMkLst>
          <pc:docMk/>
          <pc:sldMk cId="3286141238" sldId="326"/>
        </pc:sldMkLst>
        <pc:spChg chg="mod">
          <ac:chgData name="Aleena Lida Surenian" userId="S::als0813@ads.northwestern.edu::e2fd0e4e-6417-49b0-ab16-0ba26a1719f0" providerId="AD" clId="Web-{8445105A-0FC8-750A-CF3C-EF6C46DA4DC7}" dt="2023-11-10T15:47:07.828" v="15" actId="20577"/>
          <ac:spMkLst>
            <pc:docMk/>
            <pc:sldMk cId="3286141238" sldId="326"/>
            <ac:spMk id="7" creationId="{00000000-0000-0000-0000-000000000000}"/>
          </ac:spMkLst>
        </pc:spChg>
        <pc:grpChg chg="del">
          <ac:chgData name="Aleena Lida Surenian" userId="S::als0813@ads.northwestern.edu::e2fd0e4e-6417-49b0-ab16-0ba26a1719f0" providerId="AD" clId="Web-{8445105A-0FC8-750A-CF3C-EF6C46DA4DC7}" dt="2023-11-10T15:47:08.313" v="16"/>
          <ac:grpSpMkLst>
            <pc:docMk/>
            <pc:sldMk cId="3286141238" sldId="326"/>
            <ac:grpSpMk id="2" creationId="{00000000-0000-0000-0000-000000000000}"/>
          </ac:grpSpMkLst>
        </pc:grpChg>
      </pc:sldChg>
      <pc:sldChg chg="delSp modSp">
        <pc:chgData name="Aleena Lida Surenian" userId="S::als0813@ads.northwestern.edu::e2fd0e4e-6417-49b0-ab16-0ba26a1719f0" providerId="AD" clId="Web-{8445105A-0FC8-750A-CF3C-EF6C46DA4DC7}" dt="2023-11-10T15:47:03.719" v="14"/>
        <pc:sldMkLst>
          <pc:docMk/>
          <pc:sldMk cId="1684100725" sldId="327"/>
        </pc:sldMkLst>
        <pc:spChg chg="del">
          <ac:chgData name="Aleena Lida Surenian" userId="S::als0813@ads.northwestern.edu::e2fd0e4e-6417-49b0-ab16-0ba26a1719f0" providerId="AD" clId="Web-{8445105A-0FC8-750A-CF3C-EF6C46DA4DC7}" dt="2023-11-10T15:47:03.719" v="14"/>
          <ac:spMkLst>
            <pc:docMk/>
            <pc:sldMk cId="1684100725" sldId="327"/>
            <ac:spMk id="5" creationId="{00000000-0000-0000-0000-000000000000}"/>
          </ac:spMkLst>
        </pc:spChg>
        <pc:spChg chg="mod">
          <ac:chgData name="Aleena Lida Surenian" userId="S::als0813@ads.northwestern.edu::e2fd0e4e-6417-49b0-ab16-0ba26a1719f0" providerId="AD" clId="Web-{8445105A-0FC8-750A-CF3C-EF6C46DA4DC7}" dt="2023-11-10T15:47:03.078" v="13" actId="20577"/>
          <ac:spMkLst>
            <pc:docMk/>
            <pc:sldMk cId="1684100725" sldId="327"/>
            <ac:spMk id="8" creationId="{00000000-0000-0000-0000-000000000000}"/>
          </ac:spMkLst>
        </pc:spChg>
      </pc:sldChg>
      <pc:sldChg chg="delSp modSp">
        <pc:chgData name="Aleena Lida Surenian" userId="S::als0813@ads.northwestern.edu::e2fd0e4e-6417-49b0-ab16-0ba26a1719f0" providerId="AD" clId="Web-{8445105A-0FC8-750A-CF3C-EF6C46DA4DC7}" dt="2023-11-10T15:48:22.033" v="38"/>
        <pc:sldMkLst>
          <pc:docMk/>
          <pc:sldMk cId="3583572661" sldId="337"/>
        </pc:sldMkLst>
        <pc:spChg chg="mod">
          <ac:chgData name="Aleena Lida Surenian" userId="S::als0813@ads.northwestern.edu::e2fd0e4e-6417-49b0-ab16-0ba26a1719f0" providerId="AD" clId="Web-{8445105A-0FC8-750A-CF3C-EF6C46DA4DC7}" dt="2023-11-10T15:48:21.517" v="37" actId="20577"/>
          <ac:spMkLst>
            <pc:docMk/>
            <pc:sldMk cId="3583572661" sldId="337"/>
            <ac:spMk id="7" creationId="{9BC6C23F-F4BF-5A0C-AE8B-E07F91CFF82C}"/>
          </ac:spMkLst>
        </pc:spChg>
        <pc:picChg chg="del">
          <ac:chgData name="Aleena Lida Surenian" userId="S::als0813@ads.northwestern.edu::e2fd0e4e-6417-49b0-ab16-0ba26a1719f0" providerId="AD" clId="Web-{8445105A-0FC8-750A-CF3C-EF6C46DA4DC7}" dt="2023-11-10T15:48:22.033" v="38"/>
          <ac:picMkLst>
            <pc:docMk/>
            <pc:sldMk cId="3583572661" sldId="337"/>
            <ac:picMk id="3" creationId="{86F36245-A426-E3E7-6929-7E0ED8C2377C}"/>
          </ac:picMkLst>
        </pc:picChg>
      </pc:sldChg>
    </pc:docChg>
  </pc:docChgLst>
  <pc:docChgLst>
    <pc:chgData name="Alana Rivera" userId="S::arg3669@ads.northwestern.edu::fc8b707a-b7e9-4f2a-8d71-2d76819b7881" providerId="AD" clId="Web-{1148AA69-EB47-4771-A3F4-7FD541A22206}"/>
    <pc:docChg chg="addSld delSld modSld addMainMaster modMainMaster">
      <pc:chgData name="Alana Rivera" userId="S::arg3669@ads.northwestern.edu::fc8b707a-b7e9-4f2a-8d71-2d76819b7881" providerId="AD" clId="Web-{1148AA69-EB47-4771-A3F4-7FD541A22206}" dt="2022-10-24T05:59:21.838" v="147"/>
      <pc:docMkLst>
        <pc:docMk/>
      </pc:docMkLst>
      <pc:sldChg chg="del">
        <pc:chgData name="Alana Rivera" userId="S::arg3669@ads.northwestern.edu::fc8b707a-b7e9-4f2a-8d71-2d76819b7881" providerId="AD" clId="Web-{1148AA69-EB47-4771-A3F4-7FD541A22206}" dt="2022-10-24T05:58:16.571" v="135"/>
        <pc:sldMkLst>
          <pc:docMk/>
          <pc:sldMk cId="109857222" sldId="256"/>
        </pc:sldMkLst>
      </pc:sldChg>
      <pc:sldChg chg="add">
        <pc:chgData name="Alana Rivera" userId="S::arg3669@ads.northwestern.edu::fc8b707a-b7e9-4f2a-8d71-2d76819b7881" providerId="AD" clId="Web-{1148AA69-EB47-4771-A3F4-7FD541A22206}" dt="2022-10-24T05:37:08.199" v="0"/>
        <pc:sldMkLst>
          <pc:docMk/>
          <pc:sldMk cId="2640496646" sldId="257"/>
        </pc:sldMkLst>
      </pc:sldChg>
      <pc:sldChg chg="add del">
        <pc:chgData name="Alana Rivera" userId="S::arg3669@ads.northwestern.edu::fc8b707a-b7e9-4f2a-8d71-2d76819b7881" providerId="AD" clId="Web-{1148AA69-EB47-4771-A3F4-7FD541A22206}" dt="2022-10-24T05:54:43.127" v="97"/>
        <pc:sldMkLst>
          <pc:docMk/>
          <pc:sldMk cId="3826145011" sldId="258"/>
        </pc:sldMkLst>
      </pc:sldChg>
      <pc:sldChg chg="addSp delSp modSp add">
        <pc:chgData name="Alana Rivera" userId="S::arg3669@ads.northwestern.edu::fc8b707a-b7e9-4f2a-8d71-2d76819b7881" providerId="AD" clId="Web-{1148AA69-EB47-4771-A3F4-7FD541A22206}" dt="2022-10-24T05:59:21.838" v="147"/>
        <pc:sldMkLst>
          <pc:docMk/>
          <pc:sldMk cId="3240133074" sldId="259"/>
        </pc:sldMkLst>
        <pc:spChg chg="mod">
          <ac:chgData name="Alana Rivera" userId="S::arg3669@ads.northwestern.edu::fc8b707a-b7e9-4f2a-8d71-2d76819b7881" providerId="AD" clId="Web-{1148AA69-EB47-4771-A3F4-7FD541A22206}" dt="2022-10-24T05:54:24.017" v="93" actId="1076"/>
          <ac:spMkLst>
            <pc:docMk/>
            <pc:sldMk cId="3240133074" sldId="259"/>
            <ac:spMk id="2" creationId="{00000000-0000-0000-0000-000000000000}"/>
          </ac:spMkLst>
        </pc:spChg>
        <pc:spChg chg="mod">
          <ac:chgData name="Alana Rivera" userId="S::arg3669@ads.northwestern.edu::fc8b707a-b7e9-4f2a-8d71-2d76819b7881" providerId="AD" clId="Web-{1148AA69-EB47-4771-A3F4-7FD541A22206}" dt="2022-10-24T05:42:41.318" v="75" actId="20577"/>
          <ac:spMkLst>
            <pc:docMk/>
            <pc:sldMk cId="3240133074" sldId="259"/>
            <ac:spMk id="3" creationId="{00000000-0000-0000-0000-000000000000}"/>
          </ac:spMkLst>
        </pc:spChg>
        <pc:spChg chg="mod">
          <ac:chgData name="Alana Rivera" userId="S::arg3669@ads.northwestern.edu::fc8b707a-b7e9-4f2a-8d71-2d76819b7881" providerId="AD" clId="Web-{1148AA69-EB47-4771-A3F4-7FD541A22206}" dt="2022-10-24T05:59:21.838" v="147"/>
          <ac:spMkLst>
            <pc:docMk/>
            <pc:sldMk cId="3240133074" sldId="259"/>
            <ac:spMk id="16386" creationId="{00000000-0000-0000-0000-000000000000}"/>
          </ac:spMkLst>
        </pc:spChg>
        <pc:spChg chg="mod">
          <ac:chgData name="Alana Rivera" userId="S::arg3669@ads.northwestern.edu::fc8b707a-b7e9-4f2a-8d71-2d76819b7881" providerId="AD" clId="Web-{1148AA69-EB47-4771-A3F4-7FD541A22206}" dt="2022-10-24T05:43:06.714" v="80" actId="20577"/>
          <ac:spMkLst>
            <pc:docMk/>
            <pc:sldMk cId="3240133074" sldId="259"/>
            <ac:spMk id="16387" creationId="{00000000-0000-0000-0000-000000000000}"/>
          </ac:spMkLst>
        </pc:spChg>
        <pc:picChg chg="add mod">
          <ac:chgData name="Alana Rivera" userId="S::arg3669@ads.northwestern.edu::fc8b707a-b7e9-4f2a-8d71-2d76819b7881" providerId="AD" clId="Web-{1148AA69-EB47-4771-A3F4-7FD541A22206}" dt="2022-10-24T05:54:37.908" v="96" actId="1076"/>
          <ac:picMkLst>
            <pc:docMk/>
            <pc:sldMk cId="3240133074" sldId="259"/>
            <ac:picMk id="4" creationId="{A4BBC840-FF8F-6CCE-8016-B9FF5D02C30F}"/>
          </ac:picMkLst>
        </pc:picChg>
        <pc:picChg chg="add mod">
          <ac:chgData name="Alana Rivera" userId="S::arg3669@ads.northwestern.edu::fc8b707a-b7e9-4f2a-8d71-2d76819b7881" providerId="AD" clId="Web-{1148AA69-EB47-4771-A3F4-7FD541A22206}" dt="2022-10-24T05:54:34.002" v="95" actId="1076"/>
          <ac:picMkLst>
            <pc:docMk/>
            <pc:sldMk cId="3240133074" sldId="259"/>
            <ac:picMk id="5" creationId="{D8A2635F-4F6B-00C0-47F2-F89FE9DD439D}"/>
          </ac:picMkLst>
        </pc:picChg>
        <pc:picChg chg="del">
          <ac:chgData name="Alana Rivera" userId="S::arg3669@ads.northwestern.edu::fc8b707a-b7e9-4f2a-8d71-2d76819b7881" providerId="AD" clId="Web-{1148AA69-EB47-4771-A3F4-7FD541A22206}" dt="2022-10-24T05:52:49.874" v="81"/>
          <ac:picMkLst>
            <pc:docMk/>
            <pc:sldMk cId="3240133074" sldId="259"/>
            <ac:picMk id="8" creationId="{FEB90010-9819-B5B1-D80E-51BA124342E8}"/>
          </ac:picMkLst>
        </pc:picChg>
      </pc:sldChg>
      <pc:sldChg chg="add del">
        <pc:chgData name="Alana Rivera" userId="S::arg3669@ads.northwestern.edu::fc8b707a-b7e9-4f2a-8d71-2d76819b7881" providerId="AD" clId="Web-{1148AA69-EB47-4771-A3F4-7FD541A22206}" dt="2022-10-24T05:41:21.425" v="43"/>
        <pc:sldMkLst>
          <pc:docMk/>
          <pc:sldMk cId="403968931" sldId="260"/>
        </pc:sldMkLst>
      </pc:sldChg>
      <pc:sldChg chg="addSp modSp add">
        <pc:chgData name="Alana Rivera" userId="S::arg3669@ads.northwestern.edu::fc8b707a-b7e9-4f2a-8d71-2d76819b7881" providerId="AD" clId="Web-{1148AA69-EB47-4771-A3F4-7FD541A22206}" dt="2022-10-24T05:41:10.440" v="42"/>
        <pc:sldMkLst>
          <pc:docMk/>
          <pc:sldMk cId="1823951541" sldId="261"/>
        </pc:sldMkLst>
        <pc:spChg chg="add mod">
          <ac:chgData name="Alana Rivera" userId="S::arg3669@ads.northwestern.edu::fc8b707a-b7e9-4f2a-8d71-2d76819b7881" providerId="AD" clId="Web-{1148AA69-EB47-4771-A3F4-7FD541A22206}" dt="2022-10-24T05:41:10.440" v="42"/>
          <ac:spMkLst>
            <pc:docMk/>
            <pc:sldMk cId="1823951541" sldId="261"/>
            <ac:spMk id="2" creationId="{2164C29B-7F3F-1839-DD50-C890ABFE5A6D}"/>
          </ac:spMkLst>
        </pc:spChg>
        <pc:spChg chg="mod">
          <ac:chgData name="Alana Rivera" userId="S::arg3669@ads.northwestern.edu::fc8b707a-b7e9-4f2a-8d71-2d76819b7881" providerId="AD" clId="Web-{1148AA69-EB47-4771-A3F4-7FD541A22206}" dt="2022-10-24T05:39:57.751" v="37" actId="20577"/>
          <ac:spMkLst>
            <pc:docMk/>
            <pc:sldMk cId="1823951541" sldId="261"/>
            <ac:spMk id="3" creationId="{1D742501-F937-8041-84E5-748F96AE991B}"/>
          </ac:spMkLst>
        </pc:spChg>
        <pc:spChg chg="mod">
          <ac:chgData name="Alana Rivera" userId="S::arg3669@ads.northwestern.edu::fc8b707a-b7e9-4f2a-8d71-2d76819b7881" providerId="AD" clId="Web-{1148AA69-EB47-4771-A3F4-7FD541A22206}" dt="2022-10-24T05:38:22.545" v="15" actId="1076"/>
          <ac:spMkLst>
            <pc:docMk/>
            <pc:sldMk cId="1823951541" sldId="261"/>
            <ac:spMk id="4" creationId="{19922563-64D6-2A4E-B048-13AC25DB45AD}"/>
          </ac:spMkLst>
        </pc:spChg>
        <pc:picChg chg="mod">
          <ac:chgData name="Alana Rivera" userId="S::arg3669@ads.northwestern.edu::fc8b707a-b7e9-4f2a-8d71-2d76819b7881" providerId="AD" clId="Web-{1148AA69-EB47-4771-A3F4-7FD541A22206}" dt="2022-10-24T05:41:10.409" v="40"/>
          <ac:picMkLst>
            <pc:docMk/>
            <pc:sldMk cId="1823951541" sldId="261"/>
            <ac:picMk id="6" creationId="{30C1A51F-9C76-7D94-57CD-AC4A39EF6029}"/>
          </ac:picMkLst>
        </pc:picChg>
      </pc:sldChg>
      <pc:sldChg chg="add">
        <pc:chgData name="Alana Rivera" userId="S::arg3669@ads.northwestern.edu::fc8b707a-b7e9-4f2a-8d71-2d76819b7881" providerId="AD" clId="Web-{1148AA69-EB47-4771-A3F4-7FD541A22206}" dt="2022-10-24T05:37:09.121" v="5"/>
        <pc:sldMkLst>
          <pc:docMk/>
          <pc:sldMk cId="267560089" sldId="262"/>
        </pc:sldMkLst>
      </pc:sldChg>
      <pc:sldChg chg="add">
        <pc:chgData name="Alana Rivera" userId="S::arg3669@ads.northwestern.edu::fc8b707a-b7e9-4f2a-8d71-2d76819b7881" providerId="AD" clId="Web-{1148AA69-EB47-4771-A3F4-7FD541A22206}" dt="2022-10-24T05:55:13.894" v="98"/>
        <pc:sldMkLst>
          <pc:docMk/>
          <pc:sldMk cId="2054805736" sldId="263"/>
        </pc:sldMkLst>
      </pc:sldChg>
      <pc:sldChg chg="add">
        <pc:chgData name="Alana Rivera" userId="S::arg3669@ads.northwestern.edu::fc8b707a-b7e9-4f2a-8d71-2d76819b7881" providerId="AD" clId="Web-{1148AA69-EB47-4771-A3F4-7FD541A22206}" dt="2022-10-24T05:55:14.034" v="99"/>
        <pc:sldMkLst>
          <pc:docMk/>
          <pc:sldMk cId="383237482" sldId="264"/>
        </pc:sldMkLst>
      </pc:sldChg>
      <pc:sldChg chg="modSp add del">
        <pc:chgData name="Alana Rivera" userId="S::arg3669@ads.northwestern.edu::fc8b707a-b7e9-4f2a-8d71-2d76819b7881" providerId="AD" clId="Web-{1148AA69-EB47-4771-A3F4-7FD541A22206}" dt="2022-10-24T05:58:57.634" v="146"/>
        <pc:sldMkLst>
          <pc:docMk/>
          <pc:sldMk cId="2201575787" sldId="265"/>
        </pc:sldMkLst>
        <pc:spChg chg="mod">
          <ac:chgData name="Alana Rivera" userId="S::arg3669@ads.northwestern.edu::fc8b707a-b7e9-4f2a-8d71-2d76819b7881" providerId="AD" clId="Web-{1148AA69-EB47-4771-A3F4-7FD541A22206}" dt="2022-10-24T05:55:40.785" v="118" actId="20577"/>
          <ac:spMkLst>
            <pc:docMk/>
            <pc:sldMk cId="2201575787" sldId="265"/>
            <ac:spMk id="2" creationId="{00000000-0000-0000-0000-000000000000}"/>
          </ac:spMkLst>
        </pc:spChg>
      </pc:sldChg>
      <pc:sldChg chg="add">
        <pc:chgData name="Alana Rivera" userId="S::arg3669@ads.northwestern.edu::fc8b707a-b7e9-4f2a-8d71-2d76819b7881" providerId="AD" clId="Web-{1148AA69-EB47-4771-A3F4-7FD541A22206}" dt="2022-10-24T05:58:01.898" v="119"/>
        <pc:sldMkLst>
          <pc:docMk/>
          <pc:sldMk cId="3072848221" sldId="266"/>
        </pc:sldMkLst>
      </pc:sldChg>
      <pc:sldChg chg="add">
        <pc:chgData name="Alana Rivera" userId="S::arg3669@ads.northwestern.edu::fc8b707a-b7e9-4f2a-8d71-2d76819b7881" providerId="AD" clId="Web-{1148AA69-EB47-4771-A3F4-7FD541A22206}" dt="2022-10-24T05:58:02.023" v="120"/>
        <pc:sldMkLst>
          <pc:docMk/>
          <pc:sldMk cId="889144415" sldId="267"/>
        </pc:sldMkLst>
      </pc:sldChg>
      <pc:sldChg chg="add">
        <pc:chgData name="Alana Rivera" userId="S::arg3669@ads.northwestern.edu::fc8b707a-b7e9-4f2a-8d71-2d76819b7881" providerId="AD" clId="Web-{1148AA69-EB47-4771-A3F4-7FD541A22206}" dt="2022-10-24T05:58:02.070" v="121"/>
        <pc:sldMkLst>
          <pc:docMk/>
          <pc:sldMk cId="501526511" sldId="268"/>
        </pc:sldMkLst>
      </pc:sldChg>
      <pc:sldChg chg="add">
        <pc:chgData name="Alana Rivera" userId="S::arg3669@ads.northwestern.edu::fc8b707a-b7e9-4f2a-8d71-2d76819b7881" providerId="AD" clId="Web-{1148AA69-EB47-4771-A3F4-7FD541A22206}" dt="2022-10-24T05:58:02.133" v="122"/>
        <pc:sldMkLst>
          <pc:docMk/>
          <pc:sldMk cId="2660479371" sldId="269"/>
        </pc:sldMkLst>
      </pc:sldChg>
      <pc:sldChg chg="add">
        <pc:chgData name="Alana Rivera" userId="S::arg3669@ads.northwestern.edu::fc8b707a-b7e9-4f2a-8d71-2d76819b7881" providerId="AD" clId="Web-{1148AA69-EB47-4771-A3F4-7FD541A22206}" dt="2022-10-24T05:58:02.211" v="123"/>
        <pc:sldMkLst>
          <pc:docMk/>
          <pc:sldMk cId="2239296576" sldId="270"/>
        </pc:sldMkLst>
      </pc:sldChg>
      <pc:sldChg chg="add">
        <pc:chgData name="Alana Rivera" userId="S::arg3669@ads.northwestern.edu::fc8b707a-b7e9-4f2a-8d71-2d76819b7881" providerId="AD" clId="Web-{1148AA69-EB47-4771-A3F4-7FD541A22206}" dt="2022-10-24T05:58:02.258" v="124"/>
        <pc:sldMkLst>
          <pc:docMk/>
          <pc:sldMk cId="2151224477" sldId="271"/>
        </pc:sldMkLst>
      </pc:sldChg>
      <pc:sldChg chg="add">
        <pc:chgData name="Alana Rivera" userId="S::arg3669@ads.northwestern.edu::fc8b707a-b7e9-4f2a-8d71-2d76819b7881" providerId="AD" clId="Web-{1148AA69-EB47-4771-A3F4-7FD541A22206}" dt="2022-10-24T05:58:02.336" v="125"/>
        <pc:sldMkLst>
          <pc:docMk/>
          <pc:sldMk cId="2719734078" sldId="272"/>
        </pc:sldMkLst>
      </pc:sldChg>
      <pc:sldChg chg="add">
        <pc:chgData name="Alana Rivera" userId="S::arg3669@ads.northwestern.edu::fc8b707a-b7e9-4f2a-8d71-2d76819b7881" providerId="AD" clId="Web-{1148AA69-EB47-4771-A3F4-7FD541A22206}" dt="2022-10-24T05:58:02.445" v="126"/>
        <pc:sldMkLst>
          <pc:docMk/>
          <pc:sldMk cId="3851415293" sldId="273"/>
        </pc:sldMkLst>
      </pc:sldChg>
      <pc:sldChg chg="add">
        <pc:chgData name="Alana Rivera" userId="S::arg3669@ads.northwestern.edu::fc8b707a-b7e9-4f2a-8d71-2d76819b7881" providerId="AD" clId="Web-{1148AA69-EB47-4771-A3F4-7FD541A22206}" dt="2022-10-24T05:58:02.570" v="127"/>
        <pc:sldMkLst>
          <pc:docMk/>
          <pc:sldMk cId="3093554521" sldId="274"/>
        </pc:sldMkLst>
      </pc:sldChg>
      <pc:sldChg chg="add">
        <pc:chgData name="Alana Rivera" userId="S::arg3669@ads.northwestern.edu::fc8b707a-b7e9-4f2a-8d71-2d76819b7881" providerId="AD" clId="Web-{1148AA69-EB47-4771-A3F4-7FD541A22206}" dt="2022-10-24T05:58:02.648" v="128"/>
        <pc:sldMkLst>
          <pc:docMk/>
          <pc:sldMk cId="3908016199" sldId="275"/>
        </pc:sldMkLst>
      </pc:sldChg>
      <pc:sldChg chg="add">
        <pc:chgData name="Alana Rivera" userId="S::arg3669@ads.northwestern.edu::fc8b707a-b7e9-4f2a-8d71-2d76819b7881" providerId="AD" clId="Web-{1148AA69-EB47-4771-A3F4-7FD541A22206}" dt="2022-10-24T05:58:02.758" v="129"/>
        <pc:sldMkLst>
          <pc:docMk/>
          <pc:sldMk cId="3301044659" sldId="276"/>
        </pc:sldMkLst>
      </pc:sldChg>
      <pc:sldChg chg="add">
        <pc:chgData name="Alana Rivera" userId="S::arg3669@ads.northwestern.edu::fc8b707a-b7e9-4f2a-8d71-2d76819b7881" providerId="AD" clId="Web-{1148AA69-EB47-4771-A3F4-7FD541A22206}" dt="2022-10-24T05:58:02.851" v="130"/>
        <pc:sldMkLst>
          <pc:docMk/>
          <pc:sldMk cId="3825933464" sldId="277"/>
        </pc:sldMkLst>
      </pc:sldChg>
      <pc:sldChg chg="add">
        <pc:chgData name="Alana Rivera" userId="S::arg3669@ads.northwestern.edu::fc8b707a-b7e9-4f2a-8d71-2d76819b7881" providerId="AD" clId="Web-{1148AA69-EB47-4771-A3F4-7FD541A22206}" dt="2022-10-24T05:58:02.961" v="131"/>
        <pc:sldMkLst>
          <pc:docMk/>
          <pc:sldMk cId="3688668769" sldId="278"/>
        </pc:sldMkLst>
      </pc:sldChg>
      <pc:sldChg chg="add">
        <pc:chgData name="Alana Rivera" userId="S::arg3669@ads.northwestern.edu::fc8b707a-b7e9-4f2a-8d71-2d76819b7881" providerId="AD" clId="Web-{1148AA69-EB47-4771-A3F4-7FD541A22206}" dt="2022-10-24T05:58:03.055" v="132"/>
        <pc:sldMkLst>
          <pc:docMk/>
          <pc:sldMk cId="915813506" sldId="279"/>
        </pc:sldMkLst>
      </pc:sldChg>
      <pc:sldChg chg="add">
        <pc:chgData name="Alana Rivera" userId="S::arg3669@ads.northwestern.edu::fc8b707a-b7e9-4f2a-8d71-2d76819b7881" providerId="AD" clId="Web-{1148AA69-EB47-4771-A3F4-7FD541A22206}" dt="2022-10-24T05:58:03.195" v="133"/>
        <pc:sldMkLst>
          <pc:docMk/>
          <pc:sldMk cId="860572346" sldId="280"/>
        </pc:sldMkLst>
      </pc:sldChg>
      <pc:sldChg chg="add">
        <pc:chgData name="Alana Rivera" userId="S::arg3669@ads.northwestern.edu::fc8b707a-b7e9-4f2a-8d71-2d76819b7881" providerId="AD" clId="Web-{1148AA69-EB47-4771-A3F4-7FD541A22206}" dt="2022-10-24T05:58:03.492" v="134"/>
        <pc:sldMkLst>
          <pc:docMk/>
          <pc:sldMk cId="2243925227" sldId="281"/>
        </pc:sldMkLst>
      </pc:sldChg>
      <pc:sldChg chg="add">
        <pc:chgData name="Alana Rivera" userId="S::arg3669@ads.northwestern.edu::fc8b707a-b7e9-4f2a-8d71-2d76819b7881" providerId="AD" clId="Web-{1148AA69-EB47-4771-A3F4-7FD541A22206}" dt="2022-10-24T05:58:30.774" v="136"/>
        <pc:sldMkLst>
          <pc:docMk/>
          <pc:sldMk cId="3963275784" sldId="282"/>
        </pc:sldMkLst>
      </pc:sldChg>
      <pc:sldChg chg="add">
        <pc:chgData name="Alana Rivera" userId="S::arg3669@ads.northwestern.edu::fc8b707a-b7e9-4f2a-8d71-2d76819b7881" providerId="AD" clId="Web-{1148AA69-EB47-4771-A3F4-7FD541A22206}" dt="2022-10-24T05:58:48.978" v="137"/>
        <pc:sldMkLst>
          <pc:docMk/>
          <pc:sldMk cId="1086618403" sldId="283"/>
        </pc:sldMkLst>
      </pc:sldChg>
      <pc:sldChg chg="add">
        <pc:chgData name="Alana Rivera" userId="S::arg3669@ads.northwestern.edu::fc8b707a-b7e9-4f2a-8d71-2d76819b7881" providerId="AD" clId="Web-{1148AA69-EB47-4771-A3F4-7FD541A22206}" dt="2022-10-24T05:58:49.290" v="138"/>
        <pc:sldMkLst>
          <pc:docMk/>
          <pc:sldMk cId="3753354996" sldId="284"/>
        </pc:sldMkLst>
      </pc:sldChg>
      <pc:sldChg chg="add">
        <pc:chgData name="Alana Rivera" userId="S::arg3669@ads.northwestern.edu::fc8b707a-b7e9-4f2a-8d71-2d76819b7881" providerId="AD" clId="Web-{1148AA69-EB47-4771-A3F4-7FD541A22206}" dt="2022-10-24T05:58:49.509" v="139"/>
        <pc:sldMkLst>
          <pc:docMk/>
          <pc:sldMk cId="629293354" sldId="285"/>
        </pc:sldMkLst>
      </pc:sldChg>
      <pc:sldChg chg="add">
        <pc:chgData name="Alana Rivera" userId="S::arg3669@ads.northwestern.edu::fc8b707a-b7e9-4f2a-8d71-2d76819b7881" providerId="AD" clId="Web-{1148AA69-EB47-4771-A3F4-7FD541A22206}" dt="2022-10-24T05:58:49.697" v="140"/>
        <pc:sldMkLst>
          <pc:docMk/>
          <pc:sldMk cId="4201295061" sldId="286"/>
        </pc:sldMkLst>
      </pc:sldChg>
      <pc:sldChg chg="add">
        <pc:chgData name="Alana Rivera" userId="S::arg3669@ads.northwestern.edu::fc8b707a-b7e9-4f2a-8d71-2d76819b7881" providerId="AD" clId="Web-{1148AA69-EB47-4771-A3F4-7FD541A22206}" dt="2022-10-24T05:58:49.962" v="141"/>
        <pc:sldMkLst>
          <pc:docMk/>
          <pc:sldMk cId="3460925893" sldId="287"/>
        </pc:sldMkLst>
      </pc:sldChg>
      <pc:sldChg chg="add">
        <pc:chgData name="Alana Rivera" userId="S::arg3669@ads.northwestern.edu::fc8b707a-b7e9-4f2a-8d71-2d76819b7881" providerId="AD" clId="Web-{1148AA69-EB47-4771-A3F4-7FD541A22206}" dt="2022-10-24T05:58:50.072" v="142"/>
        <pc:sldMkLst>
          <pc:docMk/>
          <pc:sldMk cId="2333727986" sldId="288"/>
        </pc:sldMkLst>
      </pc:sldChg>
      <pc:sldChg chg="add">
        <pc:chgData name="Alana Rivera" userId="S::arg3669@ads.northwestern.edu::fc8b707a-b7e9-4f2a-8d71-2d76819b7881" providerId="AD" clId="Web-{1148AA69-EB47-4771-A3F4-7FD541A22206}" dt="2022-10-24T05:58:50.290" v="143"/>
        <pc:sldMkLst>
          <pc:docMk/>
          <pc:sldMk cId="4293357894" sldId="289"/>
        </pc:sldMkLst>
      </pc:sldChg>
      <pc:sldChg chg="add">
        <pc:chgData name="Alana Rivera" userId="S::arg3669@ads.northwestern.edu::fc8b707a-b7e9-4f2a-8d71-2d76819b7881" providerId="AD" clId="Web-{1148AA69-EB47-4771-A3F4-7FD541A22206}" dt="2022-10-24T05:58:50.462" v="144"/>
        <pc:sldMkLst>
          <pc:docMk/>
          <pc:sldMk cId="3434119782" sldId="290"/>
        </pc:sldMkLst>
      </pc:sldChg>
      <pc:sldChg chg="add">
        <pc:chgData name="Alana Rivera" userId="S::arg3669@ads.northwestern.edu::fc8b707a-b7e9-4f2a-8d71-2d76819b7881" providerId="AD" clId="Web-{1148AA69-EB47-4771-A3F4-7FD541A22206}" dt="2022-10-24T05:58:50.665" v="145"/>
        <pc:sldMkLst>
          <pc:docMk/>
          <pc:sldMk cId="3004451366" sldId="291"/>
        </pc:sldMkLst>
      </pc:sldChg>
      <pc:sldMasterChg chg="add addSldLayout">
        <pc:chgData name="Alana Rivera" userId="S::arg3669@ads.northwestern.edu::fc8b707a-b7e9-4f2a-8d71-2d76819b7881" providerId="AD" clId="Web-{1148AA69-EB47-4771-A3F4-7FD541A22206}" dt="2022-10-24T05:58:50.072" v="142"/>
        <pc:sldMasterMkLst>
          <pc:docMk/>
          <pc:sldMasterMk cId="3467044907" sldId="2147483648"/>
        </pc:sldMasterMkLst>
        <pc:sldLayoutChg chg="add">
          <pc:chgData name="Alana Rivera" userId="S::arg3669@ads.northwestern.edu::fc8b707a-b7e9-4f2a-8d71-2d76819b7881" providerId="AD" clId="Web-{1148AA69-EB47-4771-A3F4-7FD541A22206}" dt="2022-10-24T05:58:50.072" v="142"/>
          <pc:sldLayoutMkLst>
            <pc:docMk/>
            <pc:sldMasterMk cId="3467044907" sldId="2147483648"/>
            <pc:sldLayoutMk cId="2023281523" sldId="2147483649"/>
          </pc:sldLayoutMkLst>
        </pc:sldLayoutChg>
        <pc:sldLayoutChg chg="add">
          <pc:chgData name="Alana Rivera" userId="S::arg3669@ads.northwestern.edu::fc8b707a-b7e9-4f2a-8d71-2d76819b7881" providerId="AD" clId="Web-{1148AA69-EB47-4771-A3F4-7FD541A22206}" dt="2022-10-24T05:58:50.072" v="142"/>
          <pc:sldLayoutMkLst>
            <pc:docMk/>
            <pc:sldMasterMk cId="3467044907" sldId="2147483648"/>
            <pc:sldLayoutMk cId="993160950" sldId="2147483650"/>
          </pc:sldLayoutMkLst>
        </pc:sldLayoutChg>
        <pc:sldLayoutChg chg="add">
          <pc:chgData name="Alana Rivera" userId="S::arg3669@ads.northwestern.edu::fc8b707a-b7e9-4f2a-8d71-2d76819b7881" providerId="AD" clId="Web-{1148AA69-EB47-4771-A3F4-7FD541A22206}" dt="2022-10-24T05:58:50.072" v="142"/>
          <pc:sldLayoutMkLst>
            <pc:docMk/>
            <pc:sldMasterMk cId="3467044907" sldId="2147483648"/>
            <pc:sldLayoutMk cId="1484492728" sldId="2147483651"/>
          </pc:sldLayoutMkLst>
        </pc:sldLayoutChg>
        <pc:sldLayoutChg chg="add">
          <pc:chgData name="Alana Rivera" userId="S::arg3669@ads.northwestern.edu::fc8b707a-b7e9-4f2a-8d71-2d76819b7881" providerId="AD" clId="Web-{1148AA69-EB47-4771-A3F4-7FD541A22206}" dt="2022-10-24T05:58:50.072" v="142"/>
          <pc:sldLayoutMkLst>
            <pc:docMk/>
            <pc:sldMasterMk cId="3467044907" sldId="2147483648"/>
            <pc:sldLayoutMk cId="1451183767" sldId="2147483652"/>
          </pc:sldLayoutMkLst>
        </pc:sldLayoutChg>
        <pc:sldLayoutChg chg="add">
          <pc:chgData name="Alana Rivera" userId="S::arg3669@ads.northwestern.edu::fc8b707a-b7e9-4f2a-8d71-2d76819b7881" providerId="AD" clId="Web-{1148AA69-EB47-4771-A3F4-7FD541A22206}" dt="2022-10-24T05:58:50.072" v="142"/>
          <pc:sldLayoutMkLst>
            <pc:docMk/>
            <pc:sldMasterMk cId="3467044907" sldId="2147483648"/>
            <pc:sldLayoutMk cId="1554641069" sldId="2147483653"/>
          </pc:sldLayoutMkLst>
        </pc:sldLayoutChg>
        <pc:sldLayoutChg chg="add">
          <pc:chgData name="Alana Rivera" userId="S::arg3669@ads.northwestern.edu::fc8b707a-b7e9-4f2a-8d71-2d76819b7881" providerId="AD" clId="Web-{1148AA69-EB47-4771-A3F4-7FD541A22206}" dt="2022-10-24T05:58:50.072" v="142"/>
          <pc:sldLayoutMkLst>
            <pc:docMk/>
            <pc:sldMasterMk cId="3467044907" sldId="2147483648"/>
            <pc:sldLayoutMk cId="4204120604" sldId="2147483654"/>
          </pc:sldLayoutMkLst>
        </pc:sldLayoutChg>
        <pc:sldLayoutChg chg="add">
          <pc:chgData name="Alana Rivera" userId="S::arg3669@ads.northwestern.edu::fc8b707a-b7e9-4f2a-8d71-2d76819b7881" providerId="AD" clId="Web-{1148AA69-EB47-4771-A3F4-7FD541A22206}" dt="2022-10-24T05:58:50.072" v="142"/>
          <pc:sldLayoutMkLst>
            <pc:docMk/>
            <pc:sldMasterMk cId="3467044907" sldId="2147483648"/>
            <pc:sldLayoutMk cId="2155582321" sldId="2147483655"/>
          </pc:sldLayoutMkLst>
        </pc:sldLayoutChg>
        <pc:sldLayoutChg chg="add">
          <pc:chgData name="Alana Rivera" userId="S::arg3669@ads.northwestern.edu::fc8b707a-b7e9-4f2a-8d71-2d76819b7881" providerId="AD" clId="Web-{1148AA69-EB47-4771-A3F4-7FD541A22206}" dt="2022-10-24T05:58:50.072" v="142"/>
          <pc:sldLayoutMkLst>
            <pc:docMk/>
            <pc:sldMasterMk cId="3467044907" sldId="2147483648"/>
            <pc:sldLayoutMk cId="4220674480" sldId="2147483656"/>
          </pc:sldLayoutMkLst>
        </pc:sldLayoutChg>
        <pc:sldLayoutChg chg="add">
          <pc:chgData name="Alana Rivera" userId="S::arg3669@ads.northwestern.edu::fc8b707a-b7e9-4f2a-8d71-2d76819b7881" providerId="AD" clId="Web-{1148AA69-EB47-4771-A3F4-7FD541A22206}" dt="2022-10-24T05:58:50.072" v="142"/>
          <pc:sldLayoutMkLst>
            <pc:docMk/>
            <pc:sldMasterMk cId="3467044907" sldId="2147483648"/>
            <pc:sldLayoutMk cId="2883993148" sldId="2147483657"/>
          </pc:sldLayoutMkLst>
        </pc:sldLayoutChg>
        <pc:sldLayoutChg chg="add">
          <pc:chgData name="Alana Rivera" userId="S::arg3669@ads.northwestern.edu::fc8b707a-b7e9-4f2a-8d71-2d76819b7881" providerId="AD" clId="Web-{1148AA69-EB47-4771-A3F4-7FD541A22206}" dt="2022-10-24T05:58:50.072" v="142"/>
          <pc:sldLayoutMkLst>
            <pc:docMk/>
            <pc:sldMasterMk cId="3467044907" sldId="2147483648"/>
            <pc:sldLayoutMk cId="339093704" sldId="2147483658"/>
          </pc:sldLayoutMkLst>
        </pc:sldLayoutChg>
        <pc:sldLayoutChg chg="add">
          <pc:chgData name="Alana Rivera" userId="S::arg3669@ads.northwestern.edu::fc8b707a-b7e9-4f2a-8d71-2d76819b7881" providerId="AD" clId="Web-{1148AA69-EB47-4771-A3F4-7FD541A22206}" dt="2022-10-24T05:58:50.072" v="142"/>
          <pc:sldLayoutMkLst>
            <pc:docMk/>
            <pc:sldMasterMk cId="3467044907" sldId="2147483648"/>
            <pc:sldLayoutMk cId="1728896923" sldId="2147483659"/>
          </pc:sldLayoutMkLst>
        </pc:sldLayoutChg>
      </pc:sldMasterChg>
      <pc:sldMasterChg chg="add addSldLayout">
        <pc:chgData name="Alana Rivera" userId="S::arg3669@ads.northwestern.edu::fc8b707a-b7e9-4f2a-8d71-2d76819b7881" providerId="AD" clId="Web-{1148AA69-EB47-4771-A3F4-7FD541A22206}" dt="2022-10-24T05:58:49.290" v="138"/>
        <pc:sldMasterMkLst>
          <pc:docMk/>
          <pc:sldMasterMk cId="1505562281" sldId="2147483660"/>
        </pc:sldMasterMkLst>
        <pc:sldLayoutChg chg="add">
          <pc:chgData name="Alana Rivera" userId="S::arg3669@ads.northwestern.edu::fc8b707a-b7e9-4f2a-8d71-2d76819b7881" providerId="AD" clId="Web-{1148AA69-EB47-4771-A3F4-7FD541A22206}" dt="2022-10-24T05:58:49.290" v="138"/>
          <pc:sldLayoutMkLst>
            <pc:docMk/>
            <pc:sldMasterMk cId="1505562281" sldId="2147483660"/>
            <pc:sldLayoutMk cId="2738834896" sldId="2147483661"/>
          </pc:sldLayoutMkLst>
        </pc:sldLayoutChg>
        <pc:sldLayoutChg chg="add">
          <pc:chgData name="Alana Rivera" userId="S::arg3669@ads.northwestern.edu::fc8b707a-b7e9-4f2a-8d71-2d76819b7881" providerId="AD" clId="Web-{1148AA69-EB47-4771-A3F4-7FD541A22206}" dt="2022-10-24T05:58:49.290" v="138"/>
          <pc:sldLayoutMkLst>
            <pc:docMk/>
            <pc:sldMasterMk cId="1505562281" sldId="2147483660"/>
            <pc:sldLayoutMk cId="3320103612" sldId="2147483662"/>
          </pc:sldLayoutMkLst>
        </pc:sldLayoutChg>
        <pc:sldLayoutChg chg="add">
          <pc:chgData name="Alana Rivera" userId="S::arg3669@ads.northwestern.edu::fc8b707a-b7e9-4f2a-8d71-2d76819b7881" providerId="AD" clId="Web-{1148AA69-EB47-4771-A3F4-7FD541A22206}" dt="2022-10-24T05:58:49.290" v="138"/>
          <pc:sldLayoutMkLst>
            <pc:docMk/>
            <pc:sldMasterMk cId="1505562281" sldId="2147483660"/>
            <pc:sldLayoutMk cId="1532505577" sldId="2147483663"/>
          </pc:sldLayoutMkLst>
        </pc:sldLayoutChg>
        <pc:sldLayoutChg chg="add">
          <pc:chgData name="Alana Rivera" userId="S::arg3669@ads.northwestern.edu::fc8b707a-b7e9-4f2a-8d71-2d76819b7881" providerId="AD" clId="Web-{1148AA69-EB47-4771-A3F4-7FD541A22206}" dt="2022-10-24T05:58:49.290" v="138"/>
          <pc:sldLayoutMkLst>
            <pc:docMk/>
            <pc:sldMasterMk cId="1505562281" sldId="2147483660"/>
            <pc:sldLayoutMk cId="3505362694" sldId="2147483665"/>
          </pc:sldLayoutMkLst>
        </pc:sldLayoutChg>
        <pc:sldLayoutChg chg="add">
          <pc:chgData name="Alana Rivera" userId="S::arg3669@ads.northwestern.edu::fc8b707a-b7e9-4f2a-8d71-2d76819b7881" providerId="AD" clId="Web-{1148AA69-EB47-4771-A3F4-7FD541A22206}" dt="2022-10-24T05:58:49.290" v="138"/>
          <pc:sldLayoutMkLst>
            <pc:docMk/>
            <pc:sldMasterMk cId="1505562281" sldId="2147483660"/>
            <pc:sldLayoutMk cId="734833017" sldId="2147483666"/>
          </pc:sldLayoutMkLst>
        </pc:sldLayoutChg>
        <pc:sldLayoutChg chg="add">
          <pc:chgData name="Alana Rivera" userId="S::arg3669@ads.northwestern.edu::fc8b707a-b7e9-4f2a-8d71-2d76819b7881" providerId="AD" clId="Web-{1148AA69-EB47-4771-A3F4-7FD541A22206}" dt="2022-10-24T05:58:49.290" v="138"/>
          <pc:sldLayoutMkLst>
            <pc:docMk/>
            <pc:sldMasterMk cId="1505562281" sldId="2147483660"/>
            <pc:sldLayoutMk cId="2158886112" sldId="2147483667"/>
          </pc:sldLayoutMkLst>
        </pc:sldLayoutChg>
        <pc:sldLayoutChg chg="add">
          <pc:chgData name="Alana Rivera" userId="S::arg3669@ads.northwestern.edu::fc8b707a-b7e9-4f2a-8d71-2d76819b7881" providerId="AD" clId="Web-{1148AA69-EB47-4771-A3F4-7FD541A22206}" dt="2022-10-24T05:58:49.290" v="138"/>
          <pc:sldLayoutMkLst>
            <pc:docMk/>
            <pc:sldMasterMk cId="1505562281" sldId="2147483660"/>
            <pc:sldLayoutMk cId="334089569" sldId="2147483668"/>
          </pc:sldLayoutMkLst>
        </pc:sldLayoutChg>
        <pc:sldLayoutChg chg="add">
          <pc:chgData name="Alana Rivera" userId="S::arg3669@ads.northwestern.edu::fc8b707a-b7e9-4f2a-8d71-2d76819b7881" providerId="AD" clId="Web-{1148AA69-EB47-4771-A3F4-7FD541A22206}" dt="2022-10-24T05:58:49.290" v="138"/>
          <pc:sldLayoutMkLst>
            <pc:docMk/>
            <pc:sldMasterMk cId="1505562281" sldId="2147483660"/>
            <pc:sldLayoutMk cId="3883598479" sldId="2147487230"/>
          </pc:sldLayoutMkLst>
        </pc:sldLayoutChg>
      </pc:sldMasterChg>
      <pc:sldMasterChg chg="replId modSldLayout">
        <pc:chgData name="Alana Rivera" userId="S::arg3669@ads.northwestern.edu::fc8b707a-b7e9-4f2a-8d71-2d76819b7881" providerId="AD" clId="Web-{1148AA69-EB47-4771-A3F4-7FD541A22206}" dt="2022-10-24T05:58:49.290" v="138"/>
        <pc:sldMasterMkLst>
          <pc:docMk/>
          <pc:sldMasterMk cId="2460954070" sldId="2147483918"/>
        </pc:sldMasterMkLst>
        <pc:sldLayoutChg chg="replId">
          <pc:chgData name="Alana Rivera" userId="S::arg3669@ads.northwestern.edu::fc8b707a-b7e9-4f2a-8d71-2d76819b7881" providerId="AD" clId="Web-{1148AA69-EB47-4771-A3F4-7FD541A22206}" dt="2022-10-24T05:37:08.199" v="0"/>
          <pc:sldLayoutMkLst>
            <pc:docMk/>
            <pc:sldMasterMk cId="2460954070" sldId="2147483918"/>
            <pc:sldLayoutMk cId="1203092039" sldId="2147483736"/>
          </pc:sldLayoutMkLst>
        </pc:sldLayoutChg>
        <pc:sldLayoutChg chg="replId">
          <pc:chgData name="Alana Rivera" userId="S::arg3669@ads.northwestern.edu::fc8b707a-b7e9-4f2a-8d71-2d76819b7881" providerId="AD" clId="Web-{1148AA69-EB47-4771-A3F4-7FD541A22206}" dt="2022-10-24T05:58:01.898" v="119"/>
          <pc:sldLayoutMkLst>
            <pc:docMk/>
            <pc:sldMasterMk cId="2460954070" sldId="2147483918"/>
            <pc:sldLayoutMk cId="2591524520" sldId="2147483737"/>
          </pc:sldLayoutMkLst>
        </pc:sldLayoutChg>
        <pc:sldLayoutChg chg="replId">
          <pc:chgData name="Alana Rivera" userId="S::arg3669@ads.northwestern.edu::fc8b707a-b7e9-4f2a-8d71-2d76819b7881" providerId="AD" clId="Web-{1148AA69-EB47-4771-A3F4-7FD541A22206}" dt="2022-10-24T05:58:01.898" v="119"/>
          <pc:sldLayoutMkLst>
            <pc:docMk/>
            <pc:sldMasterMk cId="2460954070" sldId="2147483918"/>
            <pc:sldLayoutMk cId="3733172339" sldId="2147483739"/>
          </pc:sldLayoutMkLst>
        </pc:sldLayoutChg>
        <pc:sldLayoutChg chg="replId">
          <pc:chgData name="Alana Rivera" userId="S::arg3669@ads.northwestern.edu::fc8b707a-b7e9-4f2a-8d71-2d76819b7881" providerId="AD" clId="Web-{1148AA69-EB47-4771-A3F4-7FD541A22206}" dt="2022-10-24T05:58:49.290" v="138"/>
          <pc:sldLayoutMkLst>
            <pc:docMk/>
            <pc:sldMasterMk cId="2460954070" sldId="2147483918"/>
            <pc:sldLayoutMk cId="2385387890" sldId="2147483919"/>
          </pc:sldLayoutMkLst>
        </pc:sldLayoutChg>
        <pc:sldLayoutChg chg="replId">
          <pc:chgData name="Alana Rivera" userId="S::arg3669@ads.northwestern.edu::fc8b707a-b7e9-4f2a-8d71-2d76819b7881" providerId="AD" clId="Web-{1148AA69-EB47-4771-A3F4-7FD541A22206}" dt="2022-10-24T05:58:49.290" v="138"/>
          <pc:sldLayoutMkLst>
            <pc:docMk/>
            <pc:sldMasterMk cId="2460954070" sldId="2147483918"/>
            <pc:sldLayoutMk cId="949138452" sldId="2147483920"/>
          </pc:sldLayoutMkLst>
        </pc:sldLayoutChg>
        <pc:sldLayoutChg chg="replId">
          <pc:chgData name="Alana Rivera" userId="S::arg3669@ads.northwestern.edu::fc8b707a-b7e9-4f2a-8d71-2d76819b7881" providerId="AD" clId="Web-{1148AA69-EB47-4771-A3F4-7FD541A22206}" dt="2022-10-24T05:58:49.290" v="138"/>
          <pc:sldLayoutMkLst>
            <pc:docMk/>
            <pc:sldMasterMk cId="2460954070" sldId="2147483918"/>
            <pc:sldLayoutMk cId="3210312558" sldId="2147483924"/>
          </pc:sldLayoutMkLst>
        </pc:sldLayoutChg>
        <pc:sldLayoutChg chg="replId">
          <pc:chgData name="Alana Rivera" userId="S::arg3669@ads.northwestern.edu::fc8b707a-b7e9-4f2a-8d71-2d76819b7881" providerId="AD" clId="Web-{1148AA69-EB47-4771-A3F4-7FD541A22206}" dt="2022-10-24T05:58:49.290" v="138"/>
          <pc:sldLayoutMkLst>
            <pc:docMk/>
            <pc:sldMasterMk cId="2460954070" sldId="2147483918"/>
            <pc:sldLayoutMk cId="3146388984" sldId="2147487223"/>
          </pc:sldLayoutMkLst>
        </pc:sldLayoutChg>
        <pc:sldLayoutChg chg="replId">
          <pc:chgData name="Alana Rivera" userId="S::arg3669@ads.northwestern.edu::fc8b707a-b7e9-4f2a-8d71-2d76819b7881" providerId="AD" clId="Web-{1148AA69-EB47-4771-A3F4-7FD541A22206}" dt="2022-10-24T05:58:49.290" v="138"/>
          <pc:sldLayoutMkLst>
            <pc:docMk/>
            <pc:sldMasterMk cId="2460954070" sldId="2147483918"/>
            <pc:sldLayoutMk cId="3171841454" sldId="2147487224"/>
          </pc:sldLayoutMkLst>
        </pc:sldLayoutChg>
      </pc:sldMasterChg>
      <pc:sldMasterChg chg="add addSldLayout modSldLayout">
        <pc:chgData name="Alana Rivera" userId="S::arg3669@ads.northwestern.edu::fc8b707a-b7e9-4f2a-8d71-2d76819b7881" providerId="AD" clId="Web-{1148AA69-EB47-4771-A3F4-7FD541A22206}" dt="2022-10-24T05:58:01.898" v="119"/>
        <pc:sldMasterMkLst>
          <pc:docMk/>
          <pc:sldMasterMk cId="560092682" sldId="2147487158"/>
        </pc:sldMasterMkLst>
        <pc:sldLayoutChg chg="add">
          <pc:chgData name="Alana Rivera" userId="S::arg3669@ads.northwestern.edu::fc8b707a-b7e9-4f2a-8d71-2d76819b7881" providerId="AD" clId="Web-{1148AA69-EB47-4771-A3F4-7FD541A22206}" dt="2022-10-24T05:37:08.199" v="0"/>
          <pc:sldLayoutMkLst>
            <pc:docMk/>
            <pc:sldMasterMk cId="560092682" sldId="2147487158"/>
            <pc:sldLayoutMk cId="2441756453" sldId="2147483680"/>
          </pc:sldLayoutMkLst>
        </pc:sldLayoutChg>
        <pc:sldLayoutChg chg="add">
          <pc:chgData name="Alana Rivera" userId="S::arg3669@ads.northwestern.edu::fc8b707a-b7e9-4f2a-8d71-2d76819b7881" providerId="AD" clId="Web-{1148AA69-EB47-4771-A3F4-7FD541A22206}" dt="2022-10-24T05:37:08.199" v="0"/>
          <pc:sldLayoutMkLst>
            <pc:docMk/>
            <pc:sldMasterMk cId="560092682" sldId="2147487158"/>
            <pc:sldLayoutMk cId="4224424939" sldId="2147483681"/>
          </pc:sldLayoutMkLst>
        </pc:sldLayoutChg>
        <pc:sldLayoutChg chg="add">
          <pc:chgData name="Alana Rivera" userId="S::arg3669@ads.northwestern.edu::fc8b707a-b7e9-4f2a-8d71-2d76819b7881" providerId="AD" clId="Web-{1148AA69-EB47-4771-A3F4-7FD541A22206}" dt="2022-10-24T05:37:08.199" v="0"/>
          <pc:sldLayoutMkLst>
            <pc:docMk/>
            <pc:sldMasterMk cId="560092682" sldId="2147487158"/>
            <pc:sldLayoutMk cId="1546532180" sldId="2147483685"/>
          </pc:sldLayoutMkLst>
        </pc:sldLayoutChg>
        <pc:sldLayoutChg chg="add">
          <pc:chgData name="Alana Rivera" userId="S::arg3669@ads.northwestern.edu::fc8b707a-b7e9-4f2a-8d71-2d76819b7881" providerId="AD" clId="Web-{1148AA69-EB47-4771-A3F4-7FD541A22206}" dt="2022-10-24T05:37:08.199" v="0"/>
          <pc:sldLayoutMkLst>
            <pc:docMk/>
            <pc:sldMasterMk cId="560092682" sldId="2147487158"/>
            <pc:sldLayoutMk cId="1705532739" sldId="2147483728"/>
          </pc:sldLayoutMkLst>
        </pc:sldLayoutChg>
        <pc:sldLayoutChg chg="add">
          <pc:chgData name="Alana Rivera" userId="S::arg3669@ads.northwestern.edu::fc8b707a-b7e9-4f2a-8d71-2d76819b7881" providerId="AD" clId="Web-{1148AA69-EB47-4771-A3F4-7FD541A22206}" dt="2022-10-24T05:37:08.199" v="0"/>
          <pc:sldLayoutMkLst>
            <pc:docMk/>
            <pc:sldMasterMk cId="560092682" sldId="2147487158"/>
            <pc:sldLayoutMk cId="317048623" sldId="2147483729"/>
          </pc:sldLayoutMkLst>
        </pc:sldLayoutChg>
        <pc:sldLayoutChg chg="add">
          <pc:chgData name="Alana Rivera" userId="S::arg3669@ads.northwestern.edu::fc8b707a-b7e9-4f2a-8d71-2d76819b7881" providerId="AD" clId="Web-{1148AA69-EB47-4771-A3F4-7FD541A22206}" dt="2022-10-24T05:37:08.199" v="0"/>
          <pc:sldLayoutMkLst>
            <pc:docMk/>
            <pc:sldMasterMk cId="560092682" sldId="2147487158"/>
            <pc:sldLayoutMk cId="950735496" sldId="2147483730"/>
          </pc:sldLayoutMkLst>
        </pc:sldLayoutChg>
        <pc:sldLayoutChg chg="add">
          <pc:chgData name="Alana Rivera" userId="S::arg3669@ads.northwestern.edu::fc8b707a-b7e9-4f2a-8d71-2d76819b7881" providerId="AD" clId="Web-{1148AA69-EB47-4771-A3F4-7FD541A22206}" dt="2022-10-24T05:37:08.199" v="0"/>
          <pc:sldLayoutMkLst>
            <pc:docMk/>
            <pc:sldMasterMk cId="560092682" sldId="2147487158"/>
            <pc:sldLayoutMk cId="727632384" sldId="2147483731"/>
          </pc:sldLayoutMkLst>
        </pc:sldLayoutChg>
        <pc:sldLayoutChg chg="add replId">
          <pc:chgData name="Alana Rivera" userId="S::arg3669@ads.northwestern.edu::fc8b707a-b7e9-4f2a-8d71-2d76819b7881" providerId="AD" clId="Web-{1148AA69-EB47-4771-A3F4-7FD541A22206}" dt="2022-10-24T05:58:01.898" v="119"/>
          <pc:sldLayoutMkLst>
            <pc:docMk/>
            <pc:sldMasterMk cId="560092682" sldId="2147487158"/>
            <pc:sldLayoutMk cId="980529727" sldId="2147483738"/>
          </pc:sldLayoutMkLst>
        </pc:sldLayoutChg>
        <pc:sldLayoutChg chg="add">
          <pc:chgData name="Alana Rivera" userId="S::arg3669@ads.northwestern.edu::fc8b707a-b7e9-4f2a-8d71-2d76819b7881" providerId="AD" clId="Web-{1148AA69-EB47-4771-A3F4-7FD541A22206}" dt="2022-10-24T05:37:08.199" v="0"/>
          <pc:sldLayoutMkLst>
            <pc:docMk/>
            <pc:sldMasterMk cId="560092682" sldId="2147487158"/>
            <pc:sldLayoutMk cId="2670630771" sldId="2147487143"/>
          </pc:sldLayoutMkLst>
        </pc:sldLayoutChg>
        <pc:sldLayoutChg chg="add">
          <pc:chgData name="Alana Rivera" userId="S::arg3669@ads.northwestern.edu::fc8b707a-b7e9-4f2a-8d71-2d76819b7881" providerId="AD" clId="Web-{1148AA69-EB47-4771-A3F4-7FD541A22206}" dt="2022-10-24T05:37:08.199" v="0"/>
          <pc:sldLayoutMkLst>
            <pc:docMk/>
            <pc:sldMasterMk cId="560092682" sldId="2147487158"/>
            <pc:sldLayoutMk cId="3783658486" sldId="2147487144"/>
          </pc:sldLayoutMkLst>
        </pc:sldLayoutChg>
        <pc:sldLayoutChg chg="add">
          <pc:chgData name="Alana Rivera" userId="S::arg3669@ads.northwestern.edu::fc8b707a-b7e9-4f2a-8d71-2d76819b7881" providerId="AD" clId="Web-{1148AA69-EB47-4771-A3F4-7FD541A22206}" dt="2022-10-24T05:37:08.199" v="0"/>
          <pc:sldLayoutMkLst>
            <pc:docMk/>
            <pc:sldMasterMk cId="560092682" sldId="2147487158"/>
            <pc:sldLayoutMk cId="309320368" sldId="2147487145"/>
          </pc:sldLayoutMkLst>
        </pc:sldLayoutChg>
        <pc:sldLayoutChg chg="add">
          <pc:chgData name="Alana Rivera" userId="S::arg3669@ads.northwestern.edu::fc8b707a-b7e9-4f2a-8d71-2d76819b7881" providerId="AD" clId="Web-{1148AA69-EB47-4771-A3F4-7FD541A22206}" dt="2022-10-24T05:37:08.199" v="0"/>
          <pc:sldLayoutMkLst>
            <pc:docMk/>
            <pc:sldMasterMk cId="560092682" sldId="2147487158"/>
            <pc:sldLayoutMk cId="1410130633" sldId="2147487146"/>
          </pc:sldLayoutMkLst>
        </pc:sldLayoutChg>
        <pc:sldLayoutChg chg="add">
          <pc:chgData name="Alana Rivera" userId="S::arg3669@ads.northwestern.edu::fc8b707a-b7e9-4f2a-8d71-2d76819b7881" providerId="AD" clId="Web-{1148AA69-EB47-4771-A3F4-7FD541A22206}" dt="2022-10-24T05:37:08.199" v="0"/>
          <pc:sldLayoutMkLst>
            <pc:docMk/>
            <pc:sldMasterMk cId="560092682" sldId="2147487158"/>
            <pc:sldLayoutMk cId="698059872" sldId="2147487147"/>
          </pc:sldLayoutMkLst>
        </pc:sldLayoutChg>
        <pc:sldLayoutChg chg="add">
          <pc:chgData name="Alana Rivera" userId="S::arg3669@ads.northwestern.edu::fc8b707a-b7e9-4f2a-8d71-2d76819b7881" providerId="AD" clId="Web-{1148AA69-EB47-4771-A3F4-7FD541A22206}" dt="2022-10-24T05:37:08.199" v="0"/>
          <pc:sldLayoutMkLst>
            <pc:docMk/>
            <pc:sldMasterMk cId="560092682" sldId="2147487158"/>
            <pc:sldLayoutMk cId="3630801759" sldId="2147487148"/>
          </pc:sldLayoutMkLst>
        </pc:sldLayoutChg>
        <pc:sldLayoutChg chg="add">
          <pc:chgData name="Alana Rivera" userId="S::arg3669@ads.northwestern.edu::fc8b707a-b7e9-4f2a-8d71-2d76819b7881" providerId="AD" clId="Web-{1148AA69-EB47-4771-A3F4-7FD541A22206}" dt="2022-10-24T05:37:08.199" v="0"/>
          <pc:sldLayoutMkLst>
            <pc:docMk/>
            <pc:sldMasterMk cId="560092682" sldId="2147487158"/>
            <pc:sldLayoutMk cId="1059781530" sldId="2147487149"/>
          </pc:sldLayoutMkLst>
        </pc:sldLayoutChg>
        <pc:sldLayoutChg chg="add">
          <pc:chgData name="Alana Rivera" userId="S::arg3669@ads.northwestern.edu::fc8b707a-b7e9-4f2a-8d71-2d76819b7881" providerId="AD" clId="Web-{1148AA69-EB47-4771-A3F4-7FD541A22206}" dt="2022-10-24T05:37:08.199" v="0"/>
          <pc:sldLayoutMkLst>
            <pc:docMk/>
            <pc:sldMasterMk cId="560092682" sldId="2147487158"/>
            <pc:sldLayoutMk cId="1709868767" sldId="2147487150"/>
          </pc:sldLayoutMkLst>
        </pc:sldLayoutChg>
        <pc:sldLayoutChg chg="add">
          <pc:chgData name="Alana Rivera" userId="S::arg3669@ads.northwestern.edu::fc8b707a-b7e9-4f2a-8d71-2d76819b7881" providerId="AD" clId="Web-{1148AA69-EB47-4771-A3F4-7FD541A22206}" dt="2022-10-24T05:37:08.199" v="0"/>
          <pc:sldLayoutMkLst>
            <pc:docMk/>
            <pc:sldMasterMk cId="560092682" sldId="2147487158"/>
            <pc:sldLayoutMk cId="191337409" sldId="2147487151"/>
          </pc:sldLayoutMkLst>
        </pc:sldLayoutChg>
        <pc:sldLayoutChg chg="add">
          <pc:chgData name="Alana Rivera" userId="S::arg3669@ads.northwestern.edu::fc8b707a-b7e9-4f2a-8d71-2d76819b7881" providerId="AD" clId="Web-{1148AA69-EB47-4771-A3F4-7FD541A22206}" dt="2022-10-24T05:37:08.199" v="0"/>
          <pc:sldLayoutMkLst>
            <pc:docMk/>
            <pc:sldMasterMk cId="560092682" sldId="2147487158"/>
            <pc:sldLayoutMk cId="1075216660" sldId="2147487152"/>
          </pc:sldLayoutMkLst>
        </pc:sldLayoutChg>
        <pc:sldLayoutChg chg="add">
          <pc:chgData name="Alana Rivera" userId="S::arg3669@ads.northwestern.edu::fc8b707a-b7e9-4f2a-8d71-2d76819b7881" providerId="AD" clId="Web-{1148AA69-EB47-4771-A3F4-7FD541A22206}" dt="2022-10-24T05:37:08.199" v="0"/>
          <pc:sldLayoutMkLst>
            <pc:docMk/>
            <pc:sldMasterMk cId="560092682" sldId="2147487158"/>
            <pc:sldLayoutMk cId="3476272431" sldId="2147487153"/>
          </pc:sldLayoutMkLst>
        </pc:sldLayoutChg>
        <pc:sldLayoutChg chg="add">
          <pc:chgData name="Alana Rivera" userId="S::arg3669@ads.northwestern.edu::fc8b707a-b7e9-4f2a-8d71-2d76819b7881" providerId="AD" clId="Web-{1148AA69-EB47-4771-A3F4-7FD541A22206}" dt="2022-10-24T05:37:08.199" v="0"/>
          <pc:sldLayoutMkLst>
            <pc:docMk/>
            <pc:sldMasterMk cId="560092682" sldId="2147487158"/>
            <pc:sldLayoutMk cId="3069300124" sldId="2147487154"/>
          </pc:sldLayoutMkLst>
        </pc:sldLayoutChg>
        <pc:sldLayoutChg chg="add">
          <pc:chgData name="Alana Rivera" userId="S::arg3669@ads.northwestern.edu::fc8b707a-b7e9-4f2a-8d71-2d76819b7881" providerId="AD" clId="Web-{1148AA69-EB47-4771-A3F4-7FD541A22206}" dt="2022-10-24T05:37:08.199" v="0"/>
          <pc:sldLayoutMkLst>
            <pc:docMk/>
            <pc:sldMasterMk cId="560092682" sldId="2147487158"/>
            <pc:sldLayoutMk cId="1480140117" sldId="2147487155"/>
          </pc:sldLayoutMkLst>
        </pc:sldLayoutChg>
        <pc:sldLayoutChg chg="add">
          <pc:chgData name="Alana Rivera" userId="S::arg3669@ads.northwestern.edu::fc8b707a-b7e9-4f2a-8d71-2d76819b7881" providerId="AD" clId="Web-{1148AA69-EB47-4771-A3F4-7FD541A22206}" dt="2022-10-24T05:37:08.199" v="0"/>
          <pc:sldLayoutMkLst>
            <pc:docMk/>
            <pc:sldMasterMk cId="560092682" sldId="2147487158"/>
            <pc:sldLayoutMk cId="1855494103" sldId="2147487156"/>
          </pc:sldLayoutMkLst>
        </pc:sldLayoutChg>
        <pc:sldLayoutChg chg="add">
          <pc:chgData name="Alana Rivera" userId="S::arg3669@ads.northwestern.edu::fc8b707a-b7e9-4f2a-8d71-2d76819b7881" providerId="AD" clId="Web-{1148AA69-EB47-4771-A3F4-7FD541A22206}" dt="2022-10-24T05:37:08.199" v="0"/>
          <pc:sldLayoutMkLst>
            <pc:docMk/>
            <pc:sldMasterMk cId="560092682" sldId="2147487158"/>
            <pc:sldLayoutMk cId="1998157548" sldId="2147487157"/>
          </pc:sldLayoutMkLst>
        </pc:sldLayoutChg>
        <pc:sldLayoutChg chg="add">
          <pc:chgData name="Alana Rivera" userId="S::arg3669@ads.northwestern.edu::fc8b707a-b7e9-4f2a-8d71-2d76819b7881" providerId="AD" clId="Web-{1148AA69-EB47-4771-A3F4-7FD541A22206}" dt="2022-10-24T05:37:08.199" v="0"/>
          <pc:sldLayoutMkLst>
            <pc:docMk/>
            <pc:sldMasterMk cId="560092682" sldId="2147487158"/>
            <pc:sldLayoutMk cId="939295337" sldId="2147487159"/>
          </pc:sldLayoutMkLst>
        </pc:sldLayoutChg>
        <pc:sldLayoutChg chg="add">
          <pc:chgData name="Alana Rivera" userId="S::arg3669@ads.northwestern.edu::fc8b707a-b7e9-4f2a-8d71-2d76819b7881" providerId="AD" clId="Web-{1148AA69-EB47-4771-A3F4-7FD541A22206}" dt="2022-10-24T05:37:08.199" v="0"/>
          <pc:sldLayoutMkLst>
            <pc:docMk/>
            <pc:sldMasterMk cId="560092682" sldId="2147487158"/>
            <pc:sldLayoutMk cId="1402549073" sldId="2147487160"/>
          </pc:sldLayoutMkLst>
        </pc:sldLayoutChg>
        <pc:sldLayoutChg chg="add">
          <pc:chgData name="Alana Rivera" userId="S::arg3669@ads.northwestern.edu::fc8b707a-b7e9-4f2a-8d71-2d76819b7881" providerId="AD" clId="Web-{1148AA69-EB47-4771-A3F4-7FD541A22206}" dt="2022-10-24T05:37:08.199" v="0"/>
          <pc:sldLayoutMkLst>
            <pc:docMk/>
            <pc:sldMasterMk cId="560092682" sldId="2147487158"/>
            <pc:sldLayoutMk cId="1758542806" sldId="2147487161"/>
          </pc:sldLayoutMkLst>
        </pc:sldLayoutChg>
        <pc:sldLayoutChg chg="add">
          <pc:chgData name="Alana Rivera" userId="S::arg3669@ads.northwestern.edu::fc8b707a-b7e9-4f2a-8d71-2d76819b7881" providerId="AD" clId="Web-{1148AA69-EB47-4771-A3F4-7FD541A22206}" dt="2022-10-24T05:37:08.199" v="0"/>
          <pc:sldLayoutMkLst>
            <pc:docMk/>
            <pc:sldMasterMk cId="560092682" sldId="2147487158"/>
            <pc:sldLayoutMk cId="3967421487" sldId="2147487162"/>
          </pc:sldLayoutMkLst>
        </pc:sldLayoutChg>
        <pc:sldLayoutChg chg="add">
          <pc:chgData name="Alana Rivera" userId="S::arg3669@ads.northwestern.edu::fc8b707a-b7e9-4f2a-8d71-2d76819b7881" providerId="AD" clId="Web-{1148AA69-EB47-4771-A3F4-7FD541A22206}" dt="2022-10-24T05:37:08.199" v="0"/>
          <pc:sldLayoutMkLst>
            <pc:docMk/>
            <pc:sldMasterMk cId="560092682" sldId="2147487158"/>
            <pc:sldLayoutMk cId="1339690513" sldId="2147487238"/>
          </pc:sldLayoutMkLst>
        </pc:sldLayoutChg>
        <pc:sldLayoutChg chg="add">
          <pc:chgData name="Alana Rivera" userId="S::arg3669@ads.northwestern.edu::fc8b707a-b7e9-4f2a-8d71-2d76819b7881" providerId="AD" clId="Web-{1148AA69-EB47-4771-A3F4-7FD541A22206}" dt="2022-10-24T05:37:08.199" v="0"/>
          <pc:sldLayoutMkLst>
            <pc:docMk/>
            <pc:sldMasterMk cId="560092682" sldId="2147487158"/>
            <pc:sldLayoutMk cId="3220637423" sldId="2147487239"/>
          </pc:sldLayoutMkLst>
        </pc:sldLayoutChg>
        <pc:sldLayoutChg chg="add">
          <pc:chgData name="Alana Rivera" userId="S::arg3669@ads.northwestern.edu::fc8b707a-b7e9-4f2a-8d71-2d76819b7881" providerId="AD" clId="Web-{1148AA69-EB47-4771-A3F4-7FD541A22206}" dt="2022-10-24T05:37:08.199" v="0"/>
          <pc:sldLayoutMkLst>
            <pc:docMk/>
            <pc:sldMasterMk cId="560092682" sldId="2147487158"/>
            <pc:sldLayoutMk cId="3610496501" sldId="2147487242"/>
          </pc:sldLayoutMkLst>
        </pc:sldLayoutChg>
        <pc:sldLayoutChg chg="add">
          <pc:chgData name="Alana Rivera" userId="S::arg3669@ads.northwestern.edu::fc8b707a-b7e9-4f2a-8d71-2d76819b7881" providerId="AD" clId="Web-{1148AA69-EB47-4771-A3F4-7FD541A22206}" dt="2022-10-24T05:37:08.199" v="0"/>
          <pc:sldLayoutMkLst>
            <pc:docMk/>
            <pc:sldMasterMk cId="560092682" sldId="2147487158"/>
            <pc:sldLayoutMk cId="3253572214" sldId="2147487269"/>
          </pc:sldLayoutMkLst>
        </pc:sldLayoutChg>
        <pc:sldLayoutChg chg="add">
          <pc:chgData name="Alana Rivera" userId="S::arg3669@ads.northwestern.edu::fc8b707a-b7e9-4f2a-8d71-2d76819b7881" providerId="AD" clId="Web-{1148AA69-EB47-4771-A3F4-7FD541A22206}" dt="2022-10-24T05:37:08.199" v="0"/>
          <pc:sldLayoutMkLst>
            <pc:docMk/>
            <pc:sldMasterMk cId="560092682" sldId="2147487158"/>
            <pc:sldLayoutMk cId="1983143663" sldId="2147487276"/>
          </pc:sldLayoutMkLst>
        </pc:sldLayoutChg>
        <pc:sldLayoutChg chg="add">
          <pc:chgData name="Alana Rivera" userId="S::arg3669@ads.northwestern.edu::fc8b707a-b7e9-4f2a-8d71-2d76819b7881" providerId="AD" clId="Web-{1148AA69-EB47-4771-A3F4-7FD541A22206}" dt="2022-10-24T05:37:08.199" v="0"/>
          <pc:sldLayoutMkLst>
            <pc:docMk/>
            <pc:sldMasterMk cId="560092682" sldId="2147487158"/>
            <pc:sldLayoutMk cId="1803572776" sldId="2147487277"/>
          </pc:sldLayoutMkLst>
        </pc:sldLayoutChg>
      </pc:sldMasterChg>
      <pc:sldMasterChg chg="add addSldLayout">
        <pc:chgData name="Alana Rivera" userId="S::arg3669@ads.northwestern.edu::fc8b707a-b7e9-4f2a-8d71-2d76819b7881" providerId="AD" clId="Web-{1148AA69-EB47-4771-A3F4-7FD541A22206}" dt="2022-10-24T05:58:48.978" v="137"/>
        <pc:sldMasterMkLst>
          <pc:docMk/>
          <pc:sldMasterMk cId="3749873650" sldId="2147487174"/>
        </pc:sldMasterMkLst>
        <pc:sldLayoutChg chg="add">
          <pc:chgData name="Alana Rivera" userId="S::arg3669@ads.northwestern.edu::fc8b707a-b7e9-4f2a-8d71-2d76819b7881" providerId="AD" clId="Web-{1148AA69-EB47-4771-A3F4-7FD541A22206}" dt="2022-10-24T05:58:48.978" v="137"/>
          <pc:sldLayoutMkLst>
            <pc:docMk/>
            <pc:sldMasterMk cId="3749873650" sldId="2147487174"/>
            <pc:sldLayoutMk cId="3746310561" sldId="2147483908"/>
          </pc:sldLayoutMkLst>
        </pc:sldLayoutChg>
        <pc:sldLayoutChg chg="add">
          <pc:chgData name="Alana Rivera" userId="S::arg3669@ads.northwestern.edu::fc8b707a-b7e9-4f2a-8d71-2d76819b7881" providerId="AD" clId="Web-{1148AA69-EB47-4771-A3F4-7FD541A22206}" dt="2022-10-24T05:58:48.978" v="137"/>
          <pc:sldLayoutMkLst>
            <pc:docMk/>
            <pc:sldMasterMk cId="3749873650" sldId="2147487174"/>
            <pc:sldLayoutMk cId="923979430" sldId="2147483909"/>
          </pc:sldLayoutMkLst>
        </pc:sldLayoutChg>
        <pc:sldLayoutChg chg="add">
          <pc:chgData name="Alana Rivera" userId="S::arg3669@ads.northwestern.edu::fc8b707a-b7e9-4f2a-8d71-2d76819b7881" providerId="AD" clId="Web-{1148AA69-EB47-4771-A3F4-7FD541A22206}" dt="2022-10-24T05:58:48.978" v="137"/>
          <pc:sldLayoutMkLst>
            <pc:docMk/>
            <pc:sldMasterMk cId="3749873650" sldId="2147487174"/>
            <pc:sldLayoutMk cId="3785279617" sldId="2147483910"/>
          </pc:sldLayoutMkLst>
        </pc:sldLayoutChg>
        <pc:sldLayoutChg chg="add">
          <pc:chgData name="Alana Rivera" userId="S::arg3669@ads.northwestern.edu::fc8b707a-b7e9-4f2a-8d71-2d76819b7881" providerId="AD" clId="Web-{1148AA69-EB47-4771-A3F4-7FD541A22206}" dt="2022-10-24T05:58:48.978" v="137"/>
          <pc:sldLayoutMkLst>
            <pc:docMk/>
            <pc:sldMasterMk cId="3749873650" sldId="2147487174"/>
            <pc:sldLayoutMk cId="2708782157" sldId="2147483911"/>
          </pc:sldLayoutMkLst>
        </pc:sldLayoutChg>
        <pc:sldLayoutChg chg="add">
          <pc:chgData name="Alana Rivera" userId="S::arg3669@ads.northwestern.edu::fc8b707a-b7e9-4f2a-8d71-2d76819b7881" providerId="AD" clId="Web-{1148AA69-EB47-4771-A3F4-7FD541A22206}" dt="2022-10-24T05:58:48.978" v="137"/>
          <pc:sldLayoutMkLst>
            <pc:docMk/>
            <pc:sldMasterMk cId="3749873650" sldId="2147487174"/>
            <pc:sldLayoutMk cId="3045731835" sldId="2147483912"/>
          </pc:sldLayoutMkLst>
        </pc:sldLayoutChg>
        <pc:sldLayoutChg chg="add">
          <pc:chgData name="Alana Rivera" userId="S::arg3669@ads.northwestern.edu::fc8b707a-b7e9-4f2a-8d71-2d76819b7881" providerId="AD" clId="Web-{1148AA69-EB47-4771-A3F4-7FD541A22206}" dt="2022-10-24T05:58:48.978" v="137"/>
          <pc:sldLayoutMkLst>
            <pc:docMk/>
            <pc:sldMasterMk cId="3749873650" sldId="2147487174"/>
            <pc:sldLayoutMk cId="1658234180" sldId="2147483913"/>
          </pc:sldLayoutMkLst>
        </pc:sldLayoutChg>
        <pc:sldLayoutChg chg="add">
          <pc:chgData name="Alana Rivera" userId="S::arg3669@ads.northwestern.edu::fc8b707a-b7e9-4f2a-8d71-2d76819b7881" providerId="AD" clId="Web-{1148AA69-EB47-4771-A3F4-7FD541A22206}" dt="2022-10-24T05:58:48.978" v="137"/>
          <pc:sldLayoutMkLst>
            <pc:docMk/>
            <pc:sldMasterMk cId="3749873650" sldId="2147487174"/>
            <pc:sldLayoutMk cId="193367092" sldId="2147483914"/>
          </pc:sldLayoutMkLst>
        </pc:sldLayoutChg>
        <pc:sldLayoutChg chg="add">
          <pc:chgData name="Alana Rivera" userId="S::arg3669@ads.northwestern.edu::fc8b707a-b7e9-4f2a-8d71-2d76819b7881" providerId="AD" clId="Web-{1148AA69-EB47-4771-A3F4-7FD541A22206}" dt="2022-10-24T05:58:48.978" v="137"/>
          <pc:sldLayoutMkLst>
            <pc:docMk/>
            <pc:sldMasterMk cId="3749873650" sldId="2147487174"/>
            <pc:sldLayoutMk cId="3635728615" sldId="2147483915"/>
          </pc:sldLayoutMkLst>
        </pc:sldLayoutChg>
        <pc:sldLayoutChg chg="add">
          <pc:chgData name="Alana Rivera" userId="S::arg3669@ads.northwestern.edu::fc8b707a-b7e9-4f2a-8d71-2d76819b7881" providerId="AD" clId="Web-{1148AA69-EB47-4771-A3F4-7FD541A22206}" dt="2022-10-24T05:58:48.978" v="137"/>
          <pc:sldLayoutMkLst>
            <pc:docMk/>
            <pc:sldMasterMk cId="3749873650" sldId="2147487174"/>
            <pc:sldLayoutMk cId="2990742400" sldId="2147483916"/>
          </pc:sldLayoutMkLst>
        </pc:sldLayoutChg>
        <pc:sldLayoutChg chg="add">
          <pc:chgData name="Alana Rivera" userId="S::arg3669@ads.northwestern.edu::fc8b707a-b7e9-4f2a-8d71-2d76819b7881" providerId="AD" clId="Web-{1148AA69-EB47-4771-A3F4-7FD541A22206}" dt="2022-10-24T05:58:48.978" v="137"/>
          <pc:sldLayoutMkLst>
            <pc:docMk/>
            <pc:sldMasterMk cId="3749873650" sldId="2147487174"/>
            <pc:sldLayoutMk cId="3543860669" sldId="2147483917"/>
          </pc:sldLayoutMkLst>
        </pc:sldLayoutChg>
        <pc:sldLayoutChg chg="add">
          <pc:chgData name="Alana Rivera" userId="S::arg3669@ads.northwestern.edu::fc8b707a-b7e9-4f2a-8d71-2d76819b7881" providerId="AD" clId="Web-{1148AA69-EB47-4771-A3F4-7FD541A22206}" dt="2022-10-24T05:58:48.978" v="137"/>
          <pc:sldLayoutMkLst>
            <pc:docMk/>
            <pc:sldMasterMk cId="3749873650" sldId="2147487174"/>
            <pc:sldLayoutMk cId="1484062397" sldId="2147487175"/>
          </pc:sldLayoutMkLst>
        </pc:sldLayoutChg>
        <pc:sldLayoutChg chg="add">
          <pc:chgData name="Alana Rivera" userId="S::arg3669@ads.northwestern.edu::fc8b707a-b7e9-4f2a-8d71-2d76819b7881" providerId="AD" clId="Web-{1148AA69-EB47-4771-A3F4-7FD541A22206}" dt="2022-10-24T05:58:48.978" v="137"/>
          <pc:sldLayoutMkLst>
            <pc:docMk/>
            <pc:sldMasterMk cId="3749873650" sldId="2147487174"/>
            <pc:sldLayoutMk cId="1211612964" sldId="2147487176"/>
          </pc:sldLayoutMkLst>
        </pc:sldLayoutChg>
        <pc:sldLayoutChg chg="add">
          <pc:chgData name="Alana Rivera" userId="S::arg3669@ads.northwestern.edu::fc8b707a-b7e9-4f2a-8d71-2d76819b7881" providerId="AD" clId="Web-{1148AA69-EB47-4771-A3F4-7FD541A22206}" dt="2022-10-24T05:58:48.978" v="137"/>
          <pc:sldLayoutMkLst>
            <pc:docMk/>
            <pc:sldMasterMk cId="3749873650" sldId="2147487174"/>
            <pc:sldLayoutMk cId="4280666530" sldId="2147487177"/>
          </pc:sldLayoutMkLst>
        </pc:sldLayoutChg>
        <pc:sldLayoutChg chg="add">
          <pc:chgData name="Alana Rivera" userId="S::arg3669@ads.northwestern.edu::fc8b707a-b7e9-4f2a-8d71-2d76819b7881" providerId="AD" clId="Web-{1148AA69-EB47-4771-A3F4-7FD541A22206}" dt="2022-10-24T05:58:48.978" v="137"/>
          <pc:sldLayoutMkLst>
            <pc:docMk/>
            <pc:sldMasterMk cId="3749873650" sldId="2147487174"/>
            <pc:sldLayoutMk cId="2193883096" sldId="2147487178"/>
          </pc:sldLayoutMkLst>
        </pc:sldLayoutChg>
        <pc:sldLayoutChg chg="add">
          <pc:chgData name="Alana Rivera" userId="S::arg3669@ads.northwestern.edu::fc8b707a-b7e9-4f2a-8d71-2d76819b7881" providerId="AD" clId="Web-{1148AA69-EB47-4771-A3F4-7FD541A22206}" dt="2022-10-24T05:58:48.978" v="137"/>
          <pc:sldLayoutMkLst>
            <pc:docMk/>
            <pc:sldMasterMk cId="3749873650" sldId="2147487174"/>
            <pc:sldLayoutMk cId="4278784028" sldId="2147487179"/>
          </pc:sldLayoutMkLst>
        </pc:sldLayoutChg>
        <pc:sldLayoutChg chg="add">
          <pc:chgData name="Alana Rivera" userId="S::arg3669@ads.northwestern.edu::fc8b707a-b7e9-4f2a-8d71-2d76819b7881" providerId="AD" clId="Web-{1148AA69-EB47-4771-A3F4-7FD541A22206}" dt="2022-10-24T05:58:48.978" v="137"/>
          <pc:sldLayoutMkLst>
            <pc:docMk/>
            <pc:sldMasterMk cId="3749873650" sldId="2147487174"/>
            <pc:sldLayoutMk cId="3970302204" sldId="2147487180"/>
          </pc:sldLayoutMkLst>
        </pc:sldLayoutChg>
        <pc:sldLayoutChg chg="add">
          <pc:chgData name="Alana Rivera" userId="S::arg3669@ads.northwestern.edu::fc8b707a-b7e9-4f2a-8d71-2d76819b7881" providerId="AD" clId="Web-{1148AA69-EB47-4771-A3F4-7FD541A22206}" dt="2022-10-24T05:58:48.978" v="137"/>
          <pc:sldLayoutMkLst>
            <pc:docMk/>
            <pc:sldMasterMk cId="3749873650" sldId="2147487174"/>
            <pc:sldLayoutMk cId="3974072855" sldId="2147487181"/>
          </pc:sldLayoutMkLst>
        </pc:sldLayoutChg>
        <pc:sldLayoutChg chg="add">
          <pc:chgData name="Alana Rivera" userId="S::arg3669@ads.northwestern.edu::fc8b707a-b7e9-4f2a-8d71-2d76819b7881" providerId="AD" clId="Web-{1148AA69-EB47-4771-A3F4-7FD541A22206}" dt="2022-10-24T05:58:48.978" v="137"/>
          <pc:sldLayoutMkLst>
            <pc:docMk/>
            <pc:sldMasterMk cId="3749873650" sldId="2147487174"/>
            <pc:sldLayoutMk cId="1223033351" sldId="2147487182"/>
          </pc:sldLayoutMkLst>
        </pc:sldLayoutChg>
        <pc:sldLayoutChg chg="add">
          <pc:chgData name="Alana Rivera" userId="S::arg3669@ads.northwestern.edu::fc8b707a-b7e9-4f2a-8d71-2d76819b7881" providerId="AD" clId="Web-{1148AA69-EB47-4771-A3F4-7FD541A22206}" dt="2022-10-24T05:58:48.978" v="137"/>
          <pc:sldLayoutMkLst>
            <pc:docMk/>
            <pc:sldMasterMk cId="3749873650" sldId="2147487174"/>
            <pc:sldLayoutMk cId="2176686658" sldId="2147487183"/>
          </pc:sldLayoutMkLst>
        </pc:sldLayoutChg>
        <pc:sldLayoutChg chg="add">
          <pc:chgData name="Alana Rivera" userId="S::arg3669@ads.northwestern.edu::fc8b707a-b7e9-4f2a-8d71-2d76819b7881" providerId="AD" clId="Web-{1148AA69-EB47-4771-A3F4-7FD541A22206}" dt="2022-10-24T05:58:48.978" v="137"/>
          <pc:sldLayoutMkLst>
            <pc:docMk/>
            <pc:sldMasterMk cId="3749873650" sldId="2147487174"/>
            <pc:sldLayoutMk cId="331234989" sldId="2147487184"/>
          </pc:sldLayoutMkLst>
        </pc:sldLayoutChg>
        <pc:sldLayoutChg chg="add">
          <pc:chgData name="Alana Rivera" userId="S::arg3669@ads.northwestern.edu::fc8b707a-b7e9-4f2a-8d71-2d76819b7881" providerId="AD" clId="Web-{1148AA69-EB47-4771-A3F4-7FD541A22206}" dt="2022-10-24T05:58:48.978" v="137"/>
          <pc:sldLayoutMkLst>
            <pc:docMk/>
            <pc:sldMasterMk cId="3749873650" sldId="2147487174"/>
            <pc:sldLayoutMk cId="338305828" sldId="2147487185"/>
          </pc:sldLayoutMkLst>
        </pc:sldLayoutChg>
        <pc:sldLayoutChg chg="add">
          <pc:chgData name="Alana Rivera" userId="S::arg3669@ads.northwestern.edu::fc8b707a-b7e9-4f2a-8d71-2d76819b7881" providerId="AD" clId="Web-{1148AA69-EB47-4771-A3F4-7FD541A22206}" dt="2022-10-24T05:58:48.978" v="137"/>
          <pc:sldLayoutMkLst>
            <pc:docMk/>
            <pc:sldMasterMk cId="3749873650" sldId="2147487174"/>
            <pc:sldLayoutMk cId="813005036" sldId="2147487186"/>
          </pc:sldLayoutMkLst>
        </pc:sldLayoutChg>
        <pc:sldLayoutChg chg="add">
          <pc:chgData name="Alana Rivera" userId="S::arg3669@ads.northwestern.edu::fc8b707a-b7e9-4f2a-8d71-2d76819b7881" providerId="AD" clId="Web-{1148AA69-EB47-4771-A3F4-7FD541A22206}" dt="2022-10-24T05:58:48.978" v="137"/>
          <pc:sldLayoutMkLst>
            <pc:docMk/>
            <pc:sldMasterMk cId="3749873650" sldId="2147487174"/>
            <pc:sldLayoutMk cId="2192280468" sldId="2147487187"/>
          </pc:sldLayoutMkLst>
        </pc:sldLayoutChg>
        <pc:sldLayoutChg chg="add">
          <pc:chgData name="Alana Rivera" userId="S::arg3669@ads.northwestern.edu::fc8b707a-b7e9-4f2a-8d71-2d76819b7881" providerId="AD" clId="Web-{1148AA69-EB47-4771-A3F4-7FD541A22206}" dt="2022-10-24T05:58:48.978" v="137"/>
          <pc:sldLayoutMkLst>
            <pc:docMk/>
            <pc:sldMasterMk cId="3749873650" sldId="2147487174"/>
            <pc:sldLayoutMk cId="87408514" sldId="2147487188"/>
          </pc:sldLayoutMkLst>
        </pc:sldLayoutChg>
        <pc:sldLayoutChg chg="add">
          <pc:chgData name="Alana Rivera" userId="S::arg3669@ads.northwestern.edu::fc8b707a-b7e9-4f2a-8d71-2d76819b7881" providerId="AD" clId="Web-{1148AA69-EB47-4771-A3F4-7FD541A22206}" dt="2022-10-24T05:58:48.978" v="137"/>
          <pc:sldLayoutMkLst>
            <pc:docMk/>
            <pc:sldMasterMk cId="3749873650" sldId="2147487174"/>
            <pc:sldLayoutMk cId="756470188" sldId="2147487189"/>
          </pc:sldLayoutMkLst>
        </pc:sldLayoutChg>
        <pc:sldLayoutChg chg="add">
          <pc:chgData name="Alana Rivera" userId="S::arg3669@ads.northwestern.edu::fc8b707a-b7e9-4f2a-8d71-2d76819b7881" providerId="AD" clId="Web-{1148AA69-EB47-4771-A3F4-7FD541A22206}" dt="2022-10-24T05:58:48.978" v="137"/>
          <pc:sldLayoutMkLst>
            <pc:docMk/>
            <pc:sldMasterMk cId="3749873650" sldId="2147487174"/>
            <pc:sldLayoutMk cId="571770107" sldId="2147487190"/>
          </pc:sldLayoutMkLst>
        </pc:sldLayoutChg>
        <pc:sldLayoutChg chg="add">
          <pc:chgData name="Alana Rivera" userId="S::arg3669@ads.northwestern.edu::fc8b707a-b7e9-4f2a-8d71-2d76819b7881" providerId="AD" clId="Web-{1148AA69-EB47-4771-A3F4-7FD541A22206}" dt="2022-10-24T05:58:48.978" v="137"/>
          <pc:sldLayoutMkLst>
            <pc:docMk/>
            <pc:sldMasterMk cId="3749873650" sldId="2147487174"/>
            <pc:sldLayoutMk cId="440559445" sldId="2147487191"/>
          </pc:sldLayoutMkLst>
        </pc:sldLayoutChg>
        <pc:sldLayoutChg chg="add">
          <pc:chgData name="Alana Rivera" userId="S::arg3669@ads.northwestern.edu::fc8b707a-b7e9-4f2a-8d71-2d76819b7881" providerId="AD" clId="Web-{1148AA69-EB47-4771-A3F4-7FD541A22206}" dt="2022-10-24T05:58:48.978" v="137"/>
          <pc:sldLayoutMkLst>
            <pc:docMk/>
            <pc:sldMasterMk cId="3749873650" sldId="2147487174"/>
            <pc:sldLayoutMk cId="441645584" sldId="2147487192"/>
          </pc:sldLayoutMkLst>
        </pc:sldLayoutChg>
        <pc:sldLayoutChg chg="add">
          <pc:chgData name="Alana Rivera" userId="S::arg3669@ads.northwestern.edu::fc8b707a-b7e9-4f2a-8d71-2d76819b7881" providerId="AD" clId="Web-{1148AA69-EB47-4771-A3F4-7FD541A22206}" dt="2022-10-24T05:58:48.978" v="137"/>
          <pc:sldLayoutMkLst>
            <pc:docMk/>
            <pc:sldMasterMk cId="3749873650" sldId="2147487174"/>
            <pc:sldLayoutMk cId="2241120218" sldId="2147487193"/>
          </pc:sldLayoutMkLst>
        </pc:sldLayoutChg>
        <pc:sldLayoutChg chg="add">
          <pc:chgData name="Alana Rivera" userId="S::arg3669@ads.northwestern.edu::fc8b707a-b7e9-4f2a-8d71-2d76819b7881" providerId="AD" clId="Web-{1148AA69-EB47-4771-A3F4-7FD541A22206}" dt="2022-10-24T05:58:48.978" v="137"/>
          <pc:sldLayoutMkLst>
            <pc:docMk/>
            <pc:sldMasterMk cId="3749873650" sldId="2147487174"/>
            <pc:sldLayoutMk cId="1091279663" sldId="2147487194"/>
          </pc:sldLayoutMkLst>
        </pc:sldLayoutChg>
        <pc:sldLayoutChg chg="add">
          <pc:chgData name="Alana Rivera" userId="S::arg3669@ads.northwestern.edu::fc8b707a-b7e9-4f2a-8d71-2d76819b7881" providerId="AD" clId="Web-{1148AA69-EB47-4771-A3F4-7FD541A22206}" dt="2022-10-24T05:58:48.978" v="137"/>
          <pc:sldLayoutMkLst>
            <pc:docMk/>
            <pc:sldMasterMk cId="3749873650" sldId="2147487174"/>
            <pc:sldLayoutMk cId="2055103267" sldId="2147487195"/>
          </pc:sldLayoutMkLst>
        </pc:sldLayoutChg>
        <pc:sldLayoutChg chg="add">
          <pc:chgData name="Alana Rivera" userId="S::arg3669@ads.northwestern.edu::fc8b707a-b7e9-4f2a-8d71-2d76819b7881" providerId="AD" clId="Web-{1148AA69-EB47-4771-A3F4-7FD541A22206}" dt="2022-10-24T05:58:48.978" v="137"/>
          <pc:sldLayoutMkLst>
            <pc:docMk/>
            <pc:sldMasterMk cId="3749873650" sldId="2147487174"/>
            <pc:sldLayoutMk cId="344075938" sldId="2147487196"/>
          </pc:sldLayoutMkLst>
        </pc:sldLayoutChg>
        <pc:sldLayoutChg chg="add">
          <pc:chgData name="Alana Rivera" userId="S::arg3669@ads.northwestern.edu::fc8b707a-b7e9-4f2a-8d71-2d76819b7881" providerId="AD" clId="Web-{1148AA69-EB47-4771-A3F4-7FD541A22206}" dt="2022-10-24T05:58:48.978" v="137"/>
          <pc:sldLayoutMkLst>
            <pc:docMk/>
            <pc:sldMasterMk cId="3749873650" sldId="2147487174"/>
            <pc:sldLayoutMk cId="3547859252" sldId="2147487197"/>
          </pc:sldLayoutMkLst>
        </pc:sldLayoutChg>
        <pc:sldLayoutChg chg="add">
          <pc:chgData name="Alana Rivera" userId="S::arg3669@ads.northwestern.edu::fc8b707a-b7e9-4f2a-8d71-2d76819b7881" providerId="AD" clId="Web-{1148AA69-EB47-4771-A3F4-7FD541A22206}" dt="2022-10-24T05:58:48.978" v="137"/>
          <pc:sldLayoutMkLst>
            <pc:docMk/>
            <pc:sldMasterMk cId="3749873650" sldId="2147487174"/>
            <pc:sldLayoutMk cId="2996222432" sldId="2147487198"/>
          </pc:sldLayoutMkLst>
        </pc:sldLayoutChg>
        <pc:sldLayoutChg chg="add">
          <pc:chgData name="Alana Rivera" userId="S::arg3669@ads.northwestern.edu::fc8b707a-b7e9-4f2a-8d71-2d76819b7881" providerId="AD" clId="Web-{1148AA69-EB47-4771-A3F4-7FD541A22206}" dt="2022-10-24T05:58:48.978" v="137"/>
          <pc:sldLayoutMkLst>
            <pc:docMk/>
            <pc:sldMasterMk cId="3749873650" sldId="2147487174"/>
            <pc:sldLayoutMk cId="981878236" sldId="2147487199"/>
          </pc:sldLayoutMkLst>
        </pc:sldLayoutChg>
        <pc:sldLayoutChg chg="add">
          <pc:chgData name="Alana Rivera" userId="S::arg3669@ads.northwestern.edu::fc8b707a-b7e9-4f2a-8d71-2d76819b7881" providerId="AD" clId="Web-{1148AA69-EB47-4771-A3F4-7FD541A22206}" dt="2022-10-24T05:58:48.978" v="137"/>
          <pc:sldLayoutMkLst>
            <pc:docMk/>
            <pc:sldMasterMk cId="3749873650" sldId="2147487174"/>
            <pc:sldLayoutMk cId="1512845346" sldId="2147487200"/>
          </pc:sldLayoutMkLst>
        </pc:sldLayoutChg>
        <pc:sldLayoutChg chg="add">
          <pc:chgData name="Alana Rivera" userId="S::arg3669@ads.northwestern.edu::fc8b707a-b7e9-4f2a-8d71-2d76819b7881" providerId="AD" clId="Web-{1148AA69-EB47-4771-A3F4-7FD541A22206}" dt="2022-10-24T05:58:48.978" v="137"/>
          <pc:sldLayoutMkLst>
            <pc:docMk/>
            <pc:sldMasterMk cId="3749873650" sldId="2147487174"/>
            <pc:sldLayoutMk cId="3795673359" sldId="2147487201"/>
          </pc:sldLayoutMkLst>
        </pc:sldLayoutChg>
        <pc:sldLayoutChg chg="add">
          <pc:chgData name="Alana Rivera" userId="S::arg3669@ads.northwestern.edu::fc8b707a-b7e9-4f2a-8d71-2d76819b7881" providerId="AD" clId="Web-{1148AA69-EB47-4771-A3F4-7FD541A22206}" dt="2022-10-24T05:58:48.978" v="137"/>
          <pc:sldLayoutMkLst>
            <pc:docMk/>
            <pc:sldMasterMk cId="3749873650" sldId="2147487174"/>
            <pc:sldLayoutMk cId="2310101850" sldId="2147487202"/>
          </pc:sldLayoutMkLst>
        </pc:sldLayoutChg>
        <pc:sldLayoutChg chg="add">
          <pc:chgData name="Alana Rivera" userId="S::arg3669@ads.northwestern.edu::fc8b707a-b7e9-4f2a-8d71-2d76819b7881" providerId="AD" clId="Web-{1148AA69-EB47-4771-A3F4-7FD541A22206}" dt="2022-10-24T05:58:48.978" v="137"/>
          <pc:sldLayoutMkLst>
            <pc:docMk/>
            <pc:sldMasterMk cId="3749873650" sldId="2147487174"/>
            <pc:sldLayoutMk cId="1334891318" sldId="2147487203"/>
          </pc:sldLayoutMkLst>
        </pc:sldLayoutChg>
        <pc:sldLayoutChg chg="add">
          <pc:chgData name="Alana Rivera" userId="S::arg3669@ads.northwestern.edu::fc8b707a-b7e9-4f2a-8d71-2d76819b7881" providerId="AD" clId="Web-{1148AA69-EB47-4771-A3F4-7FD541A22206}" dt="2022-10-24T05:58:48.978" v="137"/>
          <pc:sldLayoutMkLst>
            <pc:docMk/>
            <pc:sldMasterMk cId="3749873650" sldId="2147487174"/>
            <pc:sldLayoutMk cId="183027598" sldId="2147487204"/>
          </pc:sldLayoutMkLst>
        </pc:sldLayoutChg>
        <pc:sldLayoutChg chg="add">
          <pc:chgData name="Alana Rivera" userId="S::arg3669@ads.northwestern.edu::fc8b707a-b7e9-4f2a-8d71-2d76819b7881" providerId="AD" clId="Web-{1148AA69-EB47-4771-A3F4-7FD541A22206}" dt="2022-10-24T05:58:48.978" v="137"/>
          <pc:sldLayoutMkLst>
            <pc:docMk/>
            <pc:sldMasterMk cId="3749873650" sldId="2147487174"/>
            <pc:sldLayoutMk cId="3493857269" sldId="2147487205"/>
          </pc:sldLayoutMkLst>
        </pc:sldLayoutChg>
        <pc:sldLayoutChg chg="add">
          <pc:chgData name="Alana Rivera" userId="S::arg3669@ads.northwestern.edu::fc8b707a-b7e9-4f2a-8d71-2d76819b7881" providerId="AD" clId="Web-{1148AA69-EB47-4771-A3F4-7FD541A22206}" dt="2022-10-24T05:58:48.978" v="137"/>
          <pc:sldLayoutMkLst>
            <pc:docMk/>
            <pc:sldMasterMk cId="3749873650" sldId="2147487174"/>
            <pc:sldLayoutMk cId="1498836458" sldId="2147487206"/>
          </pc:sldLayoutMkLst>
        </pc:sldLayoutChg>
        <pc:sldLayoutChg chg="add">
          <pc:chgData name="Alana Rivera" userId="S::arg3669@ads.northwestern.edu::fc8b707a-b7e9-4f2a-8d71-2d76819b7881" providerId="AD" clId="Web-{1148AA69-EB47-4771-A3F4-7FD541A22206}" dt="2022-10-24T05:58:48.978" v="137"/>
          <pc:sldLayoutMkLst>
            <pc:docMk/>
            <pc:sldMasterMk cId="3749873650" sldId="2147487174"/>
            <pc:sldLayoutMk cId="2340032753" sldId="2147487207"/>
          </pc:sldLayoutMkLst>
        </pc:sldLayoutChg>
        <pc:sldLayoutChg chg="add">
          <pc:chgData name="Alana Rivera" userId="S::arg3669@ads.northwestern.edu::fc8b707a-b7e9-4f2a-8d71-2d76819b7881" providerId="AD" clId="Web-{1148AA69-EB47-4771-A3F4-7FD541A22206}" dt="2022-10-24T05:58:48.978" v="137"/>
          <pc:sldLayoutMkLst>
            <pc:docMk/>
            <pc:sldMasterMk cId="3749873650" sldId="2147487174"/>
            <pc:sldLayoutMk cId="379366162" sldId="2147487208"/>
          </pc:sldLayoutMkLst>
        </pc:sldLayoutChg>
        <pc:sldLayoutChg chg="add">
          <pc:chgData name="Alana Rivera" userId="S::arg3669@ads.northwestern.edu::fc8b707a-b7e9-4f2a-8d71-2d76819b7881" providerId="AD" clId="Web-{1148AA69-EB47-4771-A3F4-7FD541A22206}" dt="2022-10-24T05:58:48.978" v="137"/>
          <pc:sldLayoutMkLst>
            <pc:docMk/>
            <pc:sldMasterMk cId="3749873650" sldId="2147487174"/>
            <pc:sldLayoutMk cId="2031911642" sldId="2147487209"/>
          </pc:sldLayoutMkLst>
        </pc:sldLayoutChg>
        <pc:sldLayoutChg chg="add">
          <pc:chgData name="Alana Rivera" userId="S::arg3669@ads.northwestern.edu::fc8b707a-b7e9-4f2a-8d71-2d76819b7881" providerId="AD" clId="Web-{1148AA69-EB47-4771-A3F4-7FD541A22206}" dt="2022-10-24T05:58:48.978" v="137"/>
          <pc:sldLayoutMkLst>
            <pc:docMk/>
            <pc:sldMasterMk cId="3749873650" sldId="2147487174"/>
            <pc:sldLayoutMk cId="3068628412" sldId="2147487210"/>
          </pc:sldLayoutMkLst>
        </pc:sldLayoutChg>
        <pc:sldLayoutChg chg="add">
          <pc:chgData name="Alana Rivera" userId="S::arg3669@ads.northwestern.edu::fc8b707a-b7e9-4f2a-8d71-2d76819b7881" providerId="AD" clId="Web-{1148AA69-EB47-4771-A3F4-7FD541A22206}" dt="2022-10-24T05:58:48.978" v="137"/>
          <pc:sldLayoutMkLst>
            <pc:docMk/>
            <pc:sldMasterMk cId="3749873650" sldId="2147487174"/>
            <pc:sldLayoutMk cId="2141923877" sldId="2147487211"/>
          </pc:sldLayoutMkLst>
        </pc:sldLayoutChg>
        <pc:sldLayoutChg chg="add">
          <pc:chgData name="Alana Rivera" userId="S::arg3669@ads.northwestern.edu::fc8b707a-b7e9-4f2a-8d71-2d76819b7881" providerId="AD" clId="Web-{1148AA69-EB47-4771-A3F4-7FD541A22206}" dt="2022-10-24T05:58:48.978" v="137"/>
          <pc:sldLayoutMkLst>
            <pc:docMk/>
            <pc:sldMasterMk cId="3749873650" sldId="2147487174"/>
            <pc:sldLayoutMk cId="3043819429" sldId="2147487212"/>
          </pc:sldLayoutMkLst>
        </pc:sldLayoutChg>
        <pc:sldLayoutChg chg="add">
          <pc:chgData name="Alana Rivera" userId="S::arg3669@ads.northwestern.edu::fc8b707a-b7e9-4f2a-8d71-2d76819b7881" providerId="AD" clId="Web-{1148AA69-EB47-4771-A3F4-7FD541A22206}" dt="2022-10-24T05:58:48.978" v="137"/>
          <pc:sldLayoutMkLst>
            <pc:docMk/>
            <pc:sldMasterMk cId="3749873650" sldId="2147487174"/>
            <pc:sldLayoutMk cId="753883094" sldId="2147487213"/>
          </pc:sldLayoutMkLst>
        </pc:sldLayoutChg>
        <pc:sldLayoutChg chg="add">
          <pc:chgData name="Alana Rivera" userId="S::arg3669@ads.northwestern.edu::fc8b707a-b7e9-4f2a-8d71-2d76819b7881" providerId="AD" clId="Web-{1148AA69-EB47-4771-A3F4-7FD541A22206}" dt="2022-10-24T05:58:48.978" v="137"/>
          <pc:sldLayoutMkLst>
            <pc:docMk/>
            <pc:sldMasterMk cId="3749873650" sldId="2147487174"/>
            <pc:sldLayoutMk cId="203489836" sldId="2147487214"/>
          </pc:sldLayoutMkLst>
        </pc:sldLayoutChg>
        <pc:sldLayoutChg chg="add">
          <pc:chgData name="Alana Rivera" userId="S::arg3669@ads.northwestern.edu::fc8b707a-b7e9-4f2a-8d71-2d76819b7881" providerId="AD" clId="Web-{1148AA69-EB47-4771-A3F4-7FD541A22206}" dt="2022-10-24T05:58:48.978" v="137"/>
          <pc:sldLayoutMkLst>
            <pc:docMk/>
            <pc:sldMasterMk cId="3749873650" sldId="2147487174"/>
            <pc:sldLayoutMk cId="1502328159" sldId="2147487215"/>
          </pc:sldLayoutMkLst>
        </pc:sldLayoutChg>
        <pc:sldLayoutChg chg="add">
          <pc:chgData name="Alana Rivera" userId="S::arg3669@ads.northwestern.edu::fc8b707a-b7e9-4f2a-8d71-2d76819b7881" providerId="AD" clId="Web-{1148AA69-EB47-4771-A3F4-7FD541A22206}" dt="2022-10-24T05:58:48.978" v="137"/>
          <pc:sldLayoutMkLst>
            <pc:docMk/>
            <pc:sldMasterMk cId="3749873650" sldId="2147487174"/>
            <pc:sldLayoutMk cId="709521452" sldId="2147487216"/>
          </pc:sldLayoutMkLst>
        </pc:sldLayoutChg>
        <pc:sldLayoutChg chg="add">
          <pc:chgData name="Alana Rivera" userId="S::arg3669@ads.northwestern.edu::fc8b707a-b7e9-4f2a-8d71-2d76819b7881" providerId="AD" clId="Web-{1148AA69-EB47-4771-A3F4-7FD541A22206}" dt="2022-10-24T05:58:48.978" v="137"/>
          <pc:sldLayoutMkLst>
            <pc:docMk/>
            <pc:sldMasterMk cId="3749873650" sldId="2147487174"/>
            <pc:sldLayoutMk cId="282616914" sldId="2147487217"/>
          </pc:sldLayoutMkLst>
        </pc:sldLayoutChg>
        <pc:sldLayoutChg chg="add">
          <pc:chgData name="Alana Rivera" userId="S::arg3669@ads.northwestern.edu::fc8b707a-b7e9-4f2a-8d71-2d76819b7881" providerId="AD" clId="Web-{1148AA69-EB47-4771-A3F4-7FD541A22206}" dt="2022-10-24T05:58:48.978" v="137"/>
          <pc:sldLayoutMkLst>
            <pc:docMk/>
            <pc:sldMasterMk cId="3749873650" sldId="2147487174"/>
            <pc:sldLayoutMk cId="1679326096" sldId="2147487218"/>
          </pc:sldLayoutMkLst>
        </pc:sldLayoutChg>
        <pc:sldLayoutChg chg="add">
          <pc:chgData name="Alana Rivera" userId="S::arg3669@ads.northwestern.edu::fc8b707a-b7e9-4f2a-8d71-2d76819b7881" providerId="AD" clId="Web-{1148AA69-EB47-4771-A3F4-7FD541A22206}" dt="2022-10-24T05:58:48.978" v="137"/>
          <pc:sldLayoutMkLst>
            <pc:docMk/>
            <pc:sldMasterMk cId="3749873650" sldId="2147487174"/>
            <pc:sldLayoutMk cId="2238255593" sldId="2147487219"/>
          </pc:sldLayoutMkLst>
        </pc:sldLayoutChg>
        <pc:sldLayoutChg chg="add">
          <pc:chgData name="Alana Rivera" userId="S::arg3669@ads.northwestern.edu::fc8b707a-b7e9-4f2a-8d71-2d76819b7881" providerId="AD" clId="Web-{1148AA69-EB47-4771-A3F4-7FD541A22206}" dt="2022-10-24T05:58:48.978" v="137"/>
          <pc:sldLayoutMkLst>
            <pc:docMk/>
            <pc:sldMasterMk cId="3749873650" sldId="2147487174"/>
            <pc:sldLayoutMk cId="1991670309" sldId="2147487220"/>
          </pc:sldLayoutMkLst>
        </pc:sldLayoutChg>
        <pc:sldLayoutChg chg="add">
          <pc:chgData name="Alana Rivera" userId="S::arg3669@ads.northwestern.edu::fc8b707a-b7e9-4f2a-8d71-2d76819b7881" providerId="AD" clId="Web-{1148AA69-EB47-4771-A3F4-7FD541A22206}" dt="2022-10-24T05:58:48.978" v="137"/>
          <pc:sldLayoutMkLst>
            <pc:docMk/>
            <pc:sldMasterMk cId="3749873650" sldId="2147487174"/>
            <pc:sldLayoutMk cId="841771359" sldId="2147487221"/>
          </pc:sldLayoutMkLst>
        </pc:sldLayoutChg>
        <pc:sldLayoutChg chg="add">
          <pc:chgData name="Alana Rivera" userId="S::arg3669@ads.northwestern.edu::fc8b707a-b7e9-4f2a-8d71-2d76819b7881" providerId="AD" clId="Web-{1148AA69-EB47-4771-A3F4-7FD541A22206}" dt="2022-10-24T05:58:48.978" v="137"/>
          <pc:sldLayoutMkLst>
            <pc:docMk/>
            <pc:sldMasterMk cId="3749873650" sldId="2147487174"/>
            <pc:sldLayoutMk cId="3123185734" sldId="2147487222"/>
          </pc:sldLayoutMkLst>
        </pc:sldLayoutChg>
        <pc:sldLayoutChg chg="add">
          <pc:chgData name="Alana Rivera" userId="S::arg3669@ads.northwestern.edu::fc8b707a-b7e9-4f2a-8d71-2d76819b7881" providerId="AD" clId="Web-{1148AA69-EB47-4771-A3F4-7FD541A22206}" dt="2022-10-24T05:58:48.978" v="137"/>
          <pc:sldLayoutMkLst>
            <pc:docMk/>
            <pc:sldMasterMk cId="3749873650" sldId="2147487174"/>
            <pc:sldLayoutMk cId="2987697671" sldId="2147487235"/>
          </pc:sldLayoutMkLst>
        </pc:sldLayoutChg>
      </pc:sldMasterChg>
      <pc:sldMasterChg chg="add replId addSldLayout modSldLayout">
        <pc:chgData name="Alana Rivera" userId="S::arg3669@ads.northwestern.edu::fc8b707a-b7e9-4f2a-8d71-2d76819b7881" providerId="AD" clId="Web-{1148AA69-EB47-4771-A3F4-7FD541A22206}" dt="2022-10-24T05:58:50.072" v="142"/>
        <pc:sldMasterMkLst>
          <pc:docMk/>
          <pc:sldMasterMk cId="0" sldId="2147487225"/>
        </pc:sldMasterMkLst>
        <pc:sldLayoutChg chg="add replId">
          <pc:chgData name="Alana Rivera" userId="S::arg3669@ads.northwestern.edu::fc8b707a-b7e9-4f2a-8d71-2d76819b7881" providerId="AD" clId="Web-{1148AA69-EB47-4771-A3F4-7FD541A22206}" dt="2022-10-24T05:58:49.290" v="138"/>
          <pc:sldLayoutMkLst>
            <pc:docMk/>
            <pc:sldMasterMk cId="0" sldId="2147487225"/>
            <pc:sldLayoutMk cId="0" sldId="2147483921"/>
          </pc:sldLayoutMkLst>
        </pc:sldLayoutChg>
        <pc:sldLayoutChg chg="add replId">
          <pc:chgData name="Alana Rivera" userId="S::arg3669@ads.northwestern.edu::fc8b707a-b7e9-4f2a-8d71-2d76819b7881" providerId="AD" clId="Web-{1148AA69-EB47-4771-A3F4-7FD541A22206}" dt="2022-10-24T05:58:49.290" v="138"/>
          <pc:sldLayoutMkLst>
            <pc:docMk/>
            <pc:sldMasterMk cId="0" sldId="2147487225"/>
            <pc:sldLayoutMk cId="161726632" sldId="2147483922"/>
          </pc:sldLayoutMkLst>
        </pc:sldLayoutChg>
        <pc:sldLayoutChg chg="add replId">
          <pc:chgData name="Alana Rivera" userId="S::arg3669@ads.northwestern.edu::fc8b707a-b7e9-4f2a-8d71-2d76819b7881" providerId="AD" clId="Web-{1148AA69-EB47-4771-A3F4-7FD541A22206}" dt="2022-10-24T05:58:49.290" v="138"/>
          <pc:sldLayoutMkLst>
            <pc:docMk/>
            <pc:sldMasterMk cId="0" sldId="2147487225"/>
            <pc:sldLayoutMk cId="1441627675" sldId="2147483923"/>
          </pc:sldLayoutMkLst>
        </pc:sldLayoutChg>
        <pc:sldLayoutChg chg="add replId">
          <pc:chgData name="Alana Rivera" userId="S::arg3669@ads.northwestern.edu::fc8b707a-b7e9-4f2a-8d71-2d76819b7881" providerId="AD" clId="Web-{1148AA69-EB47-4771-A3F4-7FD541A22206}" dt="2022-10-24T05:58:50.072" v="142"/>
          <pc:sldLayoutMkLst>
            <pc:docMk/>
            <pc:sldMasterMk cId="0" sldId="2147487225"/>
            <pc:sldLayoutMk cId="0" sldId="2147487226"/>
          </pc:sldLayoutMkLst>
        </pc:sldLayoutChg>
      </pc:sldMasterChg>
    </pc:docChg>
  </pc:docChgLst>
  <pc:docChgLst>
    <pc:chgData name="Alana Rivera" userId="S::arg3669@ads.northwestern.edu::fc8b707a-b7e9-4f2a-8d71-2d76819b7881" providerId="AD" clId="Web-{C8103C42-2934-D793-1836-1B2A892D4325}"/>
    <pc:docChg chg="addSld">
      <pc:chgData name="Alana Rivera" userId="S::arg3669@ads.northwestern.edu::fc8b707a-b7e9-4f2a-8d71-2d76819b7881" providerId="AD" clId="Web-{C8103C42-2934-D793-1836-1B2A892D4325}" dt="2023-11-02T14:40:05.506" v="0"/>
      <pc:docMkLst>
        <pc:docMk/>
      </pc:docMkLst>
      <pc:sldChg chg="add replId">
        <pc:chgData name="Alana Rivera" userId="S::arg3669@ads.northwestern.edu::fc8b707a-b7e9-4f2a-8d71-2d76819b7881" providerId="AD" clId="Web-{C8103C42-2934-D793-1836-1B2A892D4325}" dt="2023-11-02T14:40:05.506" v="0"/>
        <pc:sldMkLst>
          <pc:docMk/>
          <pc:sldMk cId="2638599641" sldId="338"/>
        </pc:sldMkLst>
      </pc:sldChg>
    </pc:docChg>
  </pc:docChgLst>
  <pc:docChgLst>
    <pc:chgData name="Alana Rivera" userId="S::arg3669@ads.northwestern.edu::fc8b707a-b7e9-4f2a-8d71-2d76819b7881" providerId="AD" clId="Web-{E15CFE83-0DD0-D96F-5C44-5E4D51B26DA8}"/>
    <pc:docChg chg="addSld modSld">
      <pc:chgData name="Alana Rivera" userId="S::arg3669@ads.northwestern.edu::fc8b707a-b7e9-4f2a-8d71-2d76819b7881" providerId="AD" clId="Web-{E15CFE83-0DD0-D96F-5C44-5E4D51B26DA8}" dt="2023-10-31T02:35:32.133" v="31"/>
      <pc:docMkLst>
        <pc:docMk/>
      </pc:docMkLst>
      <pc:sldChg chg="modSp">
        <pc:chgData name="Alana Rivera" userId="S::arg3669@ads.northwestern.edu::fc8b707a-b7e9-4f2a-8d71-2d76819b7881" providerId="AD" clId="Web-{E15CFE83-0DD0-D96F-5C44-5E4D51B26DA8}" dt="2023-10-31T02:31:44.049" v="30" actId="1076"/>
        <pc:sldMkLst>
          <pc:docMk/>
          <pc:sldMk cId="3240133074" sldId="259"/>
        </pc:sldMkLst>
        <pc:spChg chg="mod">
          <ac:chgData name="Alana Rivera" userId="S::arg3669@ads.northwestern.edu::fc8b707a-b7e9-4f2a-8d71-2d76819b7881" providerId="AD" clId="Web-{E15CFE83-0DD0-D96F-5C44-5E4D51B26DA8}" dt="2023-10-31T02:31:26.565" v="26" actId="14100"/>
          <ac:spMkLst>
            <pc:docMk/>
            <pc:sldMk cId="3240133074" sldId="259"/>
            <ac:spMk id="7" creationId="{7E13C86E-7C8D-3F7D-948E-5B86E04CE1A7}"/>
          </ac:spMkLst>
        </pc:spChg>
        <pc:picChg chg="mod">
          <ac:chgData name="Alana Rivera" userId="S::arg3669@ads.northwestern.edu::fc8b707a-b7e9-4f2a-8d71-2d76819b7881" providerId="AD" clId="Web-{E15CFE83-0DD0-D96F-5C44-5E4D51B26DA8}" dt="2023-10-31T02:31:44.049" v="30" actId="1076"/>
          <ac:picMkLst>
            <pc:docMk/>
            <pc:sldMk cId="3240133074" sldId="259"/>
            <ac:picMk id="2" creationId="{6EF74818-61F0-CF2D-8B35-1B4F9DC26E0C}"/>
          </ac:picMkLst>
        </pc:picChg>
      </pc:sldChg>
      <pc:sldChg chg="modSp">
        <pc:chgData name="Alana Rivera" userId="S::arg3669@ads.northwestern.edu::fc8b707a-b7e9-4f2a-8d71-2d76819b7881" providerId="AD" clId="Web-{E15CFE83-0DD0-D96F-5C44-5E4D51B26DA8}" dt="2023-10-31T02:30:29.907" v="2" actId="1076"/>
        <pc:sldMkLst>
          <pc:docMk/>
          <pc:sldMk cId="1823951541" sldId="261"/>
        </pc:sldMkLst>
        <pc:spChg chg="mod">
          <ac:chgData name="Alana Rivera" userId="S::arg3669@ads.northwestern.edu::fc8b707a-b7e9-4f2a-8d71-2d76819b7881" providerId="AD" clId="Web-{E15CFE83-0DD0-D96F-5C44-5E4D51B26DA8}" dt="2023-10-31T02:30:23.172" v="1" actId="1076"/>
          <ac:spMkLst>
            <pc:docMk/>
            <pc:sldMk cId="1823951541" sldId="261"/>
            <ac:spMk id="3" creationId="{1D742501-F937-8041-84E5-748F96AE991B}"/>
          </ac:spMkLst>
        </pc:spChg>
        <pc:spChg chg="mod">
          <ac:chgData name="Alana Rivera" userId="S::arg3669@ads.northwestern.edu::fc8b707a-b7e9-4f2a-8d71-2d76819b7881" providerId="AD" clId="Web-{E15CFE83-0DD0-D96F-5C44-5E4D51B26DA8}" dt="2023-10-31T02:30:29.907" v="2" actId="1076"/>
          <ac:spMkLst>
            <pc:docMk/>
            <pc:sldMk cId="1823951541" sldId="261"/>
            <ac:spMk id="4" creationId="{19922563-64D6-2A4E-B048-13AC25DB45AD}"/>
          </ac:spMkLst>
        </pc:spChg>
      </pc:sldChg>
      <pc:sldChg chg="modSp">
        <pc:chgData name="Alana Rivera" userId="S::arg3669@ads.northwestern.edu::fc8b707a-b7e9-4f2a-8d71-2d76819b7881" providerId="AD" clId="Web-{E15CFE83-0DD0-D96F-5C44-5E4D51B26DA8}" dt="2023-10-31T02:30:16.328" v="0" actId="1076"/>
        <pc:sldMkLst>
          <pc:docMk/>
          <pc:sldMk cId="3986814032" sldId="295"/>
        </pc:sldMkLst>
        <pc:spChg chg="mod">
          <ac:chgData name="Alana Rivera" userId="S::arg3669@ads.northwestern.edu::fc8b707a-b7e9-4f2a-8d71-2d76819b7881" providerId="AD" clId="Web-{E15CFE83-0DD0-D96F-5C44-5E4D51B26DA8}" dt="2023-10-31T02:30:16.328" v="0" actId="1076"/>
          <ac:spMkLst>
            <pc:docMk/>
            <pc:sldMk cId="3986814032" sldId="295"/>
            <ac:spMk id="22" creationId="{9D083F7A-AFCE-F54E-02B9-D4B8C1C92D81}"/>
          </ac:spMkLst>
        </pc:spChg>
      </pc:sldChg>
      <pc:sldChg chg="add">
        <pc:chgData name="Alana Rivera" userId="S::arg3669@ads.northwestern.edu::fc8b707a-b7e9-4f2a-8d71-2d76819b7881" providerId="AD" clId="Web-{E15CFE83-0DD0-D96F-5C44-5E4D51B26DA8}" dt="2023-10-31T02:35:32.133" v="31"/>
        <pc:sldMkLst>
          <pc:docMk/>
          <pc:sldMk cId="3234807220" sldId="330"/>
        </pc:sldMkLst>
      </pc:sldChg>
    </pc:docChg>
  </pc:docChgLst>
  <pc:docChgLst>
    <pc:chgData name="Aleena Lida Surenian" userId="S::als0813@ads.northwestern.edu::e2fd0e4e-6417-49b0-ab16-0ba26a1719f0" providerId="AD" clId="Web-{A8A6FDFC-1230-1E0A-850E-DC5E3510C336}"/>
    <pc:docChg chg="addSld delSld modSld addMainMaster modMainMaster">
      <pc:chgData name="Aleena Lida Surenian" userId="S::als0813@ads.northwestern.edu::e2fd0e4e-6417-49b0-ab16-0ba26a1719f0" providerId="AD" clId="Web-{A8A6FDFC-1230-1E0A-850E-DC5E3510C336}" dt="2023-10-19T14:30:11.524" v="381" actId="1076"/>
      <pc:docMkLst>
        <pc:docMk/>
      </pc:docMkLst>
      <pc:sldChg chg="addSp modSp">
        <pc:chgData name="Aleena Lida Surenian" userId="S::als0813@ads.northwestern.edu::e2fd0e4e-6417-49b0-ab16-0ba26a1719f0" providerId="AD" clId="Web-{A8A6FDFC-1230-1E0A-850E-DC5E3510C336}" dt="2023-10-19T14:10:22.024" v="264" actId="1076"/>
        <pc:sldMkLst>
          <pc:docMk/>
          <pc:sldMk cId="3240133074" sldId="259"/>
        </pc:sldMkLst>
        <pc:spChg chg="mod">
          <ac:chgData name="Aleena Lida Surenian" userId="S::als0813@ads.northwestern.edu::e2fd0e4e-6417-49b0-ab16-0ba26a1719f0" providerId="AD" clId="Web-{A8A6FDFC-1230-1E0A-850E-DC5E3510C336}" dt="2023-10-19T14:10:22.024" v="264" actId="1076"/>
          <ac:spMkLst>
            <pc:docMk/>
            <pc:sldMk cId="3240133074" sldId="259"/>
            <ac:spMk id="7" creationId="{7E13C86E-7C8D-3F7D-948E-5B86E04CE1A7}"/>
          </ac:spMkLst>
        </pc:spChg>
        <pc:picChg chg="add mod">
          <ac:chgData name="Aleena Lida Surenian" userId="S::als0813@ads.northwestern.edu::e2fd0e4e-6417-49b0-ab16-0ba26a1719f0" providerId="AD" clId="Web-{A8A6FDFC-1230-1E0A-850E-DC5E3510C336}" dt="2023-10-19T14:10:15.539" v="263" actId="1076"/>
          <ac:picMkLst>
            <pc:docMk/>
            <pc:sldMk cId="3240133074" sldId="259"/>
            <ac:picMk id="2" creationId="{6EF74818-61F0-CF2D-8B35-1B4F9DC26E0C}"/>
          </ac:picMkLst>
        </pc:picChg>
      </pc:sldChg>
      <pc:sldChg chg="modSp">
        <pc:chgData name="Aleena Lida Surenian" userId="S::als0813@ads.northwestern.edu::e2fd0e4e-6417-49b0-ab16-0ba26a1719f0" providerId="AD" clId="Web-{A8A6FDFC-1230-1E0A-850E-DC5E3510C336}" dt="2023-10-19T14:01:27.207" v="3" actId="20577"/>
        <pc:sldMkLst>
          <pc:docMk/>
          <pc:sldMk cId="1823951541" sldId="261"/>
        </pc:sldMkLst>
        <pc:spChg chg="mod">
          <ac:chgData name="Aleena Lida Surenian" userId="S::als0813@ads.northwestern.edu::e2fd0e4e-6417-49b0-ab16-0ba26a1719f0" providerId="AD" clId="Web-{A8A6FDFC-1230-1E0A-850E-DC5E3510C336}" dt="2023-10-19T14:01:27.207" v="3" actId="20577"/>
          <ac:spMkLst>
            <pc:docMk/>
            <pc:sldMk cId="1823951541" sldId="261"/>
            <ac:spMk id="4" creationId="{19922563-64D6-2A4E-B048-13AC25DB45AD}"/>
          </ac:spMkLst>
        </pc:spChg>
      </pc:sldChg>
      <pc:sldChg chg="del">
        <pc:chgData name="Aleena Lida Surenian" userId="S::als0813@ads.northwestern.edu::e2fd0e4e-6417-49b0-ab16-0ba26a1719f0" providerId="AD" clId="Web-{A8A6FDFC-1230-1E0A-850E-DC5E3510C336}" dt="2023-10-19T14:07:04.078" v="181"/>
        <pc:sldMkLst>
          <pc:docMk/>
          <pc:sldMk cId="2990772570" sldId="292"/>
        </pc:sldMkLst>
      </pc:sldChg>
      <pc:sldChg chg="modSp">
        <pc:chgData name="Aleena Lida Surenian" userId="S::als0813@ads.northwestern.edu::e2fd0e4e-6417-49b0-ab16-0ba26a1719f0" providerId="AD" clId="Web-{A8A6FDFC-1230-1E0A-850E-DC5E3510C336}" dt="2023-10-19T14:09:28.521" v="254" actId="20577"/>
        <pc:sldMkLst>
          <pc:docMk/>
          <pc:sldMk cId="2134732932" sldId="294"/>
        </pc:sldMkLst>
        <pc:spChg chg="mod">
          <ac:chgData name="Aleena Lida Surenian" userId="S::als0813@ads.northwestern.edu::e2fd0e4e-6417-49b0-ab16-0ba26a1719f0" providerId="AD" clId="Web-{A8A6FDFC-1230-1E0A-850E-DC5E3510C336}" dt="2023-10-19T14:09:28.521" v="254" actId="20577"/>
          <ac:spMkLst>
            <pc:docMk/>
            <pc:sldMk cId="2134732932" sldId="294"/>
            <ac:spMk id="3" creationId="{5BA491EF-4ED0-06C8-11F1-59D448DFDA97}"/>
          </ac:spMkLst>
        </pc:spChg>
      </pc:sldChg>
      <pc:sldChg chg="modSp">
        <pc:chgData name="Aleena Lida Surenian" userId="S::als0813@ads.northwestern.edu::e2fd0e4e-6417-49b0-ab16-0ba26a1719f0" providerId="AD" clId="Web-{A8A6FDFC-1230-1E0A-850E-DC5E3510C336}" dt="2023-10-19T14:09:02.567" v="251" actId="1076"/>
        <pc:sldMkLst>
          <pc:docMk/>
          <pc:sldMk cId="1976260822" sldId="299"/>
        </pc:sldMkLst>
        <pc:spChg chg="mod">
          <ac:chgData name="Aleena Lida Surenian" userId="S::als0813@ads.northwestern.edu::e2fd0e4e-6417-49b0-ab16-0ba26a1719f0" providerId="AD" clId="Web-{A8A6FDFC-1230-1E0A-850E-DC5E3510C336}" dt="2023-10-19T14:08:59.942" v="250" actId="1076"/>
          <ac:spMkLst>
            <pc:docMk/>
            <pc:sldMk cId="1976260822" sldId="299"/>
            <ac:spMk id="2" creationId="{EDE6EE7F-C16B-4045-C3DC-E4EF868A7F37}"/>
          </ac:spMkLst>
        </pc:spChg>
        <pc:spChg chg="mod">
          <ac:chgData name="Aleena Lida Surenian" userId="S::als0813@ads.northwestern.edu::e2fd0e4e-6417-49b0-ab16-0ba26a1719f0" providerId="AD" clId="Web-{A8A6FDFC-1230-1E0A-850E-DC5E3510C336}" dt="2023-10-19T14:09:02.567" v="251" actId="1076"/>
          <ac:spMkLst>
            <pc:docMk/>
            <pc:sldMk cId="1976260822" sldId="299"/>
            <ac:spMk id="3" creationId="{5BA491EF-4ED0-06C8-11F1-59D448DFDA97}"/>
          </ac:spMkLst>
        </pc:spChg>
      </pc:sldChg>
      <pc:sldChg chg="modSp add">
        <pc:chgData name="Aleena Lida Surenian" userId="S::als0813@ads.northwestern.edu::e2fd0e4e-6417-49b0-ab16-0ba26a1719f0" providerId="AD" clId="Web-{A8A6FDFC-1230-1E0A-850E-DC5E3510C336}" dt="2023-10-19T14:06:53.812" v="180" actId="20577"/>
        <pc:sldMkLst>
          <pc:docMk/>
          <pc:sldMk cId="3373422964" sldId="300"/>
        </pc:sldMkLst>
        <pc:spChg chg="mod">
          <ac:chgData name="Aleena Lida Surenian" userId="S::als0813@ads.northwestern.edu::e2fd0e4e-6417-49b0-ab16-0ba26a1719f0" providerId="AD" clId="Web-{A8A6FDFC-1230-1E0A-850E-DC5E3510C336}" dt="2023-10-19T14:03:47.914" v="23" actId="20577"/>
          <ac:spMkLst>
            <pc:docMk/>
            <pc:sldMk cId="3373422964" sldId="300"/>
            <ac:spMk id="11350" creationId="{00000000-0000-0000-0000-000000000000}"/>
          </ac:spMkLst>
        </pc:spChg>
        <pc:spChg chg="mod">
          <ac:chgData name="Aleena Lida Surenian" userId="S::als0813@ads.northwestern.edu::e2fd0e4e-6417-49b0-ab16-0ba26a1719f0" providerId="AD" clId="Web-{A8A6FDFC-1230-1E0A-850E-DC5E3510C336}" dt="2023-10-19T14:03:37.133" v="20" actId="20577"/>
          <ac:spMkLst>
            <pc:docMk/>
            <pc:sldMk cId="3373422964" sldId="300"/>
            <ac:spMk id="11355" creationId="{00000000-0000-0000-0000-000000000000}"/>
          </ac:spMkLst>
        </pc:spChg>
        <pc:spChg chg="mod">
          <ac:chgData name="Aleena Lida Surenian" userId="S::als0813@ads.northwestern.edu::e2fd0e4e-6417-49b0-ab16-0ba26a1719f0" providerId="AD" clId="Web-{A8A6FDFC-1230-1E0A-850E-DC5E3510C336}" dt="2023-10-19T14:06:53.812" v="180" actId="20577"/>
          <ac:spMkLst>
            <pc:docMk/>
            <pc:sldMk cId="3373422964" sldId="300"/>
            <ac:spMk id="11357" creationId="{00000000-0000-0000-0000-000000000000}"/>
          </ac:spMkLst>
        </pc:spChg>
        <pc:spChg chg="mod">
          <ac:chgData name="Aleena Lida Surenian" userId="S::als0813@ads.northwestern.edu::e2fd0e4e-6417-49b0-ab16-0ba26a1719f0" providerId="AD" clId="Web-{A8A6FDFC-1230-1E0A-850E-DC5E3510C336}" dt="2023-10-19T14:05:46.419" v="162" actId="20577"/>
          <ac:spMkLst>
            <pc:docMk/>
            <pc:sldMk cId="3373422964" sldId="300"/>
            <ac:spMk id="11361" creationId="{00000000-0000-0000-0000-000000000000}"/>
          </ac:spMkLst>
        </pc:spChg>
        <pc:spChg chg="mod">
          <ac:chgData name="Aleena Lida Surenian" userId="S::als0813@ads.northwestern.edu::e2fd0e4e-6417-49b0-ab16-0ba26a1719f0" providerId="AD" clId="Web-{A8A6FDFC-1230-1E0A-850E-DC5E3510C336}" dt="2023-10-19T14:05:50.075" v="163" actId="20577"/>
          <ac:spMkLst>
            <pc:docMk/>
            <pc:sldMk cId="3373422964" sldId="300"/>
            <ac:spMk id="11363" creationId="{00000000-0000-0000-0000-000000000000}"/>
          </ac:spMkLst>
        </pc:spChg>
        <pc:spChg chg="mod">
          <ac:chgData name="Aleena Lida Surenian" userId="S::als0813@ads.northwestern.edu::e2fd0e4e-6417-49b0-ab16-0ba26a1719f0" providerId="AD" clId="Web-{A8A6FDFC-1230-1E0A-850E-DC5E3510C336}" dt="2023-10-19T14:05:35.637" v="159" actId="20577"/>
          <ac:spMkLst>
            <pc:docMk/>
            <pc:sldMk cId="3373422964" sldId="300"/>
            <ac:spMk id="11365" creationId="{00000000-0000-0000-0000-000000000000}"/>
          </ac:spMkLst>
        </pc:spChg>
      </pc:sldChg>
      <pc:sldChg chg="modSp add">
        <pc:chgData name="Aleena Lida Surenian" userId="S::als0813@ads.northwestern.edu::e2fd0e4e-6417-49b0-ab16-0ba26a1719f0" providerId="AD" clId="Web-{A8A6FDFC-1230-1E0A-850E-DC5E3510C336}" dt="2023-10-19T14:25:11.402" v="294" actId="20577"/>
        <pc:sldMkLst>
          <pc:docMk/>
          <pc:sldMk cId="2345535808" sldId="301"/>
        </pc:sldMkLst>
        <pc:spChg chg="mod">
          <ac:chgData name="Aleena Lida Surenian" userId="S::als0813@ads.northwestern.edu::e2fd0e4e-6417-49b0-ab16-0ba26a1719f0" providerId="AD" clId="Web-{A8A6FDFC-1230-1E0A-850E-DC5E3510C336}" dt="2023-10-19T14:25:11.402" v="294" actId="20577"/>
          <ac:spMkLst>
            <pc:docMk/>
            <pc:sldMk cId="2345535808" sldId="301"/>
            <ac:spMk id="27" creationId="{00000000-0000-0000-0000-000000000000}"/>
          </ac:spMkLst>
        </pc:spChg>
      </pc:sldChg>
      <pc:sldChg chg="delSp modSp add">
        <pc:chgData name="Aleena Lida Surenian" userId="S::als0813@ads.northwestern.edu::e2fd0e4e-6417-49b0-ab16-0ba26a1719f0" providerId="AD" clId="Web-{A8A6FDFC-1230-1E0A-850E-DC5E3510C336}" dt="2023-10-19T14:30:11.524" v="381" actId="1076"/>
        <pc:sldMkLst>
          <pc:docMk/>
          <pc:sldMk cId="4151258007" sldId="302"/>
        </pc:sldMkLst>
        <pc:spChg chg="mod">
          <ac:chgData name="Aleena Lida Surenian" userId="S::als0813@ads.northwestern.edu::e2fd0e4e-6417-49b0-ab16-0ba26a1719f0" providerId="AD" clId="Web-{A8A6FDFC-1230-1E0A-850E-DC5E3510C336}" dt="2023-10-19T14:26:36.531" v="313" actId="20577"/>
          <ac:spMkLst>
            <pc:docMk/>
            <pc:sldMk cId="4151258007" sldId="302"/>
            <ac:spMk id="13" creationId="{00000000-0000-0000-0000-000000000000}"/>
          </ac:spMkLst>
        </pc:spChg>
        <pc:spChg chg="del mod topLvl">
          <ac:chgData name="Aleena Lida Surenian" userId="S::als0813@ads.northwestern.edu::e2fd0e4e-6417-49b0-ab16-0ba26a1719f0" providerId="AD" clId="Web-{A8A6FDFC-1230-1E0A-850E-DC5E3510C336}" dt="2023-10-19T14:26:18.311" v="305"/>
          <ac:spMkLst>
            <pc:docMk/>
            <pc:sldMk cId="4151258007" sldId="302"/>
            <ac:spMk id="15" creationId="{00000000-0000-0000-0000-000000000000}"/>
          </ac:spMkLst>
        </pc:spChg>
        <pc:spChg chg="del topLvl">
          <ac:chgData name="Aleena Lida Surenian" userId="S::als0813@ads.northwestern.edu::e2fd0e4e-6417-49b0-ab16-0ba26a1719f0" providerId="AD" clId="Web-{A8A6FDFC-1230-1E0A-850E-DC5E3510C336}" dt="2023-10-19T14:26:06.983" v="299"/>
          <ac:spMkLst>
            <pc:docMk/>
            <pc:sldMk cId="4151258007" sldId="302"/>
            <ac:spMk id="16" creationId="{00000000-0000-0000-0000-000000000000}"/>
          </ac:spMkLst>
        </pc:spChg>
        <pc:spChg chg="del">
          <ac:chgData name="Aleena Lida Surenian" userId="S::als0813@ads.northwestern.edu::e2fd0e4e-6417-49b0-ab16-0ba26a1719f0" providerId="AD" clId="Web-{A8A6FDFC-1230-1E0A-850E-DC5E3510C336}" dt="2023-10-19T14:26:09.561" v="300"/>
          <ac:spMkLst>
            <pc:docMk/>
            <pc:sldMk cId="4151258007" sldId="302"/>
            <ac:spMk id="17" creationId="{00000000-0000-0000-0000-000000000000}"/>
          </ac:spMkLst>
        </pc:spChg>
        <pc:spChg chg="mod">
          <ac:chgData name="Aleena Lida Surenian" userId="S::als0813@ads.northwestern.edu::e2fd0e4e-6417-49b0-ab16-0ba26a1719f0" providerId="AD" clId="Web-{A8A6FDFC-1230-1E0A-850E-DC5E3510C336}" dt="2023-10-19T14:26:33.749" v="308" actId="20577"/>
          <ac:spMkLst>
            <pc:docMk/>
            <pc:sldMk cId="4151258007" sldId="302"/>
            <ac:spMk id="18" creationId="{00000000-0000-0000-0000-000000000000}"/>
          </ac:spMkLst>
        </pc:spChg>
        <pc:spChg chg="del">
          <ac:chgData name="Aleena Lida Surenian" userId="S::als0813@ads.northwestern.edu::e2fd0e4e-6417-49b0-ab16-0ba26a1719f0" providerId="AD" clId="Web-{A8A6FDFC-1230-1E0A-850E-DC5E3510C336}" dt="2023-10-19T14:26:50.297" v="317"/>
          <ac:spMkLst>
            <pc:docMk/>
            <pc:sldMk cId="4151258007" sldId="302"/>
            <ac:spMk id="19" creationId="{00000000-0000-0000-0000-000000000000}"/>
          </ac:spMkLst>
        </pc:spChg>
        <pc:spChg chg="del">
          <ac:chgData name="Aleena Lida Surenian" userId="S::als0813@ads.northwestern.edu::e2fd0e4e-6417-49b0-ab16-0ba26a1719f0" providerId="AD" clId="Web-{A8A6FDFC-1230-1E0A-850E-DC5E3510C336}" dt="2023-10-19T14:26:51.234" v="318"/>
          <ac:spMkLst>
            <pc:docMk/>
            <pc:sldMk cId="4151258007" sldId="302"/>
            <ac:spMk id="20" creationId="{00000000-0000-0000-0000-000000000000}"/>
          </ac:spMkLst>
        </pc:spChg>
        <pc:spChg chg="del">
          <ac:chgData name="Aleena Lida Surenian" userId="S::als0813@ads.northwestern.edu::e2fd0e4e-6417-49b0-ab16-0ba26a1719f0" providerId="AD" clId="Web-{A8A6FDFC-1230-1E0A-850E-DC5E3510C336}" dt="2023-10-19T14:26:52.828" v="319"/>
          <ac:spMkLst>
            <pc:docMk/>
            <pc:sldMk cId="4151258007" sldId="302"/>
            <ac:spMk id="21" creationId="{00000000-0000-0000-0000-000000000000}"/>
          </ac:spMkLst>
        </pc:spChg>
        <pc:spChg chg="del topLvl">
          <ac:chgData name="Aleena Lida Surenian" userId="S::als0813@ads.northwestern.edu::e2fd0e4e-6417-49b0-ab16-0ba26a1719f0" providerId="AD" clId="Web-{A8A6FDFC-1230-1E0A-850E-DC5E3510C336}" dt="2023-10-19T14:26:13.686" v="303"/>
          <ac:spMkLst>
            <pc:docMk/>
            <pc:sldMk cId="4151258007" sldId="302"/>
            <ac:spMk id="23" creationId="{00000000-0000-0000-0000-000000000000}"/>
          </ac:spMkLst>
        </pc:spChg>
        <pc:spChg chg="del mod topLvl">
          <ac:chgData name="Aleena Lida Surenian" userId="S::als0813@ads.northwestern.edu::e2fd0e4e-6417-49b0-ab16-0ba26a1719f0" providerId="AD" clId="Web-{A8A6FDFC-1230-1E0A-850E-DC5E3510C336}" dt="2023-10-19T14:26:09.795" v="302"/>
          <ac:spMkLst>
            <pc:docMk/>
            <pc:sldMk cId="4151258007" sldId="302"/>
            <ac:spMk id="24" creationId="{00000000-0000-0000-0000-000000000000}"/>
          </ac:spMkLst>
        </pc:spChg>
        <pc:grpChg chg="del">
          <ac:chgData name="Aleena Lida Surenian" userId="S::als0813@ads.northwestern.edu::e2fd0e4e-6417-49b0-ab16-0ba26a1719f0" providerId="AD" clId="Web-{A8A6FDFC-1230-1E0A-850E-DC5E3510C336}" dt="2023-10-19T14:26:47.953" v="316"/>
          <ac:grpSpMkLst>
            <pc:docMk/>
            <pc:sldMk cId="4151258007" sldId="302"/>
            <ac:grpSpMk id="2" creationId="{00000000-0000-0000-0000-000000000000}"/>
          </ac:grpSpMkLst>
        </pc:grpChg>
        <pc:grpChg chg="del">
          <ac:chgData name="Aleena Lida Surenian" userId="S::als0813@ads.northwestern.edu::e2fd0e4e-6417-49b0-ab16-0ba26a1719f0" providerId="AD" clId="Web-{A8A6FDFC-1230-1E0A-850E-DC5E3510C336}" dt="2023-10-19T14:26:44.281" v="314"/>
          <ac:grpSpMkLst>
            <pc:docMk/>
            <pc:sldMk cId="4151258007" sldId="302"/>
            <ac:grpSpMk id="5" creationId="{00000000-0000-0000-0000-000000000000}"/>
          </ac:grpSpMkLst>
        </pc:grpChg>
        <pc:grpChg chg="del">
          <ac:chgData name="Aleena Lida Surenian" userId="S::als0813@ads.northwestern.edu::e2fd0e4e-6417-49b0-ab16-0ba26a1719f0" providerId="AD" clId="Web-{A8A6FDFC-1230-1E0A-850E-DC5E3510C336}" dt="2023-10-19T14:26:45.234" v="315"/>
          <ac:grpSpMkLst>
            <pc:docMk/>
            <pc:sldMk cId="4151258007" sldId="302"/>
            <ac:grpSpMk id="8" creationId="{00000000-0000-0000-0000-000000000000}"/>
          </ac:grpSpMkLst>
        </pc:grpChg>
        <pc:grpChg chg="mod">
          <ac:chgData name="Aleena Lida Surenian" userId="S::als0813@ads.northwestern.edu::e2fd0e4e-6417-49b0-ab16-0ba26a1719f0" providerId="AD" clId="Web-{A8A6FDFC-1230-1E0A-850E-DC5E3510C336}" dt="2023-10-19T14:30:11.524" v="381" actId="1076"/>
          <ac:grpSpMkLst>
            <pc:docMk/>
            <pc:sldMk cId="4151258007" sldId="302"/>
            <ac:grpSpMk id="11" creationId="{00000000-0000-0000-0000-000000000000}"/>
          </ac:grpSpMkLst>
        </pc:grpChg>
        <pc:grpChg chg="del">
          <ac:chgData name="Aleena Lida Surenian" userId="S::als0813@ads.northwestern.edu::e2fd0e4e-6417-49b0-ab16-0ba26a1719f0" providerId="AD" clId="Web-{A8A6FDFC-1230-1E0A-850E-DC5E3510C336}" dt="2023-10-19T14:26:06.983" v="299"/>
          <ac:grpSpMkLst>
            <pc:docMk/>
            <pc:sldMk cId="4151258007" sldId="302"/>
            <ac:grpSpMk id="14" creationId="{00000000-0000-0000-0000-000000000000}"/>
          </ac:grpSpMkLst>
        </pc:grpChg>
        <pc:grpChg chg="del">
          <ac:chgData name="Aleena Lida Surenian" userId="S::als0813@ads.northwestern.edu::e2fd0e4e-6417-49b0-ab16-0ba26a1719f0" providerId="AD" clId="Web-{A8A6FDFC-1230-1E0A-850E-DC5E3510C336}" dt="2023-10-19T14:26:09.795" v="302"/>
          <ac:grpSpMkLst>
            <pc:docMk/>
            <pc:sldMk cId="4151258007" sldId="302"/>
            <ac:grpSpMk id="22" creationId="{00000000-0000-0000-0000-000000000000}"/>
          </ac:grpSpMkLst>
        </pc:grpChg>
      </pc:sldChg>
      <pc:sldChg chg="delSp modSp add">
        <pc:chgData name="Aleena Lida Surenian" userId="S::als0813@ads.northwestern.edu::e2fd0e4e-6417-49b0-ab16-0ba26a1719f0" providerId="AD" clId="Web-{A8A6FDFC-1230-1E0A-850E-DC5E3510C336}" dt="2023-10-19T14:29:13.255" v="366" actId="1076"/>
        <pc:sldMkLst>
          <pc:docMk/>
          <pc:sldMk cId="2745681107" sldId="303"/>
        </pc:sldMkLst>
        <pc:spChg chg="mod">
          <ac:chgData name="Aleena Lida Surenian" userId="S::als0813@ads.northwestern.edu::e2fd0e4e-6417-49b0-ab16-0ba26a1719f0" providerId="AD" clId="Web-{A8A6FDFC-1230-1E0A-850E-DC5E3510C336}" dt="2023-10-19T14:28:47.395" v="354" actId="1076"/>
          <ac:spMkLst>
            <pc:docMk/>
            <pc:sldMk cId="2745681107" sldId="303"/>
            <ac:spMk id="6" creationId="{00000000-0000-0000-0000-000000000000}"/>
          </ac:spMkLst>
        </pc:spChg>
        <pc:spChg chg="mod">
          <ac:chgData name="Aleena Lida Surenian" userId="S::als0813@ads.northwestern.edu::e2fd0e4e-6417-49b0-ab16-0ba26a1719f0" providerId="AD" clId="Web-{A8A6FDFC-1230-1E0A-850E-DC5E3510C336}" dt="2023-10-19T14:29:13.255" v="366" actId="1076"/>
          <ac:spMkLst>
            <pc:docMk/>
            <pc:sldMk cId="2745681107" sldId="303"/>
            <ac:spMk id="7" creationId="{00000000-0000-0000-0000-000000000000}"/>
          </ac:spMkLst>
        </pc:spChg>
        <pc:spChg chg="del topLvl">
          <ac:chgData name="Aleena Lida Surenian" userId="S::als0813@ads.northwestern.edu::e2fd0e4e-6417-49b0-ab16-0ba26a1719f0" providerId="AD" clId="Web-{A8A6FDFC-1230-1E0A-850E-DC5E3510C336}" dt="2023-10-19T14:28:03.456" v="346"/>
          <ac:spMkLst>
            <pc:docMk/>
            <pc:sldMk cId="2745681107" sldId="303"/>
            <ac:spMk id="9" creationId="{00000000-0000-0000-0000-000000000000}"/>
          </ac:spMkLst>
        </pc:spChg>
        <pc:spChg chg="del mod topLvl">
          <ac:chgData name="Aleena Lida Surenian" userId="S::als0813@ads.northwestern.edu::e2fd0e4e-6417-49b0-ab16-0ba26a1719f0" providerId="AD" clId="Web-{A8A6FDFC-1230-1E0A-850E-DC5E3510C336}" dt="2023-10-19T14:28:02.284" v="345"/>
          <ac:spMkLst>
            <pc:docMk/>
            <pc:sldMk cId="2745681107" sldId="303"/>
            <ac:spMk id="10" creationId="{00000000-0000-0000-0000-000000000000}"/>
          </ac:spMkLst>
        </pc:spChg>
        <pc:spChg chg="del">
          <ac:chgData name="Aleena Lida Surenian" userId="S::als0813@ads.northwestern.edu::e2fd0e4e-6417-49b0-ab16-0ba26a1719f0" providerId="AD" clId="Web-{A8A6FDFC-1230-1E0A-850E-DC5E3510C336}" dt="2023-10-19T14:27:22.095" v="322"/>
          <ac:spMkLst>
            <pc:docMk/>
            <pc:sldMk cId="2745681107" sldId="303"/>
            <ac:spMk id="17" creationId="{00000000-0000-0000-0000-000000000000}"/>
          </ac:spMkLst>
        </pc:spChg>
        <pc:spChg chg="del">
          <ac:chgData name="Aleena Lida Surenian" userId="S::als0813@ads.northwestern.edu::e2fd0e4e-6417-49b0-ab16-0ba26a1719f0" providerId="AD" clId="Web-{A8A6FDFC-1230-1E0A-850E-DC5E3510C336}" dt="2023-10-19T14:27:31.911" v="323"/>
          <ac:spMkLst>
            <pc:docMk/>
            <pc:sldMk cId="2745681107" sldId="303"/>
            <ac:spMk id="18" creationId="{00000000-0000-0000-0000-000000000000}"/>
          </ac:spMkLst>
        </pc:spChg>
        <pc:spChg chg="mod">
          <ac:chgData name="Aleena Lida Surenian" userId="S::als0813@ads.northwestern.edu::e2fd0e4e-6417-49b0-ab16-0ba26a1719f0" providerId="AD" clId="Web-{A8A6FDFC-1230-1E0A-850E-DC5E3510C336}" dt="2023-10-19T14:28:57.708" v="361" actId="1076"/>
          <ac:spMkLst>
            <pc:docMk/>
            <pc:sldMk cId="2745681107" sldId="303"/>
            <ac:spMk id="19" creationId="{00000000-0000-0000-0000-000000000000}"/>
          </ac:spMkLst>
        </pc:spChg>
        <pc:spChg chg="del">
          <ac:chgData name="Aleena Lida Surenian" userId="S::als0813@ads.northwestern.edu::e2fd0e4e-6417-49b0-ab16-0ba26a1719f0" providerId="AD" clId="Web-{A8A6FDFC-1230-1E0A-850E-DC5E3510C336}" dt="2023-10-19T14:27:56.518" v="341"/>
          <ac:spMkLst>
            <pc:docMk/>
            <pc:sldMk cId="2745681107" sldId="303"/>
            <ac:spMk id="20" creationId="{00000000-0000-0000-0000-000000000000}"/>
          </ac:spMkLst>
        </pc:spChg>
        <pc:spChg chg="del">
          <ac:chgData name="Aleena Lida Surenian" userId="S::als0813@ads.northwestern.edu::e2fd0e4e-6417-49b0-ab16-0ba26a1719f0" providerId="AD" clId="Web-{A8A6FDFC-1230-1E0A-850E-DC5E3510C336}" dt="2023-10-19T14:27:58.049" v="342"/>
          <ac:spMkLst>
            <pc:docMk/>
            <pc:sldMk cId="2745681107" sldId="303"/>
            <ac:spMk id="21" creationId="{00000000-0000-0000-0000-000000000000}"/>
          </ac:spMkLst>
        </pc:spChg>
        <pc:spChg chg="del topLvl">
          <ac:chgData name="Aleena Lida Surenian" userId="S::als0813@ads.northwestern.edu::e2fd0e4e-6417-49b0-ab16-0ba26a1719f0" providerId="AD" clId="Web-{A8A6FDFC-1230-1E0A-850E-DC5E3510C336}" dt="2023-10-19T14:27:21.329" v="321"/>
          <ac:spMkLst>
            <pc:docMk/>
            <pc:sldMk cId="2745681107" sldId="303"/>
            <ac:spMk id="23" creationId="{00000000-0000-0000-0000-000000000000}"/>
          </ac:spMkLst>
        </pc:spChg>
        <pc:spChg chg="del topLvl">
          <ac:chgData name="Aleena Lida Surenian" userId="S::als0813@ads.northwestern.edu::e2fd0e4e-6417-49b0-ab16-0ba26a1719f0" providerId="AD" clId="Web-{A8A6FDFC-1230-1E0A-850E-DC5E3510C336}" dt="2023-10-19T14:27:18.626" v="320"/>
          <ac:spMkLst>
            <pc:docMk/>
            <pc:sldMk cId="2745681107" sldId="303"/>
            <ac:spMk id="24" creationId="{00000000-0000-0000-0000-000000000000}"/>
          </ac:spMkLst>
        </pc:spChg>
        <pc:grpChg chg="del">
          <ac:chgData name="Aleena Lida Surenian" userId="S::als0813@ads.northwestern.edu::e2fd0e4e-6417-49b0-ab16-0ba26a1719f0" providerId="AD" clId="Web-{A8A6FDFC-1230-1E0A-850E-DC5E3510C336}" dt="2023-10-19T14:27:58.612" v="343"/>
          <ac:grpSpMkLst>
            <pc:docMk/>
            <pc:sldMk cId="2745681107" sldId="303"/>
            <ac:grpSpMk id="2" creationId="{00000000-0000-0000-0000-000000000000}"/>
          </ac:grpSpMkLst>
        </pc:grpChg>
        <pc:grpChg chg="mod">
          <ac:chgData name="Aleena Lida Surenian" userId="S::als0813@ads.northwestern.edu::e2fd0e4e-6417-49b0-ab16-0ba26a1719f0" providerId="AD" clId="Web-{A8A6FDFC-1230-1E0A-850E-DC5E3510C336}" dt="2023-10-19T14:29:09.458" v="365" actId="1076"/>
          <ac:grpSpMkLst>
            <pc:docMk/>
            <pc:sldMk cId="2745681107" sldId="303"/>
            <ac:grpSpMk id="5" creationId="{00000000-0000-0000-0000-000000000000}"/>
          </ac:grpSpMkLst>
        </pc:grpChg>
        <pc:grpChg chg="del">
          <ac:chgData name="Aleena Lida Surenian" userId="S::als0813@ads.northwestern.edu::e2fd0e4e-6417-49b0-ab16-0ba26a1719f0" providerId="AD" clId="Web-{A8A6FDFC-1230-1E0A-850E-DC5E3510C336}" dt="2023-10-19T14:28:02.284" v="345"/>
          <ac:grpSpMkLst>
            <pc:docMk/>
            <pc:sldMk cId="2745681107" sldId="303"/>
            <ac:grpSpMk id="8" creationId="{00000000-0000-0000-0000-000000000000}"/>
          </ac:grpSpMkLst>
        </pc:grpChg>
        <pc:grpChg chg="del">
          <ac:chgData name="Aleena Lida Surenian" userId="S::als0813@ads.northwestern.edu::e2fd0e4e-6417-49b0-ab16-0ba26a1719f0" providerId="AD" clId="Web-{A8A6FDFC-1230-1E0A-850E-DC5E3510C336}" dt="2023-10-19T14:27:32.048" v="324"/>
          <ac:grpSpMkLst>
            <pc:docMk/>
            <pc:sldMk cId="2745681107" sldId="303"/>
            <ac:grpSpMk id="11" creationId="{00000000-0000-0000-0000-000000000000}"/>
          </ac:grpSpMkLst>
        </pc:grpChg>
        <pc:grpChg chg="del">
          <ac:chgData name="Aleena Lida Surenian" userId="S::als0813@ads.northwestern.edu::e2fd0e4e-6417-49b0-ab16-0ba26a1719f0" providerId="AD" clId="Web-{A8A6FDFC-1230-1E0A-850E-DC5E3510C336}" dt="2023-10-19T14:27:32.080" v="325"/>
          <ac:grpSpMkLst>
            <pc:docMk/>
            <pc:sldMk cId="2745681107" sldId="303"/>
            <ac:grpSpMk id="14" creationId="{00000000-0000-0000-0000-000000000000}"/>
          </ac:grpSpMkLst>
        </pc:grpChg>
        <pc:grpChg chg="del">
          <ac:chgData name="Aleena Lida Surenian" userId="S::als0813@ads.northwestern.edu::e2fd0e4e-6417-49b0-ab16-0ba26a1719f0" providerId="AD" clId="Web-{A8A6FDFC-1230-1E0A-850E-DC5E3510C336}" dt="2023-10-19T14:27:18.626" v="320"/>
          <ac:grpSpMkLst>
            <pc:docMk/>
            <pc:sldMk cId="2745681107" sldId="303"/>
            <ac:grpSpMk id="22" creationId="{00000000-0000-0000-0000-000000000000}"/>
          </ac:grpSpMkLst>
        </pc:grpChg>
      </pc:sldChg>
      <pc:sldChg chg="delSp modSp add">
        <pc:chgData name="Aleena Lida Surenian" userId="S::als0813@ads.northwestern.edu::e2fd0e4e-6417-49b0-ab16-0ba26a1719f0" providerId="AD" clId="Web-{A8A6FDFC-1230-1E0A-850E-DC5E3510C336}" dt="2023-10-19T14:29:59.523" v="379" actId="1076"/>
        <pc:sldMkLst>
          <pc:docMk/>
          <pc:sldMk cId="2359589412" sldId="304"/>
        </pc:sldMkLst>
        <pc:spChg chg="del topLvl">
          <ac:chgData name="Aleena Lida Surenian" userId="S::als0813@ads.northwestern.edu::e2fd0e4e-6417-49b0-ab16-0ba26a1719f0" providerId="AD" clId="Web-{A8A6FDFC-1230-1E0A-850E-DC5E3510C336}" dt="2023-10-19T14:29:38.413" v="375"/>
          <ac:spMkLst>
            <pc:docMk/>
            <pc:sldMk cId="2359589412" sldId="304"/>
            <ac:spMk id="3" creationId="{00000000-0000-0000-0000-000000000000}"/>
          </ac:spMkLst>
        </pc:spChg>
        <pc:spChg chg="del topLvl">
          <ac:chgData name="Aleena Lida Surenian" userId="S::als0813@ads.northwestern.edu::e2fd0e4e-6417-49b0-ab16-0ba26a1719f0" providerId="AD" clId="Web-{A8A6FDFC-1230-1E0A-850E-DC5E3510C336}" dt="2023-10-19T14:29:37.272" v="374"/>
          <ac:spMkLst>
            <pc:docMk/>
            <pc:sldMk cId="2359589412" sldId="304"/>
            <ac:spMk id="4" creationId="{00000000-0000-0000-0000-000000000000}"/>
          </ac:spMkLst>
        </pc:spChg>
        <pc:spChg chg="del">
          <ac:chgData name="Aleena Lida Surenian" userId="S::als0813@ads.northwestern.edu::e2fd0e4e-6417-49b0-ab16-0ba26a1719f0" providerId="AD" clId="Web-{A8A6FDFC-1230-1E0A-850E-DC5E3510C336}" dt="2023-10-19T14:29:21.225" v="367"/>
          <ac:spMkLst>
            <pc:docMk/>
            <pc:sldMk cId="2359589412" sldId="304"/>
            <ac:spMk id="17" creationId="{00000000-0000-0000-0000-000000000000}"/>
          </ac:spMkLst>
        </pc:spChg>
        <pc:spChg chg="del">
          <ac:chgData name="Aleena Lida Surenian" userId="S::als0813@ads.northwestern.edu::e2fd0e4e-6417-49b0-ab16-0ba26a1719f0" providerId="AD" clId="Web-{A8A6FDFC-1230-1E0A-850E-DC5E3510C336}" dt="2023-10-19T14:29:23.787" v="368"/>
          <ac:spMkLst>
            <pc:docMk/>
            <pc:sldMk cId="2359589412" sldId="304"/>
            <ac:spMk id="18" creationId="{00000000-0000-0000-0000-000000000000}"/>
          </ac:spMkLst>
        </pc:spChg>
        <pc:spChg chg="del">
          <ac:chgData name="Aleena Lida Surenian" userId="S::als0813@ads.northwestern.edu::e2fd0e4e-6417-49b0-ab16-0ba26a1719f0" providerId="AD" clId="Web-{A8A6FDFC-1230-1E0A-850E-DC5E3510C336}" dt="2023-10-19T14:29:23.897" v="369"/>
          <ac:spMkLst>
            <pc:docMk/>
            <pc:sldMk cId="2359589412" sldId="304"/>
            <ac:spMk id="19" creationId="{00000000-0000-0000-0000-000000000000}"/>
          </ac:spMkLst>
        </pc:spChg>
        <pc:spChg chg="mod">
          <ac:chgData name="Aleena Lida Surenian" userId="S::als0813@ads.northwestern.edu::e2fd0e4e-6417-49b0-ab16-0ba26a1719f0" providerId="AD" clId="Web-{A8A6FDFC-1230-1E0A-850E-DC5E3510C336}" dt="2023-10-19T14:29:51.804" v="377" actId="1076"/>
          <ac:spMkLst>
            <pc:docMk/>
            <pc:sldMk cId="2359589412" sldId="304"/>
            <ac:spMk id="20" creationId="{00000000-0000-0000-0000-000000000000}"/>
          </ac:spMkLst>
        </pc:spChg>
        <pc:spChg chg="del">
          <ac:chgData name="Aleena Lida Surenian" userId="S::als0813@ads.northwestern.edu::e2fd0e4e-6417-49b0-ab16-0ba26a1719f0" providerId="AD" clId="Web-{A8A6FDFC-1230-1E0A-850E-DC5E3510C336}" dt="2023-10-19T14:29:25.256" v="370"/>
          <ac:spMkLst>
            <pc:docMk/>
            <pc:sldMk cId="2359589412" sldId="304"/>
            <ac:spMk id="21" creationId="{00000000-0000-0000-0000-000000000000}"/>
          </ac:spMkLst>
        </pc:spChg>
        <pc:spChg chg="del topLvl">
          <ac:chgData name="Aleena Lida Surenian" userId="S::als0813@ads.northwestern.edu::e2fd0e4e-6417-49b0-ab16-0ba26a1719f0" providerId="AD" clId="Web-{A8A6FDFC-1230-1E0A-850E-DC5E3510C336}" dt="2023-10-19T14:28:18.769" v="349"/>
          <ac:spMkLst>
            <pc:docMk/>
            <pc:sldMk cId="2359589412" sldId="304"/>
            <ac:spMk id="23" creationId="{00000000-0000-0000-0000-000000000000}"/>
          </ac:spMkLst>
        </pc:spChg>
        <pc:spChg chg="del mod topLvl">
          <ac:chgData name="Aleena Lida Surenian" userId="S::als0813@ads.northwestern.edu::e2fd0e4e-6417-49b0-ab16-0ba26a1719f0" providerId="AD" clId="Web-{A8A6FDFC-1230-1E0A-850E-DC5E3510C336}" dt="2023-10-19T14:28:17.191" v="348"/>
          <ac:spMkLst>
            <pc:docMk/>
            <pc:sldMk cId="2359589412" sldId="304"/>
            <ac:spMk id="24" creationId="{00000000-0000-0000-0000-000000000000}"/>
          </ac:spMkLst>
        </pc:spChg>
        <pc:grpChg chg="del">
          <ac:chgData name="Aleena Lida Surenian" userId="S::als0813@ads.northwestern.edu::e2fd0e4e-6417-49b0-ab16-0ba26a1719f0" providerId="AD" clId="Web-{A8A6FDFC-1230-1E0A-850E-DC5E3510C336}" dt="2023-10-19T14:29:37.272" v="374"/>
          <ac:grpSpMkLst>
            <pc:docMk/>
            <pc:sldMk cId="2359589412" sldId="304"/>
            <ac:grpSpMk id="2" creationId="{00000000-0000-0000-0000-000000000000}"/>
          </ac:grpSpMkLst>
        </pc:grpChg>
        <pc:grpChg chg="del">
          <ac:chgData name="Aleena Lida Surenian" userId="S::als0813@ads.northwestern.edu::e2fd0e4e-6417-49b0-ab16-0ba26a1719f0" providerId="AD" clId="Web-{A8A6FDFC-1230-1E0A-850E-DC5E3510C336}" dt="2023-10-19T14:29:33.756" v="373"/>
          <ac:grpSpMkLst>
            <pc:docMk/>
            <pc:sldMk cId="2359589412" sldId="304"/>
            <ac:grpSpMk id="5" creationId="{00000000-0000-0000-0000-000000000000}"/>
          </ac:grpSpMkLst>
        </pc:grpChg>
        <pc:grpChg chg="mod">
          <ac:chgData name="Aleena Lida Surenian" userId="S::als0813@ads.northwestern.edu::e2fd0e4e-6417-49b0-ab16-0ba26a1719f0" providerId="AD" clId="Web-{A8A6FDFC-1230-1E0A-850E-DC5E3510C336}" dt="2023-10-19T14:29:59.523" v="379" actId="1076"/>
          <ac:grpSpMkLst>
            <pc:docMk/>
            <pc:sldMk cId="2359589412" sldId="304"/>
            <ac:grpSpMk id="8" creationId="{00000000-0000-0000-0000-000000000000}"/>
          </ac:grpSpMkLst>
        </pc:grpChg>
        <pc:grpChg chg="del">
          <ac:chgData name="Aleena Lida Surenian" userId="S::als0813@ads.northwestern.edu::e2fd0e4e-6417-49b0-ab16-0ba26a1719f0" providerId="AD" clId="Web-{A8A6FDFC-1230-1E0A-850E-DC5E3510C336}" dt="2023-10-19T14:29:33.553" v="371"/>
          <ac:grpSpMkLst>
            <pc:docMk/>
            <pc:sldMk cId="2359589412" sldId="304"/>
            <ac:grpSpMk id="11" creationId="{00000000-0000-0000-0000-000000000000}"/>
          </ac:grpSpMkLst>
        </pc:grpChg>
        <pc:grpChg chg="del">
          <ac:chgData name="Aleena Lida Surenian" userId="S::als0813@ads.northwestern.edu::e2fd0e4e-6417-49b0-ab16-0ba26a1719f0" providerId="AD" clId="Web-{A8A6FDFC-1230-1E0A-850E-DC5E3510C336}" dt="2023-10-19T14:29:33.725" v="372"/>
          <ac:grpSpMkLst>
            <pc:docMk/>
            <pc:sldMk cId="2359589412" sldId="304"/>
            <ac:grpSpMk id="14" creationId="{00000000-0000-0000-0000-000000000000}"/>
          </ac:grpSpMkLst>
        </pc:grpChg>
        <pc:grpChg chg="del">
          <ac:chgData name="Aleena Lida Surenian" userId="S::als0813@ads.northwestern.edu::e2fd0e4e-6417-49b0-ab16-0ba26a1719f0" providerId="AD" clId="Web-{A8A6FDFC-1230-1E0A-850E-DC5E3510C336}" dt="2023-10-19T14:28:17.191" v="348"/>
          <ac:grpSpMkLst>
            <pc:docMk/>
            <pc:sldMk cId="2359589412" sldId="304"/>
            <ac:grpSpMk id="22" creationId="{00000000-0000-0000-0000-000000000000}"/>
          </ac:grpSpMkLst>
        </pc:grpChg>
      </pc:sldChg>
      <pc:sldChg chg="add">
        <pc:chgData name="Aleena Lida Surenian" userId="S::als0813@ads.northwestern.edu::e2fd0e4e-6417-49b0-ab16-0ba26a1719f0" providerId="AD" clId="Web-{A8A6FDFC-1230-1E0A-850E-DC5E3510C336}" dt="2023-10-19T14:25:58.467" v="298"/>
        <pc:sldMkLst>
          <pc:docMk/>
          <pc:sldMk cId="3622820593" sldId="305"/>
        </pc:sldMkLst>
      </pc:sldChg>
      <pc:sldMasterChg chg="add addSldLayout">
        <pc:chgData name="Aleena Lida Surenian" userId="S::als0813@ads.northwestern.edu::e2fd0e4e-6417-49b0-ab16-0ba26a1719f0" providerId="AD" clId="Web-{A8A6FDFC-1230-1E0A-850E-DC5E3510C336}" dt="2023-10-19T14:02:43.615" v="4"/>
        <pc:sldMasterMkLst>
          <pc:docMk/>
          <pc:sldMasterMk cId="0" sldId="2147483648"/>
        </pc:sldMasterMkLst>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649"/>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650"/>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651"/>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652"/>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653"/>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654"/>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655"/>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656"/>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657"/>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658"/>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659"/>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660"/>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661"/>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662"/>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663"/>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664"/>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665"/>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666"/>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667"/>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668"/>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669"/>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670"/>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671"/>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672"/>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673"/>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674"/>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675"/>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677"/>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678"/>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679"/>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680"/>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682"/>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683"/>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684"/>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685"/>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686"/>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687"/>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688"/>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689"/>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690"/>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691"/>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692"/>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693"/>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694"/>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695"/>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696"/>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697"/>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698"/>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699"/>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00"/>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01"/>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02"/>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03"/>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04"/>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05"/>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14"/>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15"/>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20"/>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22"/>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23"/>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24"/>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25"/>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26"/>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28"/>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29"/>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30"/>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31"/>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32"/>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33"/>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34"/>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35"/>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36"/>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37"/>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38"/>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39"/>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40"/>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42"/>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43"/>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44"/>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45"/>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46"/>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47"/>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48"/>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49"/>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50"/>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51"/>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52"/>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53"/>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54"/>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55"/>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56"/>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57"/>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58"/>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59"/>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60"/>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61"/>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62"/>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63"/>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64"/>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65"/>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66"/>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67"/>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68"/>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69"/>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70"/>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71"/>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72"/>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73"/>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74"/>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75"/>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76"/>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77"/>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78"/>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79"/>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80"/>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81"/>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82"/>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83"/>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84"/>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85"/>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86"/>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87"/>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88"/>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89"/>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90"/>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91"/>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92"/>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93"/>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94"/>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95"/>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96"/>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97"/>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98"/>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799"/>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00"/>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01"/>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02"/>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03"/>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04"/>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05"/>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06"/>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07"/>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08"/>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09"/>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10"/>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11"/>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12"/>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13"/>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14"/>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15"/>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16"/>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17"/>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18"/>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19"/>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20"/>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21"/>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22"/>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23"/>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24"/>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25"/>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26"/>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27"/>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28"/>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29"/>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30"/>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31"/>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32"/>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33"/>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34"/>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35"/>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36"/>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37"/>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38"/>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39"/>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40"/>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41"/>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42"/>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43"/>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44"/>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45"/>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46"/>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47"/>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48"/>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49"/>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50"/>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51"/>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52"/>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53"/>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54"/>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55"/>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56"/>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57"/>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58"/>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59"/>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60"/>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61"/>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62"/>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63"/>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64"/>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65"/>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66"/>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67"/>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69"/>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70"/>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71"/>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72"/>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73"/>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74"/>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75"/>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76"/>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79"/>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80"/>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81"/>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82"/>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83"/>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84"/>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86"/>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87"/>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88"/>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89"/>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90"/>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91"/>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92"/>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93"/>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94"/>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95"/>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96"/>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97"/>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98"/>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899"/>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900"/>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901"/>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902"/>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903"/>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904"/>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905"/>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906"/>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907"/>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908"/>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909"/>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910"/>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911"/>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912"/>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913"/>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914"/>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915"/>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916"/>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917"/>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918"/>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919"/>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3920"/>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6060"/>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6071"/>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6079"/>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6087"/>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6088"/>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6090"/>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6091"/>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6092"/>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6109"/>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6118"/>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6136"/>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6137"/>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6347"/>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6348"/>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6349"/>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6350"/>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6351"/>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6352"/>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6353"/>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6354"/>
          </pc:sldLayoutMkLst>
        </pc:sldLayoutChg>
        <pc:sldLayoutChg chg="add">
          <pc:chgData name="Aleena Lida Surenian" userId="S::als0813@ads.northwestern.edu::e2fd0e4e-6417-49b0-ab16-0ba26a1719f0" providerId="AD" clId="Web-{A8A6FDFC-1230-1E0A-850E-DC5E3510C336}" dt="2023-10-19T14:02:43.615" v="4"/>
          <pc:sldLayoutMkLst>
            <pc:docMk/>
            <pc:sldMasterMk cId="0" sldId="2147483648"/>
            <pc:sldLayoutMk cId="0" sldId="2147486355"/>
          </pc:sldLayoutMkLst>
        </pc:sldLayoutChg>
      </pc:sldMasterChg>
      <pc:sldMasterChg chg="modSldLayout">
        <pc:chgData name="Aleena Lida Surenian" userId="S::als0813@ads.northwestern.edu::e2fd0e4e-6417-49b0-ab16-0ba26a1719f0" providerId="AD" clId="Web-{A8A6FDFC-1230-1E0A-850E-DC5E3510C336}" dt="2023-10-19T14:02:43.615" v="4"/>
        <pc:sldMasterMkLst>
          <pc:docMk/>
          <pc:sldMasterMk cId="560092682" sldId="2147487158"/>
        </pc:sldMasterMkLst>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980529727" sldId="2147487237"/>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1339690513" sldId="2147487238"/>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3220637423" sldId="2147487239"/>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4041914057" sldId="2147487240"/>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1584230286" sldId="2147487241"/>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3610496501" sldId="2147487242"/>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791199215" sldId="2147487243"/>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1629515799" sldId="2147487244"/>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2448436128" sldId="2147487245"/>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3430479694" sldId="2147487246"/>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25964228" sldId="2147487247"/>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1003719949" sldId="2147487248"/>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1590515151" sldId="2147487249"/>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3478274380" sldId="2147487250"/>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3308841809" sldId="2147487251"/>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1603686679" sldId="2147487252"/>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2604450066" sldId="2147487253"/>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4065481949" sldId="2147487254"/>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3614801019" sldId="2147487255"/>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1907914573" sldId="2147487256"/>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1707651266" sldId="2147487257"/>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1018896833" sldId="2147487258"/>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309320368" sldId="2147487259"/>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3967421487" sldId="2147487260"/>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1983143663" sldId="2147487261"/>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1998157548" sldId="2147487262"/>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3965875377" sldId="2147487263"/>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1059781530" sldId="2147487264"/>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1991876091" sldId="2147487265"/>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3981815734" sldId="2147487266"/>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335213743" sldId="2147487267"/>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241114809" sldId="2147487268"/>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3253572214" sldId="2147487269"/>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2147740735" sldId="2147487270"/>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1095849402" sldId="2147487271"/>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662217939" sldId="2147487272"/>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10629127" sldId="2147487273"/>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2732741348" sldId="2147487274"/>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2042047047" sldId="2147487275"/>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1983143663" sldId="2147487276"/>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1803572776" sldId="2147487277"/>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1298479306" sldId="2147487278"/>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985636675" sldId="2147487279"/>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1480140117" sldId="2147487280"/>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4275016611" sldId="2147487281"/>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61954738" sldId="2147487282"/>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3572710091" sldId="2147487283"/>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462430371" sldId="2147487284"/>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4288036761" sldId="2147487285"/>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3882342115" sldId="2147487286"/>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914054778" sldId="2147487287"/>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2404300062" sldId="2147487288"/>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3436486368" sldId="2147487289"/>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3670705443" sldId="2147487290"/>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2548020355" sldId="2147487291"/>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1062208845" sldId="2147487292"/>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829070028" sldId="2147487293"/>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3789649185" sldId="2147487294"/>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848626561" sldId="2147487295"/>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576538025" sldId="2147487296"/>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1724847678" sldId="2147487297"/>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2083649414" sldId="2147487298"/>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397111013" sldId="2147487299"/>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2000008366" sldId="2147487300"/>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2318321361" sldId="2147487301"/>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559555195" sldId="2147487302"/>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1741522953" sldId="2147487303"/>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1496907520" sldId="2147487307"/>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1362774728" sldId="2147487308"/>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2627363329" sldId="2147487309"/>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3069300124" sldId="2147487310"/>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2459463894" sldId="2147487311"/>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1752727692" sldId="2147487312"/>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3386647170" sldId="2147487313"/>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4226791542" sldId="2147487314"/>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3169632276" sldId="2147487315"/>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3543247745" sldId="2147487316"/>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3663663494" sldId="2147487317"/>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797839732" sldId="2147487318"/>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309320368" sldId="2147487319"/>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3610496501" sldId="2147487320"/>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3829198981" sldId="2147487321"/>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4290579671" sldId="2147487322"/>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1491955889" sldId="2147487323"/>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2069414299" sldId="2147487324"/>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3756972729" sldId="2147487325"/>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2541926387" sldId="2147487326"/>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3486669273" sldId="2147487327"/>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3610922533" sldId="2147487328"/>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3065841725" sldId="2147487329"/>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4010596175" sldId="2147487330"/>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1316315189" sldId="2147487331"/>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151008025" sldId="2147487332"/>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3393792943" sldId="2147487333"/>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3175092572" sldId="2147487334"/>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2488716721" sldId="2147487335"/>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4145037749" sldId="2147487336"/>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2486002367" sldId="2147487337"/>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1939855488" sldId="2147487338"/>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4121826003" sldId="2147487339"/>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875499530" sldId="2147487340"/>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201596344" sldId="2147487341"/>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3193561641" sldId="2147487342"/>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2845267698" sldId="2147487343"/>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4175297497" sldId="2147487344"/>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1578663217" sldId="2147487345"/>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2820774020" sldId="2147487346"/>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3834594192" sldId="2147487347"/>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2356315279" sldId="2147487348"/>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1100288109" sldId="2147487349"/>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2796376101" sldId="2147487350"/>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1892886451" sldId="2147487351"/>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2806159376" sldId="2147487352"/>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1088616943" sldId="2147487353"/>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2246938417" sldId="2147487354"/>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2483550571" sldId="2147487355"/>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4220877040" sldId="2147487356"/>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358278594" sldId="2147487357"/>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1489404483" sldId="2147487358"/>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403478424" sldId="2147487359"/>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3859098044" sldId="2147487360"/>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2945276364" sldId="2147487361"/>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618021461" sldId="2147487362"/>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2675864542" sldId="2147487363"/>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1978282302" sldId="2147487364"/>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237104982" sldId="2147487365"/>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3795372134" sldId="2147487366"/>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2217828020" sldId="2147487367"/>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3627648628" sldId="2147487368"/>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1326122543" sldId="2147487369"/>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1462054694" sldId="2147487370"/>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329055294" sldId="2147487371"/>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986171260" sldId="2147487372"/>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2080090535" sldId="2147487373"/>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127921214" sldId="2147487374"/>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241920976" sldId="2147487375"/>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1635804420" sldId="2147487376"/>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60585276" sldId="2147487377"/>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2309666298" sldId="2147487378"/>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1656760714" sldId="2147487379"/>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935649411" sldId="2147487380"/>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551432267" sldId="2147487381"/>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480461207" sldId="2147487382"/>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1873984959" sldId="2147487383"/>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3729066305" sldId="2147487384"/>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308668804" sldId="2147487636"/>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1801862111" sldId="2147487637"/>
          </pc:sldLayoutMkLst>
        </pc:sldLayoutChg>
        <pc:sldLayoutChg chg="replId">
          <pc:chgData name="Aleena Lida Surenian" userId="S::als0813@ads.northwestern.edu::e2fd0e4e-6417-49b0-ab16-0ba26a1719f0" providerId="AD" clId="Web-{A8A6FDFC-1230-1E0A-850E-DC5E3510C336}" dt="2023-10-19T14:02:43.615" v="4"/>
          <pc:sldLayoutMkLst>
            <pc:docMk/>
            <pc:sldMasterMk cId="560092682" sldId="2147487158"/>
            <pc:sldLayoutMk cId="1957949696" sldId="2147487638"/>
          </pc:sldLayoutMkLst>
        </pc:sldLayoutChg>
      </pc:sldMasterChg>
      <pc:sldMasterChg chg="add addSldLayout">
        <pc:chgData name="Aleena Lida Surenian" userId="S::als0813@ads.northwestern.edu::e2fd0e4e-6417-49b0-ab16-0ba26a1719f0" providerId="AD" clId="Web-{A8A6FDFC-1230-1E0A-850E-DC5E3510C336}" dt="2023-10-19T14:24:09.697" v="265"/>
        <pc:sldMasterMkLst>
          <pc:docMk/>
          <pc:sldMasterMk cId="0" sldId="2147487385"/>
        </pc:sldMasterMkLst>
        <pc:sldLayoutChg chg="add">
          <pc:chgData name="Aleena Lida Surenian" userId="S::als0813@ads.northwestern.edu::e2fd0e4e-6417-49b0-ab16-0ba26a1719f0" providerId="AD" clId="Web-{A8A6FDFC-1230-1E0A-850E-DC5E3510C336}" dt="2023-10-19T14:24:09.697" v="265"/>
          <pc:sldLayoutMkLst>
            <pc:docMk/>
            <pc:sldMasterMk cId="0" sldId="2147487385"/>
            <pc:sldLayoutMk cId="0" sldId="2147487386"/>
          </pc:sldLayoutMkLst>
        </pc:sldLayoutChg>
        <pc:sldLayoutChg chg="add">
          <pc:chgData name="Aleena Lida Surenian" userId="S::als0813@ads.northwestern.edu::e2fd0e4e-6417-49b0-ab16-0ba26a1719f0" providerId="AD" clId="Web-{A8A6FDFC-1230-1E0A-850E-DC5E3510C336}" dt="2023-10-19T14:24:09.697" v="265"/>
          <pc:sldLayoutMkLst>
            <pc:docMk/>
            <pc:sldMasterMk cId="0" sldId="2147487385"/>
            <pc:sldLayoutMk cId="0" sldId="2147487387"/>
          </pc:sldLayoutMkLst>
        </pc:sldLayoutChg>
        <pc:sldLayoutChg chg="add">
          <pc:chgData name="Aleena Lida Surenian" userId="S::als0813@ads.northwestern.edu::e2fd0e4e-6417-49b0-ab16-0ba26a1719f0" providerId="AD" clId="Web-{A8A6FDFC-1230-1E0A-850E-DC5E3510C336}" dt="2023-10-19T14:24:09.697" v="265"/>
          <pc:sldLayoutMkLst>
            <pc:docMk/>
            <pc:sldMasterMk cId="0" sldId="2147487385"/>
            <pc:sldLayoutMk cId="0" sldId="2147487388"/>
          </pc:sldLayoutMkLst>
        </pc:sldLayoutChg>
        <pc:sldLayoutChg chg="add">
          <pc:chgData name="Aleena Lida Surenian" userId="S::als0813@ads.northwestern.edu::e2fd0e4e-6417-49b0-ab16-0ba26a1719f0" providerId="AD" clId="Web-{A8A6FDFC-1230-1E0A-850E-DC5E3510C336}" dt="2023-10-19T14:24:09.697" v="265"/>
          <pc:sldLayoutMkLst>
            <pc:docMk/>
            <pc:sldMasterMk cId="0" sldId="2147487385"/>
            <pc:sldLayoutMk cId="0" sldId="2147487389"/>
          </pc:sldLayoutMkLst>
        </pc:sldLayoutChg>
        <pc:sldLayoutChg chg="add">
          <pc:chgData name="Aleena Lida Surenian" userId="S::als0813@ads.northwestern.edu::e2fd0e4e-6417-49b0-ab16-0ba26a1719f0" providerId="AD" clId="Web-{A8A6FDFC-1230-1E0A-850E-DC5E3510C336}" dt="2023-10-19T14:24:09.697" v="265"/>
          <pc:sldLayoutMkLst>
            <pc:docMk/>
            <pc:sldMasterMk cId="0" sldId="2147487385"/>
            <pc:sldLayoutMk cId="0" sldId="2147487390"/>
          </pc:sldLayoutMkLst>
        </pc:sldLayoutChg>
        <pc:sldLayoutChg chg="add">
          <pc:chgData name="Aleena Lida Surenian" userId="S::als0813@ads.northwestern.edu::e2fd0e4e-6417-49b0-ab16-0ba26a1719f0" providerId="AD" clId="Web-{A8A6FDFC-1230-1E0A-850E-DC5E3510C336}" dt="2023-10-19T14:24:09.697" v="265"/>
          <pc:sldLayoutMkLst>
            <pc:docMk/>
            <pc:sldMasterMk cId="0" sldId="2147487385"/>
            <pc:sldLayoutMk cId="0" sldId="2147487391"/>
          </pc:sldLayoutMkLst>
        </pc:sldLayoutChg>
        <pc:sldLayoutChg chg="add">
          <pc:chgData name="Aleena Lida Surenian" userId="S::als0813@ads.northwestern.edu::e2fd0e4e-6417-49b0-ab16-0ba26a1719f0" providerId="AD" clId="Web-{A8A6FDFC-1230-1E0A-850E-DC5E3510C336}" dt="2023-10-19T14:24:09.697" v="265"/>
          <pc:sldLayoutMkLst>
            <pc:docMk/>
            <pc:sldMasterMk cId="0" sldId="2147487385"/>
            <pc:sldLayoutMk cId="0" sldId="2147487392"/>
          </pc:sldLayoutMkLst>
        </pc:sldLayoutChg>
        <pc:sldLayoutChg chg="add">
          <pc:chgData name="Aleena Lida Surenian" userId="S::als0813@ads.northwestern.edu::e2fd0e4e-6417-49b0-ab16-0ba26a1719f0" providerId="AD" clId="Web-{A8A6FDFC-1230-1E0A-850E-DC5E3510C336}" dt="2023-10-19T14:24:09.697" v="265"/>
          <pc:sldLayoutMkLst>
            <pc:docMk/>
            <pc:sldMasterMk cId="0" sldId="2147487385"/>
            <pc:sldLayoutMk cId="0" sldId="2147487393"/>
          </pc:sldLayoutMkLst>
        </pc:sldLayoutChg>
        <pc:sldLayoutChg chg="add">
          <pc:chgData name="Aleena Lida Surenian" userId="S::als0813@ads.northwestern.edu::e2fd0e4e-6417-49b0-ab16-0ba26a1719f0" providerId="AD" clId="Web-{A8A6FDFC-1230-1E0A-850E-DC5E3510C336}" dt="2023-10-19T14:24:09.697" v="265"/>
          <pc:sldLayoutMkLst>
            <pc:docMk/>
            <pc:sldMasterMk cId="0" sldId="2147487385"/>
            <pc:sldLayoutMk cId="0" sldId="2147487394"/>
          </pc:sldLayoutMkLst>
        </pc:sldLayoutChg>
        <pc:sldLayoutChg chg="add">
          <pc:chgData name="Aleena Lida Surenian" userId="S::als0813@ads.northwestern.edu::e2fd0e4e-6417-49b0-ab16-0ba26a1719f0" providerId="AD" clId="Web-{A8A6FDFC-1230-1E0A-850E-DC5E3510C336}" dt="2023-10-19T14:24:09.697" v="265"/>
          <pc:sldLayoutMkLst>
            <pc:docMk/>
            <pc:sldMasterMk cId="0" sldId="2147487385"/>
            <pc:sldLayoutMk cId="0" sldId="2147487395"/>
          </pc:sldLayoutMkLst>
        </pc:sldLayoutChg>
        <pc:sldLayoutChg chg="add">
          <pc:chgData name="Aleena Lida Surenian" userId="S::als0813@ads.northwestern.edu::e2fd0e4e-6417-49b0-ab16-0ba26a1719f0" providerId="AD" clId="Web-{A8A6FDFC-1230-1E0A-850E-DC5E3510C336}" dt="2023-10-19T14:24:09.697" v="265"/>
          <pc:sldLayoutMkLst>
            <pc:docMk/>
            <pc:sldMasterMk cId="0" sldId="2147487385"/>
            <pc:sldLayoutMk cId="0" sldId="2147487396"/>
          </pc:sldLayoutMkLst>
        </pc:sldLayoutChg>
      </pc:sldMasterChg>
    </pc:docChg>
  </pc:docChgLst>
  <pc:docChgLst>
    <pc:chgData name="Aleena Lida Surenian" userId="S::als0813@ads.northwestern.edu::e2fd0e4e-6417-49b0-ab16-0ba26a1719f0" providerId="AD" clId="Web-{69900CFE-5F1D-3447-652C-765EC062E95C}"/>
    <pc:docChg chg="mod addSld delSld sldOrd">
      <pc:chgData name="Aleena Lida Surenian" userId="S::als0813@ads.northwestern.edu::e2fd0e4e-6417-49b0-ab16-0ba26a1719f0" providerId="AD" clId="Web-{69900CFE-5F1D-3447-652C-765EC062E95C}" dt="2023-10-26T22:04:00.953" v="13"/>
      <pc:docMkLst>
        <pc:docMk/>
      </pc:docMkLst>
      <pc:sldChg chg="modCm">
        <pc:chgData name="Aleena Lida Surenian" userId="S::als0813@ads.northwestern.edu::e2fd0e4e-6417-49b0-ab16-0ba26a1719f0" providerId="AD" clId="Web-{69900CFE-5F1D-3447-652C-765EC062E95C}" dt="2023-10-26T19:57:09.174" v="1"/>
        <pc:sldMkLst>
          <pc:docMk/>
          <pc:sldMk cId="2134732932" sldId="294"/>
        </pc:sldMkLst>
        <pc:extLst>
          <p:ext xmlns:p="http://schemas.openxmlformats.org/presentationml/2006/main" uri="{D6D511B9-2390-475A-947B-AFAB55BFBCF1}">
            <pc226:cmChg xmlns:pc226="http://schemas.microsoft.com/office/powerpoint/2022/06/main/command" chg="mod modRxn">
              <pc226:chgData name="Aleena Lida Surenian" userId="S::als0813@ads.northwestern.edu::e2fd0e4e-6417-49b0-ab16-0ba26a1719f0" providerId="AD" clId="Web-{69900CFE-5F1D-3447-652C-765EC062E95C}" dt="2023-10-26T19:57:09.174" v="1"/>
              <pc2:cmMkLst xmlns:pc2="http://schemas.microsoft.com/office/powerpoint/2019/9/main/command">
                <pc:docMk/>
                <pc:sldMk cId="2134732932" sldId="294"/>
                <pc2:cmMk id="{8C8DBFA9-8FAD-4969-A843-3E68AF1AA058}"/>
              </pc2:cmMkLst>
            </pc226:cmChg>
          </p:ext>
        </pc:extLst>
      </pc:sldChg>
      <pc:sldChg chg="del">
        <pc:chgData name="Aleena Lida Surenian" userId="S::als0813@ads.northwestern.edu::e2fd0e4e-6417-49b0-ab16-0ba26a1719f0" providerId="AD" clId="Web-{69900CFE-5F1D-3447-652C-765EC062E95C}" dt="2023-10-26T22:03:50.515" v="12"/>
        <pc:sldMkLst>
          <pc:docMk/>
          <pc:sldMk cId="828383430" sldId="296"/>
        </pc:sldMkLst>
      </pc:sldChg>
      <pc:sldChg chg="modCm">
        <pc:chgData name="Aleena Lida Surenian" userId="S::als0813@ads.northwestern.edu::e2fd0e4e-6417-49b0-ab16-0ba26a1719f0" providerId="AD" clId="Web-{69900CFE-5F1D-3447-652C-765EC062E95C}" dt="2023-10-26T19:57:41.769" v="2"/>
        <pc:sldMkLst>
          <pc:docMk/>
          <pc:sldMk cId="3593832193" sldId="297"/>
        </pc:sldMkLst>
        <pc:extLst>
          <p:ext xmlns:p="http://schemas.openxmlformats.org/presentationml/2006/main" uri="{D6D511B9-2390-475A-947B-AFAB55BFBCF1}">
            <pc226:cmChg xmlns:pc226="http://schemas.microsoft.com/office/powerpoint/2022/06/main/command" chg="">
              <pc226:chgData name="Aleena Lida Surenian" userId="S::als0813@ads.northwestern.edu::e2fd0e4e-6417-49b0-ab16-0ba26a1719f0" providerId="AD" clId="Web-{69900CFE-5F1D-3447-652C-765EC062E95C}" dt="2023-10-26T19:57:41.769" v="2"/>
              <pc2:cmMkLst xmlns:pc2="http://schemas.microsoft.com/office/powerpoint/2019/9/main/command">
                <pc:docMk/>
                <pc:sldMk cId="3593832193" sldId="297"/>
                <pc2:cmMk id="{4F3247D3-89A8-4432-9CE7-0B6FF6FC4E62}"/>
              </pc2:cmMkLst>
              <pc226:cmRplyChg chg="add">
                <pc226:chgData name="Aleena Lida Surenian" userId="S::als0813@ads.northwestern.edu::e2fd0e4e-6417-49b0-ab16-0ba26a1719f0" providerId="AD" clId="Web-{69900CFE-5F1D-3447-652C-765EC062E95C}" dt="2023-10-26T19:57:41.769" v="2"/>
                <pc2:cmRplyMkLst xmlns:pc2="http://schemas.microsoft.com/office/powerpoint/2019/9/main/command">
                  <pc:docMk/>
                  <pc:sldMk cId="3593832193" sldId="297"/>
                  <pc2:cmMk id="{4F3247D3-89A8-4432-9CE7-0B6FF6FC4E62}"/>
                  <pc2:cmRplyMk id="{DC1C1548-416A-48B6-8E73-2CB5C448B0F7}"/>
                </pc2:cmRplyMkLst>
              </pc226:cmRplyChg>
            </pc226:cmChg>
          </p:ext>
        </pc:extLst>
      </pc:sldChg>
      <pc:sldChg chg="add">
        <pc:chgData name="Aleena Lida Surenian" userId="S::als0813@ads.northwestern.edu::e2fd0e4e-6417-49b0-ab16-0ba26a1719f0" providerId="AD" clId="Web-{69900CFE-5F1D-3447-652C-765EC062E95C}" dt="2023-10-26T20:06:59.924" v="3"/>
        <pc:sldMkLst>
          <pc:docMk/>
          <pc:sldMk cId="798459878" sldId="308"/>
        </pc:sldMkLst>
      </pc:sldChg>
      <pc:sldChg chg="add">
        <pc:chgData name="Aleena Lida Surenian" userId="S::als0813@ads.northwestern.edu::e2fd0e4e-6417-49b0-ab16-0ba26a1719f0" providerId="AD" clId="Web-{69900CFE-5F1D-3447-652C-765EC062E95C}" dt="2023-10-26T21:52:35.637" v="4"/>
        <pc:sldMkLst>
          <pc:docMk/>
          <pc:sldMk cId="799212880" sldId="309"/>
        </pc:sldMkLst>
      </pc:sldChg>
      <pc:sldChg chg="add">
        <pc:chgData name="Aleena Lida Surenian" userId="S::als0813@ads.northwestern.edu::e2fd0e4e-6417-49b0-ab16-0ba26a1719f0" providerId="AD" clId="Web-{69900CFE-5F1D-3447-652C-765EC062E95C}" dt="2023-10-26T21:53:24.107" v="5"/>
        <pc:sldMkLst>
          <pc:docMk/>
          <pc:sldMk cId="2462361948" sldId="310"/>
        </pc:sldMkLst>
      </pc:sldChg>
      <pc:sldChg chg="add">
        <pc:chgData name="Aleena Lida Surenian" userId="S::als0813@ads.northwestern.edu::e2fd0e4e-6417-49b0-ab16-0ba26a1719f0" providerId="AD" clId="Web-{69900CFE-5F1D-3447-652C-765EC062E95C}" dt="2023-10-26T21:53:49.826" v="6"/>
        <pc:sldMkLst>
          <pc:docMk/>
          <pc:sldMk cId="3053287326" sldId="311"/>
        </pc:sldMkLst>
      </pc:sldChg>
      <pc:sldChg chg="add ord">
        <pc:chgData name="Aleena Lida Surenian" userId="S::als0813@ads.northwestern.edu::e2fd0e4e-6417-49b0-ab16-0ba26a1719f0" providerId="AD" clId="Web-{69900CFE-5F1D-3447-652C-765EC062E95C}" dt="2023-10-26T22:02:15.716" v="11"/>
        <pc:sldMkLst>
          <pc:docMk/>
          <pc:sldMk cId="2879471907" sldId="312"/>
        </pc:sldMkLst>
      </pc:sldChg>
      <pc:sldChg chg="add ord modCm">
        <pc:chgData name="Aleena Lida Surenian" userId="S::als0813@ads.northwestern.edu::e2fd0e4e-6417-49b0-ab16-0ba26a1719f0" providerId="AD" clId="Web-{69900CFE-5F1D-3447-652C-765EC062E95C}" dt="2023-10-26T22:04:00.953" v="13"/>
        <pc:sldMkLst>
          <pc:docMk/>
          <pc:sldMk cId="2755314715" sldId="313"/>
        </pc:sldMkLst>
        <pc:extLst>
          <p:ext xmlns:p="http://schemas.openxmlformats.org/presentationml/2006/main" uri="{D6D511B9-2390-475A-947B-AFAB55BFBCF1}">
            <pc226:cmChg xmlns:pc226="http://schemas.microsoft.com/office/powerpoint/2022/06/main/command" chg="mod">
              <pc226:chgData name="Aleena Lida Surenian" userId="S::als0813@ads.northwestern.edu::e2fd0e4e-6417-49b0-ab16-0ba26a1719f0" providerId="AD" clId="Web-{69900CFE-5F1D-3447-652C-765EC062E95C}" dt="2023-10-26T22:04:00.953" v="13"/>
              <pc2:cmMkLst xmlns:pc2="http://schemas.microsoft.com/office/powerpoint/2019/9/main/command">
                <pc:docMk/>
                <pc:sldMk cId="2755314715" sldId="313"/>
                <pc2:cmMk id="{FB3897A5-B2D1-4FE1-A91A-5CF3E5024A61}"/>
              </pc2:cmMkLst>
            </pc226:cmChg>
          </p:ext>
        </pc:extLst>
      </pc:sldChg>
    </pc:docChg>
  </pc:docChgLst>
  <pc:docChgLst>
    <pc:chgData name="Alana Rivera" userId="S::arg3669@ads.northwestern.edu::fc8b707a-b7e9-4f2a-8d71-2d76819b7881" providerId="AD" clId="Web-{B58B0361-A678-B228-69DF-9F4C6BABC781}"/>
    <pc:docChg chg="modSld">
      <pc:chgData name="Alana Rivera" userId="S::arg3669@ads.northwestern.edu::fc8b707a-b7e9-4f2a-8d71-2d76819b7881" providerId="AD" clId="Web-{B58B0361-A678-B228-69DF-9F4C6BABC781}" dt="2023-11-02T10:57:29.414" v="0" actId="1076"/>
      <pc:docMkLst>
        <pc:docMk/>
      </pc:docMkLst>
      <pc:sldChg chg="modSp">
        <pc:chgData name="Alana Rivera" userId="S::arg3669@ads.northwestern.edu::fc8b707a-b7e9-4f2a-8d71-2d76819b7881" providerId="AD" clId="Web-{B58B0361-A678-B228-69DF-9F4C6BABC781}" dt="2023-11-02T10:57:29.414" v="0" actId="1076"/>
        <pc:sldMkLst>
          <pc:docMk/>
          <pc:sldMk cId="3986814032" sldId="295"/>
        </pc:sldMkLst>
        <pc:spChg chg="mod">
          <ac:chgData name="Alana Rivera" userId="S::arg3669@ads.northwestern.edu::fc8b707a-b7e9-4f2a-8d71-2d76819b7881" providerId="AD" clId="Web-{B58B0361-A678-B228-69DF-9F4C6BABC781}" dt="2023-11-02T10:57:29.414" v="0" actId="1076"/>
          <ac:spMkLst>
            <pc:docMk/>
            <pc:sldMk cId="3986814032" sldId="295"/>
            <ac:spMk id="22" creationId="{9D083F7A-AFCE-F54E-02B9-D4B8C1C92D81}"/>
          </ac:spMkLst>
        </pc:spChg>
      </pc:sldChg>
    </pc:docChg>
  </pc:docChgLst>
  <pc:docChgLst>
    <pc:chgData name="Aleena Lida Surenian" userId="S::als0813@ads.northwestern.edu::e2fd0e4e-6417-49b0-ab16-0ba26a1719f0" providerId="AD" clId="Web-{A15ABF4C-D96F-B11A-8358-5EDCB822D569}"/>
    <pc:docChg chg="addSld delSld modSld">
      <pc:chgData name="Aleena Lida Surenian" userId="S::als0813@ads.northwestern.edu::e2fd0e4e-6417-49b0-ab16-0ba26a1719f0" providerId="AD" clId="Web-{A15ABF4C-D96F-B11A-8358-5EDCB822D569}" dt="2023-11-01T03:04:53.087" v="609"/>
      <pc:docMkLst>
        <pc:docMk/>
      </pc:docMkLst>
      <pc:sldChg chg="modSp">
        <pc:chgData name="Aleena Lida Surenian" userId="S::als0813@ads.northwestern.edu::e2fd0e4e-6417-49b0-ab16-0ba26a1719f0" providerId="AD" clId="Web-{A15ABF4C-D96F-B11A-8358-5EDCB822D569}" dt="2023-11-01T02:23:55.490" v="0" actId="1076"/>
        <pc:sldMkLst>
          <pc:docMk/>
          <pc:sldMk cId="3986814032" sldId="295"/>
        </pc:sldMkLst>
        <pc:spChg chg="mod">
          <ac:chgData name="Aleena Lida Surenian" userId="S::als0813@ads.northwestern.edu::e2fd0e4e-6417-49b0-ab16-0ba26a1719f0" providerId="AD" clId="Web-{A15ABF4C-D96F-B11A-8358-5EDCB822D569}" dt="2023-11-01T02:23:55.490" v="0" actId="1076"/>
          <ac:spMkLst>
            <pc:docMk/>
            <pc:sldMk cId="3986814032" sldId="295"/>
            <ac:spMk id="22" creationId="{9D083F7A-AFCE-F54E-02B9-D4B8C1C92D81}"/>
          </ac:spMkLst>
        </pc:spChg>
      </pc:sldChg>
      <pc:sldChg chg="addSp delSp modSp">
        <pc:chgData name="Aleena Lida Surenian" userId="S::als0813@ads.northwestern.edu::e2fd0e4e-6417-49b0-ab16-0ba26a1719f0" providerId="AD" clId="Web-{A15ABF4C-D96F-B11A-8358-5EDCB822D569}" dt="2023-11-01T03:04:53.087" v="609"/>
        <pc:sldMkLst>
          <pc:docMk/>
          <pc:sldMk cId="3053287326" sldId="311"/>
        </pc:sldMkLst>
        <pc:spChg chg="mod">
          <ac:chgData name="Aleena Lida Surenian" userId="S::als0813@ads.northwestern.edu::e2fd0e4e-6417-49b0-ab16-0ba26a1719f0" providerId="AD" clId="Web-{A15ABF4C-D96F-B11A-8358-5EDCB822D569}" dt="2023-11-01T03:04:29.227" v="605" actId="20577"/>
          <ac:spMkLst>
            <pc:docMk/>
            <pc:sldMk cId="3053287326" sldId="311"/>
            <ac:spMk id="6" creationId="{2364E342-A98E-4E6A-9ABE-E187A502C24F}"/>
          </ac:spMkLst>
        </pc:spChg>
        <pc:spChg chg="mod">
          <ac:chgData name="Aleena Lida Surenian" userId="S::als0813@ads.northwestern.edu::e2fd0e4e-6417-49b0-ab16-0ba26a1719f0" providerId="AD" clId="Web-{A15ABF4C-D96F-B11A-8358-5EDCB822D569}" dt="2023-11-01T03:04:53.087" v="609"/>
          <ac:spMkLst>
            <pc:docMk/>
            <pc:sldMk cId="3053287326" sldId="311"/>
            <ac:spMk id="7" creationId="{2CC554EE-D164-B50E-1C27-DF280F11B694}"/>
          </ac:spMkLst>
        </pc:spChg>
        <pc:spChg chg="add del">
          <ac:chgData name="Aleena Lida Surenian" userId="S::als0813@ads.northwestern.edu::e2fd0e4e-6417-49b0-ab16-0ba26a1719f0" providerId="AD" clId="Web-{A15ABF4C-D96F-B11A-8358-5EDCB822D569}" dt="2023-11-01T03:04:45.305" v="608"/>
          <ac:spMkLst>
            <pc:docMk/>
            <pc:sldMk cId="3053287326" sldId="311"/>
            <ac:spMk id="11" creationId="{7388B99A-2FB7-E303-52AE-FE5C5167C54A}"/>
          </ac:spMkLst>
        </pc:spChg>
      </pc:sldChg>
      <pc:sldChg chg="addSp delSp modSp add del mod setBg">
        <pc:chgData name="Aleena Lida Surenian" userId="S::als0813@ads.northwestern.edu::e2fd0e4e-6417-49b0-ab16-0ba26a1719f0" providerId="AD" clId="Web-{A15ABF4C-D96F-B11A-8358-5EDCB822D569}" dt="2023-11-01T02:37:33.557" v="156" actId="20577"/>
        <pc:sldMkLst>
          <pc:docMk/>
          <pc:sldMk cId="910938155" sldId="314"/>
        </pc:sldMkLst>
        <pc:spChg chg="mod">
          <ac:chgData name="Aleena Lida Surenian" userId="S::als0813@ads.northwestern.edu::e2fd0e4e-6417-49b0-ab16-0ba26a1719f0" providerId="AD" clId="Web-{A15ABF4C-D96F-B11A-8358-5EDCB822D569}" dt="2023-11-01T02:35:23.414" v="138" actId="1076"/>
          <ac:spMkLst>
            <pc:docMk/>
            <pc:sldMk cId="910938155" sldId="314"/>
            <ac:spMk id="7" creationId="{00000000-0000-0000-0000-000000000000}"/>
          </ac:spMkLst>
        </pc:spChg>
        <pc:spChg chg="mod">
          <ac:chgData name="Aleena Lida Surenian" userId="S::als0813@ads.northwestern.edu::e2fd0e4e-6417-49b0-ab16-0ba26a1719f0" providerId="AD" clId="Web-{A15ABF4C-D96F-B11A-8358-5EDCB822D569}" dt="2023-11-01T02:37:33.557" v="156" actId="20577"/>
          <ac:spMkLst>
            <pc:docMk/>
            <pc:sldMk cId="910938155" sldId="314"/>
            <ac:spMk id="8" creationId="{00000000-0000-0000-0000-000000000000}"/>
          </ac:spMkLst>
        </pc:spChg>
        <pc:spChg chg="add">
          <ac:chgData name="Aleena Lida Surenian" userId="S::als0813@ads.northwestern.edu::e2fd0e4e-6417-49b0-ab16-0ba26a1719f0" providerId="AD" clId="Web-{A15ABF4C-D96F-B11A-8358-5EDCB822D569}" dt="2023-11-01T02:37:30.135" v="152"/>
          <ac:spMkLst>
            <pc:docMk/>
            <pc:sldMk cId="910938155" sldId="314"/>
            <ac:spMk id="19" creationId="{73844404-E04B-F587-0397-04D02020A3BA}"/>
          </ac:spMkLst>
        </pc:spChg>
        <pc:spChg chg="add">
          <ac:chgData name="Aleena Lida Surenian" userId="S::als0813@ads.northwestern.edu::e2fd0e4e-6417-49b0-ab16-0ba26a1719f0" providerId="AD" clId="Web-{A15ABF4C-D96F-B11A-8358-5EDCB822D569}" dt="2023-11-01T02:37:30.135" v="152"/>
          <ac:spMkLst>
            <pc:docMk/>
            <pc:sldMk cId="910938155" sldId="314"/>
            <ac:spMk id="21" creationId="{0163E122-6CD4-84BF-401F-51DF984E1B49}"/>
          </ac:spMkLst>
        </pc:spChg>
        <pc:spChg chg="add">
          <ac:chgData name="Aleena Lida Surenian" userId="S::als0813@ads.northwestern.edu::e2fd0e4e-6417-49b0-ab16-0ba26a1719f0" providerId="AD" clId="Web-{A15ABF4C-D96F-B11A-8358-5EDCB822D569}" dt="2023-11-01T02:37:30.135" v="152"/>
          <ac:spMkLst>
            <pc:docMk/>
            <pc:sldMk cId="910938155" sldId="314"/>
            <ac:spMk id="23" creationId="{65EA55DA-978E-CF15-1103-467BC1F4788A}"/>
          </ac:spMkLst>
        </pc:spChg>
        <pc:grpChg chg="del">
          <ac:chgData name="Aleena Lida Surenian" userId="S::als0813@ads.northwestern.edu::e2fd0e4e-6417-49b0-ab16-0ba26a1719f0" providerId="AD" clId="Web-{A15ABF4C-D96F-B11A-8358-5EDCB822D569}" dt="2023-11-01T02:35:30.179" v="140"/>
          <ac:grpSpMkLst>
            <pc:docMk/>
            <pc:sldMk cId="910938155" sldId="314"/>
            <ac:grpSpMk id="2" creationId="{00000000-0000-0000-0000-000000000000}"/>
          </ac:grpSpMkLst>
        </pc:grpChg>
        <pc:grpChg chg="del">
          <ac:chgData name="Aleena Lida Surenian" userId="S::als0813@ads.northwestern.edu::e2fd0e4e-6417-49b0-ab16-0ba26a1719f0" providerId="AD" clId="Web-{A15ABF4C-D96F-B11A-8358-5EDCB822D569}" dt="2023-11-01T02:35:34.554" v="141"/>
          <ac:grpSpMkLst>
            <pc:docMk/>
            <pc:sldMk cId="910938155" sldId="314"/>
            <ac:grpSpMk id="5" creationId="{00000000-0000-0000-0000-000000000000}"/>
          </ac:grpSpMkLst>
        </pc:grpChg>
        <pc:grpChg chg="add">
          <ac:chgData name="Aleena Lida Surenian" userId="S::als0813@ads.northwestern.edu::e2fd0e4e-6417-49b0-ab16-0ba26a1719f0" providerId="AD" clId="Web-{A15ABF4C-D96F-B11A-8358-5EDCB822D569}" dt="2023-11-01T02:37:30.135" v="152"/>
          <ac:grpSpMkLst>
            <pc:docMk/>
            <pc:sldMk cId="910938155" sldId="314"/>
            <ac:grpSpMk id="15" creationId="{E3907B4F-3498-8E1E-0FDD-A06866874229}"/>
          </ac:grpSpMkLst>
        </pc:grpChg>
        <pc:picChg chg="add mod">
          <ac:chgData name="Aleena Lida Surenian" userId="S::als0813@ads.northwestern.edu::e2fd0e4e-6417-49b0-ab16-0ba26a1719f0" providerId="AD" clId="Web-{A15ABF4C-D96F-B11A-8358-5EDCB822D569}" dt="2023-11-01T02:37:30.135" v="152"/>
          <ac:picMkLst>
            <pc:docMk/>
            <pc:sldMk cId="910938155" sldId="314"/>
            <ac:picMk id="9" creationId="{43B28592-62A5-7AFA-53E6-8ABAD0484FC8}"/>
          </ac:picMkLst>
        </pc:picChg>
        <pc:picChg chg="add mod">
          <ac:chgData name="Aleena Lida Surenian" userId="S::als0813@ads.northwestern.edu::e2fd0e4e-6417-49b0-ab16-0ba26a1719f0" providerId="AD" clId="Web-{A15ABF4C-D96F-B11A-8358-5EDCB822D569}" dt="2023-11-01T02:37:30.135" v="152"/>
          <ac:picMkLst>
            <pc:docMk/>
            <pc:sldMk cId="910938155" sldId="314"/>
            <ac:picMk id="10" creationId="{7E287FF7-1EA8-BC32-4B64-DD891E023904}"/>
          </ac:picMkLst>
        </pc:picChg>
      </pc:sldChg>
      <pc:sldChg chg="addSp delSp modSp delAnim">
        <pc:chgData name="Aleena Lida Surenian" userId="S::als0813@ads.northwestern.edu::e2fd0e4e-6417-49b0-ab16-0ba26a1719f0" providerId="AD" clId="Web-{A15ABF4C-D96F-B11A-8358-5EDCB822D569}" dt="2023-11-01T03:01:58.989" v="587" actId="1076"/>
        <pc:sldMkLst>
          <pc:docMk/>
          <pc:sldMk cId="2128475166" sldId="315"/>
        </pc:sldMkLst>
        <pc:spChg chg="mod">
          <ac:chgData name="Aleena Lida Surenian" userId="S::als0813@ads.northwestern.edu::e2fd0e4e-6417-49b0-ab16-0ba26a1719f0" providerId="AD" clId="Web-{A15ABF4C-D96F-B11A-8358-5EDCB822D569}" dt="2023-11-01T03:01:53.113" v="585" actId="20577"/>
          <ac:spMkLst>
            <pc:docMk/>
            <pc:sldMk cId="2128475166" sldId="315"/>
            <ac:spMk id="6" creationId="{00000000-0000-0000-0000-000000000000}"/>
          </ac:spMkLst>
        </pc:spChg>
        <pc:picChg chg="del">
          <ac:chgData name="Aleena Lida Surenian" userId="S::als0813@ads.northwestern.edu::e2fd0e4e-6417-49b0-ab16-0ba26a1719f0" providerId="AD" clId="Web-{A15ABF4C-D96F-B11A-8358-5EDCB822D569}" dt="2023-11-01T03:00:09.830" v="541"/>
          <ac:picMkLst>
            <pc:docMk/>
            <pc:sldMk cId="2128475166" sldId="315"/>
            <ac:picMk id="4" creationId="{00000000-0000-0000-0000-000000000000}"/>
          </ac:picMkLst>
        </pc:picChg>
        <pc:picChg chg="add mod">
          <ac:chgData name="Aleena Lida Surenian" userId="S::als0813@ads.northwestern.edu::e2fd0e4e-6417-49b0-ab16-0ba26a1719f0" providerId="AD" clId="Web-{A15ABF4C-D96F-B11A-8358-5EDCB822D569}" dt="2023-11-01T03:01:58.989" v="587" actId="1076"/>
          <ac:picMkLst>
            <pc:docMk/>
            <pc:sldMk cId="2128475166" sldId="315"/>
            <ac:picMk id="7" creationId="{ACE85636-ACF8-0BC0-E710-EEFF73E148B9}"/>
          </ac:picMkLst>
        </pc:picChg>
      </pc:sldChg>
      <pc:sldChg chg="modSp">
        <pc:chgData name="Aleena Lida Surenian" userId="S::als0813@ads.northwestern.edu::e2fd0e4e-6417-49b0-ab16-0ba26a1719f0" providerId="AD" clId="Web-{A15ABF4C-D96F-B11A-8358-5EDCB822D569}" dt="2023-11-01T02:57:49.639" v="495" actId="20577"/>
        <pc:sldMkLst>
          <pc:docMk/>
          <pc:sldMk cId="4237872439" sldId="317"/>
        </pc:sldMkLst>
        <pc:spChg chg="mod">
          <ac:chgData name="Aleena Lida Surenian" userId="S::als0813@ads.northwestern.edu::e2fd0e4e-6417-49b0-ab16-0ba26a1719f0" providerId="AD" clId="Web-{A15ABF4C-D96F-B11A-8358-5EDCB822D569}" dt="2023-11-01T02:56:53.606" v="485" actId="20577"/>
          <ac:spMkLst>
            <pc:docMk/>
            <pc:sldMk cId="4237872439" sldId="317"/>
            <ac:spMk id="5" creationId="{00000000-0000-0000-0000-000000000000}"/>
          </ac:spMkLst>
        </pc:spChg>
        <pc:spChg chg="mod">
          <ac:chgData name="Aleena Lida Surenian" userId="S::als0813@ads.northwestern.edu::e2fd0e4e-6417-49b0-ab16-0ba26a1719f0" providerId="AD" clId="Web-{A15ABF4C-D96F-B11A-8358-5EDCB822D569}" dt="2023-11-01T02:57:49.639" v="495" actId="20577"/>
          <ac:spMkLst>
            <pc:docMk/>
            <pc:sldMk cId="4237872439" sldId="317"/>
            <ac:spMk id="6" creationId="{00000000-0000-0000-0000-000000000000}"/>
          </ac:spMkLst>
        </pc:spChg>
      </pc:sldChg>
      <pc:sldChg chg="modSp">
        <pc:chgData name="Aleena Lida Surenian" userId="S::als0813@ads.northwestern.edu::e2fd0e4e-6417-49b0-ab16-0ba26a1719f0" providerId="AD" clId="Web-{A15ABF4C-D96F-B11A-8358-5EDCB822D569}" dt="2023-11-01T02:55:12.838" v="461" actId="20577"/>
        <pc:sldMkLst>
          <pc:docMk/>
          <pc:sldMk cId="4198102940" sldId="319"/>
        </pc:sldMkLst>
        <pc:spChg chg="mod">
          <ac:chgData name="Aleena Lida Surenian" userId="S::als0813@ads.northwestern.edu::e2fd0e4e-6417-49b0-ab16-0ba26a1719f0" providerId="AD" clId="Web-{A15ABF4C-D96F-B11A-8358-5EDCB822D569}" dt="2023-11-01T02:55:12.838" v="461" actId="20577"/>
          <ac:spMkLst>
            <pc:docMk/>
            <pc:sldMk cId="4198102940" sldId="319"/>
            <ac:spMk id="5" creationId="{00000000-0000-0000-0000-000000000000}"/>
          </ac:spMkLst>
        </pc:spChg>
        <pc:spChg chg="mod">
          <ac:chgData name="Aleena Lida Surenian" userId="S::als0813@ads.northwestern.edu::e2fd0e4e-6417-49b0-ab16-0ba26a1719f0" providerId="AD" clId="Web-{A15ABF4C-D96F-B11A-8358-5EDCB822D569}" dt="2023-11-01T02:54:40.587" v="458" actId="20577"/>
          <ac:spMkLst>
            <pc:docMk/>
            <pc:sldMk cId="4198102940" sldId="319"/>
            <ac:spMk id="6" creationId="{00000000-0000-0000-0000-000000000000}"/>
          </ac:spMkLst>
        </pc:spChg>
      </pc:sldChg>
      <pc:sldChg chg="modSp">
        <pc:chgData name="Aleena Lida Surenian" userId="S::als0813@ads.northwestern.edu::e2fd0e4e-6417-49b0-ab16-0ba26a1719f0" providerId="AD" clId="Web-{A15ABF4C-D96F-B11A-8358-5EDCB822D569}" dt="2023-11-01T02:53:32.741" v="449" actId="20577"/>
        <pc:sldMkLst>
          <pc:docMk/>
          <pc:sldMk cId="368992253" sldId="321"/>
        </pc:sldMkLst>
        <pc:spChg chg="mod">
          <ac:chgData name="Aleena Lida Surenian" userId="S::als0813@ads.northwestern.edu::e2fd0e4e-6417-49b0-ab16-0ba26a1719f0" providerId="AD" clId="Web-{A15ABF4C-D96F-B11A-8358-5EDCB822D569}" dt="2023-11-01T02:53:32.741" v="449" actId="20577"/>
          <ac:spMkLst>
            <pc:docMk/>
            <pc:sldMk cId="368992253" sldId="321"/>
            <ac:spMk id="5" creationId="{00000000-0000-0000-0000-000000000000}"/>
          </ac:spMkLst>
        </pc:spChg>
        <pc:spChg chg="mod">
          <ac:chgData name="Aleena Lida Surenian" userId="S::als0813@ads.northwestern.edu::e2fd0e4e-6417-49b0-ab16-0ba26a1719f0" providerId="AD" clId="Web-{A15ABF4C-D96F-B11A-8358-5EDCB822D569}" dt="2023-11-01T02:52:26.255" v="437" actId="1076"/>
          <ac:spMkLst>
            <pc:docMk/>
            <pc:sldMk cId="368992253" sldId="321"/>
            <ac:spMk id="6" creationId="{00000000-0000-0000-0000-000000000000}"/>
          </ac:spMkLst>
        </pc:spChg>
      </pc:sldChg>
      <pc:sldChg chg="modSp">
        <pc:chgData name="Aleena Lida Surenian" userId="S::als0813@ads.northwestern.edu::e2fd0e4e-6417-49b0-ab16-0ba26a1719f0" providerId="AD" clId="Web-{A15ABF4C-D96F-B11A-8358-5EDCB822D569}" dt="2023-11-01T02:50:31.862" v="378" actId="20577"/>
        <pc:sldMkLst>
          <pc:docMk/>
          <pc:sldMk cId="410180325" sldId="323"/>
        </pc:sldMkLst>
        <pc:spChg chg="mod">
          <ac:chgData name="Aleena Lida Surenian" userId="S::als0813@ads.northwestern.edu::e2fd0e4e-6417-49b0-ab16-0ba26a1719f0" providerId="AD" clId="Web-{A15ABF4C-D96F-B11A-8358-5EDCB822D569}" dt="2023-11-01T02:50:31.862" v="378" actId="20577"/>
          <ac:spMkLst>
            <pc:docMk/>
            <pc:sldMk cId="410180325" sldId="323"/>
            <ac:spMk id="5" creationId="{00000000-0000-0000-0000-000000000000}"/>
          </ac:spMkLst>
        </pc:spChg>
      </pc:sldChg>
      <pc:sldChg chg="modSp">
        <pc:chgData name="Aleena Lida Surenian" userId="S::als0813@ads.northwestern.edu::e2fd0e4e-6417-49b0-ab16-0ba26a1719f0" providerId="AD" clId="Web-{A15ABF4C-D96F-B11A-8358-5EDCB822D569}" dt="2023-11-01T02:48:20.386" v="346" actId="14100"/>
        <pc:sldMkLst>
          <pc:docMk/>
          <pc:sldMk cId="2030386992" sldId="324"/>
        </pc:sldMkLst>
        <pc:spChg chg="mod">
          <ac:chgData name="Aleena Lida Surenian" userId="S::als0813@ads.northwestern.edu::e2fd0e4e-6417-49b0-ab16-0ba26a1719f0" providerId="AD" clId="Web-{A15ABF4C-D96F-B11A-8358-5EDCB822D569}" dt="2023-11-01T02:48:20.386" v="346" actId="14100"/>
          <ac:spMkLst>
            <pc:docMk/>
            <pc:sldMk cId="2030386992" sldId="324"/>
            <ac:spMk id="7" creationId="{00000000-0000-0000-0000-000000000000}"/>
          </ac:spMkLst>
        </pc:spChg>
      </pc:sldChg>
      <pc:sldChg chg="modSp">
        <pc:chgData name="Aleena Lida Surenian" userId="S::als0813@ads.northwestern.edu::e2fd0e4e-6417-49b0-ab16-0ba26a1719f0" providerId="AD" clId="Web-{A15ABF4C-D96F-B11A-8358-5EDCB822D569}" dt="2023-11-01T02:42:31.190" v="217" actId="20577"/>
        <pc:sldMkLst>
          <pc:docMk/>
          <pc:sldMk cId="3169760697" sldId="325"/>
        </pc:sldMkLst>
        <pc:spChg chg="mod">
          <ac:chgData name="Aleena Lida Surenian" userId="S::als0813@ads.northwestern.edu::e2fd0e4e-6417-49b0-ab16-0ba26a1719f0" providerId="AD" clId="Web-{A15ABF4C-D96F-B11A-8358-5EDCB822D569}" dt="2023-11-01T02:42:31.190" v="217" actId="20577"/>
          <ac:spMkLst>
            <pc:docMk/>
            <pc:sldMk cId="3169760697" sldId="325"/>
            <ac:spMk id="3" creationId="{00000000-0000-0000-0000-000000000000}"/>
          </ac:spMkLst>
        </pc:spChg>
      </pc:sldChg>
      <pc:sldChg chg="addSp modSp">
        <pc:chgData name="Aleena Lida Surenian" userId="S::als0813@ads.northwestern.edu::e2fd0e4e-6417-49b0-ab16-0ba26a1719f0" providerId="AD" clId="Web-{A15ABF4C-D96F-B11A-8358-5EDCB822D569}" dt="2023-11-01T02:43:09.472" v="254" actId="14100"/>
        <pc:sldMkLst>
          <pc:docMk/>
          <pc:sldMk cId="3286141238" sldId="326"/>
        </pc:sldMkLst>
        <pc:spChg chg="add mod">
          <ac:chgData name="Aleena Lida Surenian" userId="S::als0813@ads.northwestern.edu::e2fd0e4e-6417-49b0-ab16-0ba26a1719f0" providerId="AD" clId="Web-{A15ABF4C-D96F-B11A-8358-5EDCB822D569}" dt="2023-11-01T02:43:09.472" v="254" actId="14100"/>
          <ac:spMkLst>
            <pc:docMk/>
            <pc:sldMk cId="3286141238" sldId="326"/>
            <ac:spMk id="8" creationId="{B0701439-81D6-0EA6-267C-93265C8AACCF}"/>
          </ac:spMkLst>
        </pc:spChg>
      </pc:sldChg>
      <pc:sldChg chg="del">
        <pc:chgData name="Aleena Lida Surenian" userId="S::als0813@ads.northwestern.edu::e2fd0e4e-6417-49b0-ab16-0ba26a1719f0" providerId="AD" clId="Web-{A15ABF4C-D96F-B11A-8358-5EDCB822D569}" dt="2023-11-01T02:33:12.551" v="116"/>
        <pc:sldMkLst>
          <pc:docMk/>
          <pc:sldMk cId="823628989" sldId="333"/>
        </pc:sldMkLst>
      </pc:sldChg>
      <pc:sldChg chg="del">
        <pc:chgData name="Aleena Lida Surenian" userId="S::als0813@ads.northwestern.edu::e2fd0e4e-6417-49b0-ab16-0ba26a1719f0" providerId="AD" clId="Web-{A15ABF4C-D96F-B11A-8358-5EDCB822D569}" dt="2023-11-01T02:40:41.125" v="196"/>
        <pc:sldMkLst>
          <pc:docMk/>
          <pc:sldMk cId="749832103" sldId="334"/>
        </pc:sldMkLst>
      </pc:sldChg>
      <pc:sldChg chg="del">
        <pc:chgData name="Aleena Lida Surenian" userId="S::als0813@ads.northwestern.edu::e2fd0e4e-6417-49b0-ab16-0ba26a1719f0" providerId="AD" clId="Web-{A15ABF4C-D96F-B11A-8358-5EDCB822D569}" dt="2023-11-01T02:35:14.101" v="135"/>
        <pc:sldMkLst>
          <pc:docMk/>
          <pc:sldMk cId="1876152505" sldId="335"/>
        </pc:sldMkLst>
      </pc:sldChg>
      <pc:sldChg chg="add del">
        <pc:chgData name="Aleena Lida Surenian" userId="S::als0813@ads.northwestern.edu::e2fd0e4e-6417-49b0-ab16-0ba26a1719f0" providerId="AD" clId="Web-{A15ABF4C-D96F-B11A-8358-5EDCB822D569}" dt="2023-11-01T02:25:25.133" v="2"/>
        <pc:sldMkLst>
          <pc:docMk/>
          <pc:sldMk cId="2169130440" sldId="336"/>
        </pc:sldMkLst>
      </pc:sldChg>
      <pc:sldChg chg="modSp add modNotes">
        <pc:chgData name="Aleena Lida Surenian" userId="S::als0813@ads.northwestern.edu::e2fd0e4e-6417-49b0-ab16-0ba26a1719f0" providerId="AD" clId="Web-{A15ABF4C-D96F-B11A-8358-5EDCB822D569}" dt="2023-11-01T02:33:10.176" v="115"/>
        <pc:sldMkLst>
          <pc:docMk/>
          <pc:sldMk cId="3260114795" sldId="336"/>
        </pc:sldMkLst>
        <pc:spChg chg="mod">
          <ac:chgData name="Aleena Lida Surenian" userId="S::als0813@ads.northwestern.edu::e2fd0e4e-6417-49b0-ab16-0ba26a1719f0" providerId="AD" clId="Web-{A15ABF4C-D96F-B11A-8358-5EDCB822D569}" dt="2023-11-01T02:32:57.879" v="113" actId="14100"/>
          <ac:spMkLst>
            <pc:docMk/>
            <pc:sldMk cId="3260114795" sldId="336"/>
            <ac:spMk id="2" creationId="{2F53C965-EE0D-441D-96BF-AA4BFFC51461}"/>
          </ac:spMkLst>
        </pc:spChg>
      </pc:sldChg>
      <pc:sldChg chg="modSp new del">
        <pc:chgData name="Aleena Lida Surenian" userId="S::als0813@ads.northwestern.edu::e2fd0e4e-6417-49b0-ab16-0ba26a1719f0" providerId="AD" clId="Web-{A15ABF4C-D96F-B11A-8358-5EDCB822D569}" dt="2023-11-01T02:38:42.950" v="166"/>
        <pc:sldMkLst>
          <pc:docMk/>
          <pc:sldMk cId="141445480" sldId="337"/>
        </pc:sldMkLst>
        <pc:spChg chg="mod">
          <ac:chgData name="Aleena Lida Surenian" userId="S::als0813@ads.northwestern.edu::e2fd0e4e-6417-49b0-ab16-0ba26a1719f0" providerId="AD" clId="Web-{A15ABF4C-D96F-B11A-8358-5EDCB822D569}" dt="2023-11-01T02:37:53.011" v="160" actId="20577"/>
          <ac:spMkLst>
            <pc:docMk/>
            <pc:sldMk cId="141445480" sldId="337"/>
            <ac:spMk id="2" creationId="{3FE9E159-D92B-DC1E-02CE-FB263ADDAD41}"/>
          </ac:spMkLst>
        </pc:spChg>
        <pc:spChg chg="mod">
          <ac:chgData name="Aleena Lida Surenian" userId="S::als0813@ads.northwestern.edu::e2fd0e4e-6417-49b0-ab16-0ba26a1719f0" providerId="AD" clId="Web-{A15ABF4C-D96F-B11A-8358-5EDCB822D569}" dt="2023-11-01T02:38:01.152" v="165" actId="20577"/>
          <ac:spMkLst>
            <pc:docMk/>
            <pc:sldMk cId="141445480" sldId="337"/>
            <ac:spMk id="3" creationId="{4DD5F088-FA2D-9258-4CD0-92AC31A42F3E}"/>
          </ac:spMkLst>
        </pc:spChg>
      </pc:sldChg>
      <pc:sldChg chg="addSp delSp modSp add del replId">
        <pc:chgData name="Aleena Lida Surenian" userId="S::als0813@ads.northwestern.edu::e2fd0e4e-6417-49b0-ab16-0ba26a1719f0" providerId="AD" clId="Web-{A15ABF4C-D96F-B11A-8358-5EDCB822D569}" dt="2023-11-01T02:40:54.719" v="198" actId="14100"/>
        <pc:sldMkLst>
          <pc:docMk/>
          <pc:sldMk cId="3583572661" sldId="337"/>
        </pc:sldMkLst>
        <pc:spChg chg="add mod">
          <ac:chgData name="Aleena Lida Surenian" userId="S::als0813@ads.northwestern.edu::e2fd0e4e-6417-49b0-ab16-0ba26a1719f0" providerId="AD" clId="Web-{A15ABF4C-D96F-B11A-8358-5EDCB822D569}" dt="2023-11-01T02:40:54.719" v="198" actId="14100"/>
          <ac:spMkLst>
            <pc:docMk/>
            <pc:sldMk cId="3583572661" sldId="337"/>
            <ac:spMk id="7" creationId="{9BC6C23F-F4BF-5A0C-AE8B-E07F91CFF82C}"/>
          </ac:spMkLst>
        </pc:spChg>
        <pc:spChg chg="mod ord">
          <ac:chgData name="Aleena Lida Surenian" userId="S::als0813@ads.northwestern.edu::e2fd0e4e-6417-49b0-ab16-0ba26a1719f0" providerId="AD" clId="Web-{A15ABF4C-D96F-B11A-8358-5EDCB822D569}" dt="2023-11-01T02:40:37.187" v="195"/>
          <ac:spMkLst>
            <pc:docMk/>
            <pc:sldMk cId="3583572661" sldId="337"/>
            <ac:spMk id="8" creationId="{00000000-0000-0000-0000-000000000000}"/>
          </ac:spMkLst>
        </pc:spChg>
        <pc:spChg chg="del">
          <ac:chgData name="Aleena Lida Surenian" userId="S::als0813@ads.northwestern.edu::e2fd0e4e-6417-49b0-ab16-0ba26a1719f0" providerId="AD" clId="Web-{A15ABF4C-D96F-B11A-8358-5EDCB822D569}" dt="2023-11-01T02:39:55.952" v="187"/>
          <ac:spMkLst>
            <pc:docMk/>
            <pc:sldMk cId="3583572661" sldId="337"/>
            <ac:spMk id="19" creationId="{73844404-E04B-F587-0397-04D02020A3BA}"/>
          </ac:spMkLst>
        </pc:spChg>
        <pc:spChg chg="del">
          <ac:chgData name="Aleena Lida Surenian" userId="S::als0813@ads.northwestern.edu::e2fd0e4e-6417-49b0-ab16-0ba26a1719f0" providerId="AD" clId="Web-{A15ABF4C-D96F-B11A-8358-5EDCB822D569}" dt="2023-11-01T02:39:55.952" v="187"/>
          <ac:spMkLst>
            <pc:docMk/>
            <pc:sldMk cId="3583572661" sldId="337"/>
            <ac:spMk id="21" creationId="{0163E122-6CD4-84BF-401F-51DF984E1B49}"/>
          </ac:spMkLst>
        </pc:spChg>
        <pc:spChg chg="del">
          <ac:chgData name="Aleena Lida Surenian" userId="S::als0813@ads.northwestern.edu::e2fd0e4e-6417-49b0-ab16-0ba26a1719f0" providerId="AD" clId="Web-{A15ABF4C-D96F-B11A-8358-5EDCB822D569}" dt="2023-11-01T02:39:55.952" v="187"/>
          <ac:spMkLst>
            <pc:docMk/>
            <pc:sldMk cId="3583572661" sldId="337"/>
            <ac:spMk id="23" creationId="{65EA55DA-978E-CF15-1103-467BC1F4788A}"/>
          </ac:spMkLst>
        </pc:spChg>
        <pc:spChg chg="add del">
          <ac:chgData name="Aleena Lida Surenian" userId="S::als0813@ads.northwestern.edu::e2fd0e4e-6417-49b0-ab16-0ba26a1719f0" providerId="AD" clId="Web-{A15ABF4C-D96F-B11A-8358-5EDCB822D569}" dt="2023-11-01T02:40:11.655" v="190"/>
          <ac:spMkLst>
            <pc:docMk/>
            <pc:sldMk cId="3583572661" sldId="337"/>
            <ac:spMk id="28" creationId="{E91DC736-0EF8-4F87-9146-EBF1D2EE4D3D}"/>
          </ac:spMkLst>
        </pc:spChg>
        <pc:spChg chg="add del">
          <ac:chgData name="Aleena Lida Surenian" userId="S::als0813@ads.northwestern.edu::e2fd0e4e-6417-49b0-ab16-0ba26a1719f0" providerId="AD" clId="Web-{A15ABF4C-D96F-B11A-8358-5EDCB822D569}" dt="2023-11-01T02:40:11.655" v="190"/>
          <ac:spMkLst>
            <pc:docMk/>
            <pc:sldMk cId="3583572661" sldId="337"/>
            <ac:spMk id="30" creationId="{097CD68E-23E3-4007-8847-CD0944C4F7BE}"/>
          </ac:spMkLst>
        </pc:spChg>
        <pc:spChg chg="add del">
          <ac:chgData name="Aleena Lida Surenian" userId="S::als0813@ads.northwestern.edu::e2fd0e4e-6417-49b0-ab16-0ba26a1719f0" providerId="AD" clId="Web-{A15ABF4C-D96F-B11A-8358-5EDCB822D569}" dt="2023-11-01T02:40:11.655" v="190"/>
          <ac:spMkLst>
            <pc:docMk/>
            <pc:sldMk cId="3583572661" sldId="337"/>
            <ac:spMk id="32" creationId="{AF2F604E-43BE-4DC3-B983-E071523364F8}"/>
          </ac:spMkLst>
        </pc:spChg>
        <pc:spChg chg="add del">
          <ac:chgData name="Aleena Lida Surenian" userId="S::als0813@ads.northwestern.edu::e2fd0e4e-6417-49b0-ab16-0ba26a1719f0" providerId="AD" clId="Web-{A15ABF4C-D96F-B11A-8358-5EDCB822D569}" dt="2023-11-01T02:40:11.655" v="190"/>
          <ac:spMkLst>
            <pc:docMk/>
            <pc:sldMk cId="3583572661" sldId="337"/>
            <ac:spMk id="34" creationId="{08C9B587-E65E-4B52-B37C-ABEBB6E87928}"/>
          </ac:spMkLst>
        </pc:spChg>
        <pc:spChg chg="add del">
          <ac:chgData name="Aleena Lida Surenian" userId="S::als0813@ads.northwestern.edu::e2fd0e4e-6417-49b0-ab16-0ba26a1719f0" providerId="AD" clId="Web-{A15ABF4C-D96F-B11A-8358-5EDCB822D569}" dt="2023-11-01T02:40:37.187" v="195"/>
          <ac:spMkLst>
            <pc:docMk/>
            <pc:sldMk cId="3583572661" sldId="337"/>
            <ac:spMk id="39" creationId="{ECC07320-C2CA-4E29-8481-9D9E143C7788}"/>
          </ac:spMkLst>
        </pc:spChg>
        <pc:spChg chg="add del">
          <ac:chgData name="Aleena Lida Surenian" userId="S::als0813@ads.northwestern.edu::e2fd0e4e-6417-49b0-ab16-0ba26a1719f0" providerId="AD" clId="Web-{A15ABF4C-D96F-B11A-8358-5EDCB822D569}" dt="2023-11-01T02:40:37.187" v="195"/>
          <ac:spMkLst>
            <pc:docMk/>
            <pc:sldMk cId="3583572661" sldId="337"/>
            <ac:spMk id="41" creationId="{178FB36B-5BFE-42CA-BC60-1115E0D95EEC}"/>
          </ac:spMkLst>
        </pc:spChg>
        <pc:spChg chg="add">
          <ac:chgData name="Aleena Lida Surenian" userId="S::als0813@ads.northwestern.edu::e2fd0e4e-6417-49b0-ab16-0ba26a1719f0" providerId="AD" clId="Web-{A15ABF4C-D96F-B11A-8358-5EDCB822D569}" dt="2023-11-01T02:40:37.187" v="195"/>
          <ac:spMkLst>
            <pc:docMk/>
            <pc:sldMk cId="3583572661" sldId="337"/>
            <ac:spMk id="46" creationId="{9F79630B-0F0B-446E-A637-38FA8F61D10E}"/>
          </ac:spMkLst>
        </pc:spChg>
        <pc:spChg chg="add">
          <ac:chgData name="Aleena Lida Surenian" userId="S::als0813@ads.northwestern.edu::e2fd0e4e-6417-49b0-ab16-0ba26a1719f0" providerId="AD" clId="Web-{A15ABF4C-D96F-B11A-8358-5EDCB822D569}" dt="2023-11-01T02:40:37.187" v="195"/>
          <ac:spMkLst>
            <pc:docMk/>
            <pc:sldMk cId="3583572661" sldId="337"/>
            <ac:spMk id="48" creationId="{B3437C99-FC8E-4311-B48A-F0C4C329B154}"/>
          </ac:spMkLst>
        </pc:spChg>
        <pc:grpChg chg="del">
          <ac:chgData name="Aleena Lida Surenian" userId="S::als0813@ads.northwestern.edu::e2fd0e4e-6417-49b0-ab16-0ba26a1719f0" providerId="AD" clId="Web-{A15ABF4C-D96F-B11A-8358-5EDCB822D569}" dt="2023-11-01T02:39:55.952" v="187"/>
          <ac:grpSpMkLst>
            <pc:docMk/>
            <pc:sldMk cId="3583572661" sldId="337"/>
            <ac:grpSpMk id="15" creationId="{E3907B4F-3498-8E1E-0FDD-A06866874229}"/>
          </ac:grpSpMkLst>
        </pc:grpChg>
        <pc:picChg chg="add mod ord">
          <ac:chgData name="Aleena Lida Surenian" userId="S::als0813@ads.northwestern.edu::e2fd0e4e-6417-49b0-ab16-0ba26a1719f0" providerId="AD" clId="Web-{A15ABF4C-D96F-B11A-8358-5EDCB822D569}" dt="2023-11-01T02:40:37.187" v="195"/>
          <ac:picMkLst>
            <pc:docMk/>
            <pc:sldMk cId="3583572661" sldId="337"/>
            <ac:picMk id="3" creationId="{86F36245-A426-E3E7-6929-7E0ED8C2377C}"/>
          </ac:picMkLst>
        </pc:picChg>
        <pc:picChg chg="add del mod">
          <ac:chgData name="Aleena Lida Surenian" userId="S::als0813@ads.northwestern.edu::e2fd0e4e-6417-49b0-ab16-0ba26a1719f0" providerId="AD" clId="Web-{A15ABF4C-D96F-B11A-8358-5EDCB822D569}" dt="2023-11-01T02:39:37.779" v="184"/>
          <ac:picMkLst>
            <pc:docMk/>
            <pc:sldMk cId="3583572661" sldId="337"/>
            <ac:picMk id="5" creationId="{6AB48A74-82B2-BC20-9DFC-23A9C5D8803E}"/>
          </ac:picMkLst>
        </pc:picChg>
        <pc:picChg chg="del">
          <ac:chgData name="Aleena Lida Surenian" userId="S::als0813@ads.northwestern.edu::e2fd0e4e-6417-49b0-ab16-0ba26a1719f0" providerId="AD" clId="Web-{A15ABF4C-D96F-B11A-8358-5EDCB822D569}" dt="2023-11-01T02:39:38.998" v="185"/>
          <ac:picMkLst>
            <pc:docMk/>
            <pc:sldMk cId="3583572661" sldId="337"/>
            <ac:picMk id="9" creationId="{43B28592-62A5-7AFA-53E6-8ABAD0484FC8}"/>
          </ac:picMkLst>
        </pc:picChg>
        <pc:picChg chg="del">
          <ac:chgData name="Aleena Lida Surenian" userId="S::als0813@ads.northwestern.edu::e2fd0e4e-6417-49b0-ab16-0ba26a1719f0" providerId="AD" clId="Web-{A15ABF4C-D96F-B11A-8358-5EDCB822D569}" dt="2023-11-01T02:39:10.326" v="177"/>
          <ac:picMkLst>
            <pc:docMk/>
            <pc:sldMk cId="3583572661" sldId="337"/>
            <ac:picMk id="10" creationId="{7E287FF7-1EA8-BC32-4B64-DD891E023904}"/>
          </ac:picMkLst>
        </pc:picChg>
      </pc:sldChg>
    </pc:docChg>
  </pc:docChgLst>
  <pc:docChgLst>
    <pc:chgData name="Aleena Lida Surenian" userId="S::als0813@ads.northwestern.edu::e2fd0e4e-6417-49b0-ab16-0ba26a1719f0" providerId="AD" clId="Web-{4EE8648F-3C20-EDC7-AF6F-9D8A3E63CEA1}"/>
    <pc:docChg chg="modSld">
      <pc:chgData name="Aleena Lida Surenian" userId="S::als0813@ads.northwestern.edu::e2fd0e4e-6417-49b0-ab16-0ba26a1719f0" providerId="AD" clId="Web-{4EE8648F-3C20-EDC7-AF6F-9D8A3E63CEA1}" dt="2023-10-21T15:34:59.022" v="23" actId="1076"/>
      <pc:docMkLst>
        <pc:docMk/>
      </pc:docMkLst>
      <pc:sldChg chg="modSp">
        <pc:chgData name="Aleena Lida Surenian" userId="S::als0813@ads.northwestern.edu::e2fd0e4e-6417-49b0-ab16-0ba26a1719f0" providerId="AD" clId="Web-{4EE8648F-3C20-EDC7-AF6F-9D8A3E63CEA1}" dt="2023-10-21T15:34:59.022" v="23" actId="1076"/>
        <pc:sldMkLst>
          <pc:docMk/>
          <pc:sldMk cId="2345535808" sldId="301"/>
        </pc:sldMkLst>
        <pc:spChg chg="mod">
          <ac:chgData name="Aleena Lida Surenian" userId="S::als0813@ads.northwestern.edu::e2fd0e4e-6417-49b0-ab16-0ba26a1719f0" providerId="AD" clId="Web-{4EE8648F-3C20-EDC7-AF6F-9D8A3E63CEA1}" dt="2023-10-21T15:34:59.022" v="23" actId="1076"/>
          <ac:spMkLst>
            <pc:docMk/>
            <pc:sldMk cId="2345535808" sldId="301"/>
            <ac:spMk id="4" creationId="{00000000-0000-0000-0000-000000000000}"/>
          </ac:spMkLst>
        </pc:spChg>
        <pc:spChg chg="mod">
          <ac:chgData name="Aleena Lida Surenian" userId="S::als0813@ads.northwestern.edu::e2fd0e4e-6417-49b0-ab16-0ba26a1719f0" providerId="AD" clId="Web-{4EE8648F-3C20-EDC7-AF6F-9D8A3E63CEA1}" dt="2023-10-21T15:34:50.725" v="21" actId="1076"/>
          <ac:spMkLst>
            <pc:docMk/>
            <pc:sldMk cId="2345535808" sldId="301"/>
            <ac:spMk id="7" creationId="{00000000-0000-0000-0000-000000000000}"/>
          </ac:spMkLst>
        </pc:spChg>
        <pc:spChg chg="mod">
          <ac:chgData name="Aleena Lida Surenian" userId="S::als0813@ads.northwestern.edu::e2fd0e4e-6417-49b0-ab16-0ba26a1719f0" providerId="AD" clId="Web-{4EE8648F-3C20-EDC7-AF6F-9D8A3E63CEA1}" dt="2023-10-21T15:34:46.506" v="19" actId="1076"/>
          <ac:spMkLst>
            <pc:docMk/>
            <pc:sldMk cId="2345535808" sldId="301"/>
            <ac:spMk id="10" creationId="{00000000-0000-0000-0000-000000000000}"/>
          </ac:spMkLst>
        </pc:spChg>
        <pc:spChg chg="mod">
          <ac:chgData name="Aleena Lida Surenian" userId="S::als0813@ads.northwestern.edu::e2fd0e4e-6417-49b0-ab16-0ba26a1719f0" providerId="AD" clId="Web-{4EE8648F-3C20-EDC7-AF6F-9D8A3E63CEA1}" dt="2023-10-21T15:34:37.147" v="17" actId="1076"/>
          <ac:spMkLst>
            <pc:docMk/>
            <pc:sldMk cId="2345535808" sldId="301"/>
            <ac:spMk id="13" creationId="{00000000-0000-0000-0000-000000000000}"/>
          </ac:spMkLst>
        </pc:spChg>
        <pc:spChg chg="mod">
          <ac:chgData name="Aleena Lida Surenian" userId="S::als0813@ads.northwestern.edu::e2fd0e4e-6417-49b0-ab16-0ba26a1719f0" providerId="AD" clId="Web-{4EE8648F-3C20-EDC7-AF6F-9D8A3E63CEA1}" dt="2023-10-21T15:33:58.942" v="2" actId="1076"/>
          <ac:spMkLst>
            <pc:docMk/>
            <pc:sldMk cId="2345535808" sldId="301"/>
            <ac:spMk id="22" creationId="{00000000-0000-0000-0000-000000000000}"/>
          </ac:spMkLst>
        </pc:spChg>
        <pc:spChg chg="mod">
          <ac:chgData name="Aleena Lida Surenian" userId="S::als0813@ads.northwestern.edu::e2fd0e4e-6417-49b0-ab16-0ba26a1719f0" providerId="AD" clId="Web-{4EE8648F-3C20-EDC7-AF6F-9D8A3E63CEA1}" dt="2023-10-21T15:34:05.755" v="5" actId="1076"/>
          <ac:spMkLst>
            <pc:docMk/>
            <pc:sldMk cId="2345535808" sldId="301"/>
            <ac:spMk id="23" creationId="{00000000-0000-0000-0000-000000000000}"/>
          </ac:spMkLst>
        </pc:spChg>
        <pc:spChg chg="mod">
          <ac:chgData name="Aleena Lida Surenian" userId="S::als0813@ads.northwestern.edu::e2fd0e4e-6417-49b0-ab16-0ba26a1719f0" providerId="AD" clId="Web-{4EE8648F-3C20-EDC7-AF6F-9D8A3E63CEA1}" dt="2023-10-21T15:34:29.740" v="15" actId="1076"/>
          <ac:spMkLst>
            <pc:docMk/>
            <pc:sldMk cId="2345535808" sldId="301"/>
            <ac:spMk id="24" creationId="{00000000-0000-0000-0000-000000000000}"/>
          </ac:spMkLst>
        </pc:spChg>
        <pc:spChg chg="mod">
          <ac:chgData name="Aleena Lida Surenian" userId="S::als0813@ads.northwestern.edu::e2fd0e4e-6417-49b0-ab16-0ba26a1719f0" providerId="AD" clId="Web-{4EE8648F-3C20-EDC7-AF6F-9D8A3E63CEA1}" dt="2023-10-21T15:34:17.193" v="10" actId="1076"/>
          <ac:spMkLst>
            <pc:docMk/>
            <pc:sldMk cId="2345535808" sldId="301"/>
            <ac:spMk id="25" creationId="{00000000-0000-0000-0000-000000000000}"/>
          </ac:spMkLst>
        </pc:spChg>
      </pc:sldChg>
    </pc:docChg>
  </pc:docChgLst>
  <pc:docChgLst>
    <pc:chgData name="Patricia Ann Lee King" userId="S::pal094@ads.northwestern.edu::dbab7ec2-5444-4d21-afe7-a39974533ddc" providerId="AD" clId="Web-{62B35DF4-4029-0A2B-969D-23D6229D4407}"/>
    <pc:docChg chg="modSld">
      <pc:chgData name="Patricia Ann Lee King" userId="S::pal094@ads.northwestern.edu::dbab7ec2-5444-4d21-afe7-a39974533ddc" providerId="AD" clId="Web-{62B35DF4-4029-0A2B-969D-23D6229D4407}" dt="2023-10-31T21:40:32.404" v="108" actId="1076"/>
      <pc:docMkLst>
        <pc:docMk/>
      </pc:docMkLst>
      <pc:sldChg chg="modSp">
        <pc:chgData name="Patricia Ann Lee King" userId="S::pal094@ads.northwestern.edu::dbab7ec2-5444-4d21-afe7-a39974533ddc" providerId="AD" clId="Web-{62B35DF4-4029-0A2B-969D-23D6229D4407}" dt="2023-10-31T21:31:11.701" v="32" actId="20577"/>
        <pc:sldMkLst>
          <pc:docMk/>
          <pc:sldMk cId="2640496646" sldId="257"/>
        </pc:sldMkLst>
        <pc:spChg chg="mod">
          <ac:chgData name="Patricia Ann Lee King" userId="S::pal094@ads.northwestern.edu::dbab7ec2-5444-4d21-afe7-a39974533ddc" providerId="AD" clId="Web-{62B35DF4-4029-0A2B-969D-23D6229D4407}" dt="2023-10-31T21:31:11.701" v="32" actId="20577"/>
          <ac:spMkLst>
            <pc:docMk/>
            <pc:sldMk cId="2640496646" sldId="257"/>
            <ac:spMk id="21" creationId="{46A9C70C-276E-351C-C598-87624FCAEA39}"/>
          </ac:spMkLst>
        </pc:spChg>
      </pc:sldChg>
      <pc:sldChg chg="modSp">
        <pc:chgData name="Patricia Ann Lee King" userId="S::pal094@ads.northwestern.edu::dbab7ec2-5444-4d21-afe7-a39974533ddc" providerId="AD" clId="Web-{62B35DF4-4029-0A2B-969D-23D6229D4407}" dt="2023-10-31T21:29:35.201" v="3" actId="20577"/>
        <pc:sldMkLst>
          <pc:docMk/>
          <pc:sldMk cId="3240133074" sldId="259"/>
        </pc:sldMkLst>
        <pc:spChg chg="mod">
          <ac:chgData name="Patricia Ann Lee King" userId="S::pal094@ads.northwestern.edu::dbab7ec2-5444-4d21-afe7-a39974533ddc" providerId="AD" clId="Web-{62B35DF4-4029-0A2B-969D-23D6229D4407}" dt="2023-10-31T21:29:35.201" v="3" actId="20577"/>
          <ac:spMkLst>
            <pc:docMk/>
            <pc:sldMk cId="3240133074" sldId="259"/>
            <ac:spMk id="7" creationId="{7E13C86E-7C8D-3F7D-948E-5B86E04CE1A7}"/>
          </ac:spMkLst>
        </pc:spChg>
      </pc:sldChg>
      <pc:sldChg chg="modSp">
        <pc:chgData name="Patricia Ann Lee King" userId="S::pal094@ads.northwestern.edu::dbab7ec2-5444-4d21-afe7-a39974533ddc" providerId="AD" clId="Web-{62B35DF4-4029-0A2B-969D-23D6229D4407}" dt="2023-10-31T21:17:49.968" v="1" actId="20577"/>
        <pc:sldMkLst>
          <pc:docMk/>
          <pc:sldMk cId="1823951541" sldId="261"/>
        </pc:sldMkLst>
        <pc:spChg chg="mod">
          <ac:chgData name="Patricia Ann Lee King" userId="S::pal094@ads.northwestern.edu::dbab7ec2-5444-4d21-afe7-a39974533ddc" providerId="AD" clId="Web-{62B35DF4-4029-0A2B-969D-23D6229D4407}" dt="2023-10-31T21:17:49.968" v="1" actId="20577"/>
          <ac:spMkLst>
            <pc:docMk/>
            <pc:sldMk cId="1823951541" sldId="261"/>
            <ac:spMk id="3" creationId="{1D742501-F937-8041-84E5-748F96AE991B}"/>
          </ac:spMkLst>
        </pc:spChg>
      </pc:sldChg>
      <pc:sldChg chg="modSp">
        <pc:chgData name="Patricia Ann Lee King" userId="S::pal094@ads.northwestern.edu::dbab7ec2-5444-4d21-afe7-a39974533ddc" providerId="AD" clId="Web-{62B35DF4-4029-0A2B-969D-23D6229D4407}" dt="2023-10-31T21:40:32.404" v="108" actId="1076"/>
        <pc:sldMkLst>
          <pc:docMk/>
          <pc:sldMk cId="2128475166" sldId="315"/>
        </pc:sldMkLst>
        <pc:spChg chg="mod">
          <ac:chgData name="Patricia Ann Lee King" userId="S::pal094@ads.northwestern.edu::dbab7ec2-5444-4d21-afe7-a39974533ddc" providerId="AD" clId="Web-{62B35DF4-4029-0A2B-969D-23D6229D4407}" dt="2023-10-31T21:40:32.404" v="108" actId="1076"/>
          <ac:spMkLst>
            <pc:docMk/>
            <pc:sldMk cId="2128475166" sldId="315"/>
            <ac:spMk id="6" creationId="{00000000-0000-0000-0000-000000000000}"/>
          </ac:spMkLst>
        </pc:spChg>
      </pc:sldChg>
      <pc:sldChg chg="modSp">
        <pc:chgData name="Patricia Ann Lee King" userId="S::pal094@ads.northwestern.edu::dbab7ec2-5444-4d21-afe7-a39974533ddc" providerId="AD" clId="Web-{62B35DF4-4029-0A2B-969D-23D6229D4407}" dt="2023-10-31T21:39:03.435" v="106" actId="20577"/>
        <pc:sldMkLst>
          <pc:docMk/>
          <pc:sldMk cId="4198102940" sldId="319"/>
        </pc:sldMkLst>
        <pc:spChg chg="mod">
          <ac:chgData name="Patricia Ann Lee King" userId="S::pal094@ads.northwestern.edu::dbab7ec2-5444-4d21-afe7-a39974533ddc" providerId="AD" clId="Web-{62B35DF4-4029-0A2B-969D-23D6229D4407}" dt="2023-10-31T21:39:03.435" v="106" actId="20577"/>
          <ac:spMkLst>
            <pc:docMk/>
            <pc:sldMk cId="4198102940" sldId="319"/>
            <ac:spMk id="5" creationId="{00000000-0000-0000-0000-000000000000}"/>
          </ac:spMkLst>
        </pc:spChg>
        <pc:spChg chg="mod">
          <ac:chgData name="Patricia Ann Lee King" userId="S::pal094@ads.northwestern.edu::dbab7ec2-5444-4d21-afe7-a39974533ddc" providerId="AD" clId="Web-{62B35DF4-4029-0A2B-969D-23D6229D4407}" dt="2023-10-31T21:38:18.185" v="102" actId="14100"/>
          <ac:spMkLst>
            <pc:docMk/>
            <pc:sldMk cId="4198102940" sldId="319"/>
            <ac:spMk id="6" creationId="{00000000-0000-0000-0000-000000000000}"/>
          </ac:spMkLst>
        </pc:spChg>
      </pc:sldChg>
      <pc:sldChg chg="modSp">
        <pc:chgData name="Patricia Ann Lee King" userId="S::pal094@ads.northwestern.edu::dbab7ec2-5444-4d21-afe7-a39974533ddc" providerId="AD" clId="Web-{62B35DF4-4029-0A2B-969D-23D6229D4407}" dt="2023-10-31T21:37:39.576" v="101" actId="20577"/>
        <pc:sldMkLst>
          <pc:docMk/>
          <pc:sldMk cId="368992253" sldId="321"/>
        </pc:sldMkLst>
        <pc:spChg chg="mod">
          <ac:chgData name="Patricia Ann Lee King" userId="S::pal094@ads.northwestern.edu::dbab7ec2-5444-4d21-afe7-a39974533ddc" providerId="AD" clId="Web-{62B35DF4-4029-0A2B-969D-23D6229D4407}" dt="2023-10-31T21:37:39.576" v="101" actId="20577"/>
          <ac:spMkLst>
            <pc:docMk/>
            <pc:sldMk cId="368992253" sldId="321"/>
            <ac:spMk id="5" creationId="{00000000-0000-0000-0000-000000000000}"/>
          </ac:spMkLst>
        </pc:spChg>
        <pc:spChg chg="mod">
          <ac:chgData name="Patricia Ann Lee King" userId="S::pal094@ads.northwestern.edu::dbab7ec2-5444-4d21-afe7-a39974533ddc" providerId="AD" clId="Web-{62B35DF4-4029-0A2B-969D-23D6229D4407}" dt="2023-10-31T21:36:00.810" v="56" actId="20577"/>
          <ac:spMkLst>
            <pc:docMk/>
            <pc:sldMk cId="368992253" sldId="321"/>
            <ac:spMk id="6" creationId="{00000000-0000-0000-0000-000000000000}"/>
          </ac:spMkLst>
        </pc:spChg>
      </pc:sldChg>
      <pc:sldChg chg="modSp">
        <pc:chgData name="Patricia Ann Lee King" userId="S::pal094@ads.northwestern.edu::dbab7ec2-5444-4d21-afe7-a39974533ddc" providerId="AD" clId="Web-{62B35DF4-4029-0A2B-969D-23D6229D4407}" dt="2023-10-31T21:30:25.967" v="12" actId="20577"/>
        <pc:sldMkLst>
          <pc:docMk/>
          <pc:sldMk cId="2342621754" sldId="331"/>
        </pc:sldMkLst>
        <pc:spChg chg="mod">
          <ac:chgData name="Patricia Ann Lee King" userId="S::pal094@ads.northwestern.edu::dbab7ec2-5444-4d21-afe7-a39974533ddc" providerId="AD" clId="Web-{62B35DF4-4029-0A2B-969D-23D6229D4407}" dt="2023-10-31T21:30:05.232" v="5" actId="20577"/>
          <ac:spMkLst>
            <pc:docMk/>
            <pc:sldMk cId="2342621754" sldId="331"/>
            <ac:spMk id="2" creationId="{E07F7E2A-A18F-72E9-B14F-34C1DE89593D}"/>
          </ac:spMkLst>
        </pc:spChg>
        <pc:graphicFrameChg chg="modGraphic">
          <ac:chgData name="Patricia Ann Lee King" userId="S::pal094@ads.northwestern.edu::dbab7ec2-5444-4d21-afe7-a39974533ddc" providerId="AD" clId="Web-{62B35DF4-4029-0A2B-969D-23D6229D4407}" dt="2023-10-31T21:30:25.967" v="12" actId="20577"/>
          <ac:graphicFrameMkLst>
            <pc:docMk/>
            <pc:sldMk cId="2342621754" sldId="331"/>
            <ac:graphicFrameMk id="4" creationId="{89B53106-8C8D-3C66-2069-3A50A5A0F2E4}"/>
          </ac:graphicFrameMkLst>
        </pc:graphicFrameChg>
      </pc:sldChg>
    </pc:docChg>
  </pc:docChgLst>
  <pc:docChgLst>
    <pc:chgData name="Aleena Lida Surenian" userId="S::als0813@ads.northwestern.edu::e2fd0e4e-6417-49b0-ab16-0ba26a1719f0" providerId="AD" clId="Web-{C8BD7206-BBA1-3D07-E4B7-8AEBDB0410A0}"/>
    <pc:docChg chg="modSld">
      <pc:chgData name="Aleena Lida Surenian" userId="S::als0813@ads.northwestern.edu::e2fd0e4e-6417-49b0-ab16-0ba26a1719f0" providerId="AD" clId="Web-{C8BD7206-BBA1-3D07-E4B7-8AEBDB0410A0}" dt="2023-10-27T19:08:58.960" v="0" actId="1076"/>
      <pc:docMkLst>
        <pc:docMk/>
      </pc:docMkLst>
      <pc:sldChg chg="modSp">
        <pc:chgData name="Aleena Lida Surenian" userId="S::als0813@ads.northwestern.edu::e2fd0e4e-6417-49b0-ab16-0ba26a1719f0" providerId="AD" clId="Web-{C8BD7206-BBA1-3D07-E4B7-8AEBDB0410A0}" dt="2023-10-27T19:08:58.960" v="0" actId="1076"/>
        <pc:sldMkLst>
          <pc:docMk/>
          <pc:sldMk cId="3986814032" sldId="295"/>
        </pc:sldMkLst>
        <pc:spChg chg="mod">
          <ac:chgData name="Aleena Lida Surenian" userId="S::als0813@ads.northwestern.edu::e2fd0e4e-6417-49b0-ab16-0ba26a1719f0" providerId="AD" clId="Web-{C8BD7206-BBA1-3D07-E4B7-8AEBDB0410A0}" dt="2023-10-27T19:08:58.960" v="0" actId="1076"/>
          <ac:spMkLst>
            <pc:docMk/>
            <pc:sldMk cId="3986814032" sldId="295"/>
            <ac:spMk id="22" creationId="{9D083F7A-AFCE-F54E-02B9-D4B8C1C92D81}"/>
          </ac:spMkLst>
        </pc:spChg>
      </pc:sldChg>
    </pc:docChg>
  </pc:docChgLst>
  <pc:docChgLst>
    <pc:chgData name="Aleena Lida Surenian" userId="S::als0813@ads.northwestern.edu::e2fd0e4e-6417-49b0-ab16-0ba26a1719f0" providerId="AD" clId="Web-{A78FD106-6DFD-7C54-3E6F-6E1E09738B14}"/>
    <pc:docChg chg="addSld modSld">
      <pc:chgData name="Aleena Lida Surenian" userId="S::als0813@ads.northwestern.edu::e2fd0e4e-6417-49b0-ab16-0ba26a1719f0" providerId="AD" clId="Web-{A78FD106-6DFD-7C54-3E6F-6E1E09738B14}" dt="2023-10-19T14:38:33.029" v="83"/>
      <pc:docMkLst>
        <pc:docMk/>
      </pc:docMkLst>
      <pc:sldChg chg="modSp">
        <pc:chgData name="Aleena Lida Surenian" userId="S::als0813@ads.northwestern.edu::e2fd0e4e-6417-49b0-ab16-0ba26a1719f0" providerId="AD" clId="Web-{A78FD106-6DFD-7C54-3E6F-6E1E09738B14}" dt="2023-10-19T14:34:33.544" v="60" actId="20577"/>
        <pc:sldMkLst>
          <pc:docMk/>
          <pc:sldMk cId="2345535808" sldId="301"/>
        </pc:sldMkLst>
        <pc:spChg chg="mod">
          <ac:chgData name="Aleena Lida Surenian" userId="S::als0813@ads.northwestern.edu::e2fd0e4e-6417-49b0-ab16-0ba26a1719f0" providerId="AD" clId="Web-{A78FD106-6DFD-7C54-3E6F-6E1E09738B14}" dt="2023-10-19T14:34:33.544" v="60" actId="20577"/>
          <ac:spMkLst>
            <pc:docMk/>
            <pc:sldMk cId="2345535808" sldId="301"/>
            <ac:spMk id="22" creationId="{00000000-0000-0000-0000-000000000000}"/>
          </ac:spMkLst>
        </pc:spChg>
      </pc:sldChg>
      <pc:sldChg chg="modSp">
        <pc:chgData name="Aleena Lida Surenian" userId="S::als0813@ads.northwestern.edu::e2fd0e4e-6417-49b0-ab16-0ba26a1719f0" providerId="AD" clId="Web-{A78FD106-6DFD-7C54-3E6F-6E1E09738B14}" dt="2023-10-19T14:32:36.232" v="24" actId="1076"/>
        <pc:sldMkLst>
          <pc:docMk/>
          <pc:sldMk cId="4151258007" sldId="302"/>
        </pc:sldMkLst>
        <pc:spChg chg="mod">
          <ac:chgData name="Aleena Lida Surenian" userId="S::als0813@ads.northwestern.edu::e2fd0e4e-6417-49b0-ab16-0ba26a1719f0" providerId="AD" clId="Web-{A78FD106-6DFD-7C54-3E6F-6E1E09738B14}" dt="2023-10-19T14:31:57.435" v="15" actId="14100"/>
          <ac:spMkLst>
            <pc:docMk/>
            <pc:sldMk cId="4151258007" sldId="302"/>
            <ac:spMk id="12" creationId="{00000000-0000-0000-0000-000000000000}"/>
          </ac:spMkLst>
        </pc:spChg>
        <pc:spChg chg="mod">
          <ac:chgData name="Aleena Lida Surenian" userId="S::als0813@ads.northwestern.edu::e2fd0e4e-6417-49b0-ab16-0ba26a1719f0" providerId="AD" clId="Web-{A78FD106-6DFD-7C54-3E6F-6E1E09738B14}" dt="2023-10-19T14:32:36.232" v="24" actId="1076"/>
          <ac:spMkLst>
            <pc:docMk/>
            <pc:sldMk cId="4151258007" sldId="302"/>
            <ac:spMk id="13" creationId="{00000000-0000-0000-0000-000000000000}"/>
          </ac:spMkLst>
        </pc:spChg>
        <pc:spChg chg="mod">
          <ac:chgData name="Aleena Lida Surenian" userId="S::als0813@ads.northwestern.edu::e2fd0e4e-6417-49b0-ab16-0ba26a1719f0" providerId="AD" clId="Web-{A78FD106-6DFD-7C54-3E6F-6E1E09738B14}" dt="2023-10-19T14:32:31.701" v="23" actId="1076"/>
          <ac:spMkLst>
            <pc:docMk/>
            <pc:sldMk cId="4151258007" sldId="302"/>
            <ac:spMk id="18" creationId="{00000000-0000-0000-0000-000000000000}"/>
          </ac:spMkLst>
        </pc:spChg>
      </pc:sldChg>
      <pc:sldChg chg="modSp">
        <pc:chgData name="Aleena Lida Surenian" userId="S::als0813@ads.northwestern.edu::e2fd0e4e-6417-49b0-ab16-0ba26a1719f0" providerId="AD" clId="Web-{A78FD106-6DFD-7C54-3E6F-6E1E09738B14}" dt="2023-10-19T14:32:41.951" v="25" actId="1076"/>
        <pc:sldMkLst>
          <pc:docMk/>
          <pc:sldMk cId="2745681107" sldId="303"/>
        </pc:sldMkLst>
        <pc:spChg chg="mod">
          <ac:chgData name="Aleena Lida Surenian" userId="S::als0813@ads.northwestern.edu::e2fd0e4e-6417-49b0-ab16-0ba26a1719f0" providerId="AD" clId="Web-{A78FD106-6DFD-7C54-3E6F-6E1E09738B14}" dt="2023-10-19T14:32:00.701" v="16" actId="14100"/>
          <ac:spMkLst>
            <pc:docMk/>
            <pc:sldMk cId="2745681107" sldId="303"/>
            <ac:spMk id="6" creationId="{00000000-0000-0000-0000-000000000000}"/>
          </ac:spMkLst>
        </pc:spChg>
        <pc:spChg chg="mod">
          <ac:chgData name="Aleena Lida Surenian" userId="S::als0813@ads.northwestern.edu::e2fd0e4e-6417-49b0-ab16-0ba26a1719f0" providerId="AD" clId="Web-{A78FD106-6DFD-7C54-3E6F-6E1E09738B14}" dt="2023-10-19T14:32:13.716" v="19" actId="1076"/>
          <ac:spMkLst>
            <pc:docMk/>
            <pc:sldMk cId="2745681107" sldId="303"/>
            <ac:spMk id="7" creationId="{00000000-0000-0000-0000-000000000000}"/>
          </ac:spMkLst>
        </pc:spChg>
        <pc:spChg chg="mod">
          <ac:chgData name="Aleena Lida Surenian" userId="S::als0813@ads.northwestern.edu::e2fd0e4e-6417-49b0-ab16-0ba26a1719f0" providerId="AD" clId="Web-{A78FD106-6DFD-7C54-3E6F-6E1E09738B14}" dt="2023-10-19T14:32:41.951" v="25" actId="1076"/>
          <ac:spMkLst>
            <pc:docMk/>
            <pc:sldMk cId="2745681107" sldId="303"/>
            <ac:spMk id="19" creationId="{00000000-0000-0000-0000-000000000000}"/>
          </ac:spMkLst>
        </pc:spChg>
      </pc:sldChg>
      <pc:sldChg chg="modSp">
        <pc:chgData name="Aleena Lida Surenian" userId="S::als0813@ads.northwestern.edu::e2fd0e4e-6417-49b0-ab16-0ba26a1719f0" providerId="AD" clId="Web-{A78FD106-6DFD-7C54-3E6F-6E1E09738B14}" dt="2023-10-19T14:34:47.045" v="62" actId="20577"/>
        <pc:sldMkLst>
          <pc:docMk/>
          <pc:sldMk cId="2359589412" sldId="304"/>
        </pc:sldMkLst>
        <pc:spChg chg="mod">
          <ac:chgData name="Aleena Lida Surenian" userId="S::als0813@ads.northwestern.edu::e2fd0e4e-6417-49b0-ab16-0ba26a1719f0" providerId="AD" clId="Web-{A78FD106-6DFD-7C54-3E6F-6E1E09738B14}" dt="2023-10-19T14:33:16.044" v="32" actId="1076"/>
          <ac:spMkLst>
            <pc:docMk/>
            <pc:sldMk cId="2359589412" sldId="304"/>
            <ac:spMk id="9" creationId="{00000000-0000-0000-0000-000000000000}"/>
          </ac:spMkLst>
        </pc:spChg>
        <pc:spChg chg="mod">
          <ac:chgData name="Aleena Lida Surenian" userId="S::als0813@ads.northwestern.edu::e2fd0e4e-6417-49b0-ab16-0ba26a1719f0" providerId="AD" clId="Web-{A78FD106-6DFD-7C54-3E6F-6E1E09738B14}" dt="2023-10-19T14:34:13.466" v="56" actId="20577"/>
          <ac:spMkLst>
            <pc:docMk/>
            <pc:sldMk cId="2359589412" sldId="304"/>
            <ac:spMk id="10" creationId="{00000000-0000-0000-0000-000000000000}"/>
          </ac:spMkLst>
        </pc:spChg>
        <pc:spChg chg="mod">
          <ac:chgData name="Aleena Lida Surenian" userId="S::als0813@ads.northwestern.edu::e2fd0e4e-6417-49b0-ab16-0ba26a1719f0" providerId="AD" clId="Web-{A78FD106-6DFD-7C54-3E6F-6E1E09738B14}" dt="2023-10-19T14:34:47.045" v="62" actId="20577"/>
          <ac:spMkLst>
            <pc:docMk/>
            <pc:sldMk cId="2359589412" sldId="304"/>
            <ac:spMk id="20" creationId="{00000000-0000-0000-0000-000000000000}"/>
          </ac:spMkLst>
        </pc:spChg>
        <pc:grpChg chg="mod">
          <ac:chgData name="Aleena Lida Surenian" userId="S::als0813@ads.northwestern.edu::e2fd0e4e-6417-49b0-ab16-0ba26a1719f0" providerId="AD" clId="Web-{A78FD106-6DFD-7C54-3E6F-6E1E09738B14}" dt="2023-10-19T14:33:25.169" v="33" actId="1076"/>
          <ac:grpSpMkLst>
            <pc:docMk/>
            <pc:sldMk cId="2359589412" sldId="304"/>
            <ac:grpSpMk id="8" creationId="{00000000-0000-0000-0000-000000000000}"/>
          </ac:grpSpMkLst>
        </pc:grpChg>
      </pc:sldChg>
      <pc:sldChg chg="delSp modSp">
        <pc:chgData name="Aleena Lida Surenian" userId="S::als0813@ads.northwestern.edu::e2fd0e4e-6417-49b0-ab16-0ba26a1719f0" providerId="AD" clId="Web-{A78FD106-6DFD-7C54-3E6F-6E1E09738B14}" dt="2023-10-19T14:34:05.529" v="53" actId="20577"/>
        <pc:sldMkLst>
          <pc:docMk/>
          <pc:sldMk cId="3622820593" sldId="305"/>
        </pc:sldMkLst>
        <pc:spChg chg="mod">
          <ac:chgData name="Aleena Lida Surenian" userId="S::als0813@ads.northwestern.edu::e2fd0e4e-6417-49b0-ab16-0ba26a1719f0" providerId="AD" clId="Web-{A78FD106-6DFD-7C54-3E6F-6E1E09738B14}" dt="2023-10-19T14:34:05.529" v="53" actId="20577"/>
          <ac:spMkLst>
            <pc:docMk/>
            <pc:sldMk cId="3622820593" sldId="305"/>
            <ac:spMk id="4" creationId="{00000000-0000-0000-0000-000000000000}"/>
          </ac:spMkLst>
        </pc:spChg>
        <pc:spChg chg="del topLvl">
          <ac:chgData name="Aleena Lida Surenian" userId="S::als0813@ads.northwestern.edu::e2fd0e4e-6417-49b0-ab16-0ba26a1719f0" providerId="AD" clId="Web-{A78FD106-6DFD-7C54-3E6F-6E1E09738B14}" dt="2023-10-19T14:31:41.404" v="10"/>
          <ac:spMkLst>
            <pc:docMk/>
            <pc:sldMk cId="3622820593" sldId="305"/>
            <ac:spMk id="6" creationId="{00000000-0000-0000-0000-000000000000}"/>
          </ac:spMkLst>
        </pc:spChg>
        <pc:spChg chg="topLvl">
          <ac:chgData name="Aleena Lida Surenian" userId="S::als0813@ads.northwestern.edu::e2fd0e4e-6417-49b0-ab16-0ba26a1719f0" providerId="AD" clId="Web-{A78FD106-6DFD-7C54-3E6F-6E1E09738B14}" dt="2023-10-19T14:31:41.404" v="10"/>
          <ac:spMkLst>
            <pc:docMk/>
            <pc:sldMk cId="3622820593" sldId="305"/>
            <ac:spMk id="7" creationId="{00000000-0000-0000-0000-000000000000}"/>
          </ac:spMkLst>
        </pc:spChg>
        <pc:spChg chg="mod">
          <ac:chgData name="Aleena Lida Surenian" userId="S::als0813@ads.northwestern.edu::e2fd0e4e-6417-49b0-ab16-0ba26a1719f0" providerId="AD" clId="Web-{A78FD106-6DFD-7C54-3E6F-6E1E09738B14}" dt="2023-10-19T14:31:37.622" v="7" actId="20577"/>
          <ac:spMkLst>
            <pc:docMk/>
            <pc:sldMk cId="3622820593" sldId="305"/>
            <ac:spMk id="10" creationId="{00000000-0000-0000-0000-000000000000}"/>
          </ac:spMkLst>
        </pc:spChg>
        <pc:spChg chg="del">
          <ac:chgData name="Aleena Lida Surenian" userId="S::als0813@ads.northwestern.edu::e2fd0e4e-6417-49b0-ab16-0ba26a1719f0" providerId="AD" clId="Web-{A78FD106-6DFD-7C54-3E6F-6E1E09738B14}" dt="2023-10-19T14:31:32.107" v="3"/>
          <ac:spMkLst>
            <pc:docMk/>
            <pc:sldMk cId="3622820593" sldId="305"/>
            <ac:spMk id="17" creationId="{00000000-0000-0000-0000-000000000000}"/>
          </ac:spMkLst>
        </pc:spChg>
        <pc:spChg chg="del">
          <ac:chgData name="Aleena Lida Surenian" userId="S::als0813@ads.northwestern.edu::e2fd0e4e-6417-49b0-ab16-0ba26a1719f0" providerId="AD" clId="Web-{A78FD106-6DFD-7C54-3E6F-6E1E09738B14}" dt="2023-10-19T14:31:32.122" v="4"/>
          <ac:spMkLst>
            <pc:docMk/>
            <pc:sldMk cId="3622820593" sldId="305"/>
            <ac:spMk id="18" creationId="{00000000-0000-0000-0000-000000000000}"/>
          </ac:spMkLst>
        </pc:spChg>
        <pc:spChg chg="del">
          <ac:chgData name="Aleena Lida Surenian" userId="S::als0813@ads.northwestern.edu::e2fd0e4e-6417-49b0-ab16-0ba26a1719f0" providerId="AD" clId="Web-{A78FD106-6DFD-7C54-3E6F-6E1E09738B14}" dt="2023-10-19T14:31:33.451" v="5"/>
          <ac:spMkLst>
            <pc:docMk/>
            <pc:sldMk cId="3622820593" sldId="305"/>
            <ac:spMk id="19" creationId="{00000000-0000-0000-0000-000000000000}"/>
          </ac:spMkLst>
        </pc:spChg>
        <pc:spChg chg="del">
          <ac:chgData name="Aleena Lida Surenian" userId="S::als0813@ads.northwestern.edu::e2fd0e4e-6417-49b0-ab16-0ba26a1719f0" providerId="AD" clId="Web-{A78FD106-6DFD-7C54-3E6F-6E1E09738B14}" dt="2023-10-19T14:31:35.466" v="6"/>
          <ac:spMkLst>
            <pc:docMk/>
            <pc:sldMk cId="3622820593" sldId="305"/>
            <ac:spMk id="20" creationId="{00000000-0000-0000-0000-000000000000}"/>
          </ac:spMkLst>
        </pc:spChg>
        <pc:spChg chg="mod">
          <ac:chgData name="Aleena Lida Surenian" userId="S::als0813@ads.northwestern.edu::e2fd0e4e-6417-49b0-ab16-0ba26a1719f0" providerId="AD" clId="Web-{A78FD106-6DFD-7C54-3E6F-6E1E09738B14}" dt="2023-10-19T14:33:42.357" v="38" actId="20577"/>
          <ac:spMkLst>
            <pc:docMk/>
            <pc:sldMk cId="3622820593" sldId="305"/>
            <ac:spMk id="21" creationId="{00000000-0000-0000-0000-000000000000}"/>
          </ac:spMkLst>
        </pc:spChg>
        <pc:spChg chg="del topLvl">
          <ac:chgData name="Aleena Lida Surenian" userId="S::als0813@ads.northwestern.edu::e2fd0e4e-6417-49b0-ab16-0ba26a1719f0" providerId="AD" clId="Web-{A78FD106-6DFD-7C54-3E6F-6E1E09738B14}" dt="2023-10-19T14:31:32.060" v="2"/>
          <ac:spMkLst>
            <pc:docMk/>
            <pc:sldMk cId="3622820593" sldId="305"/>
            <ac:spMk id="23" creationId="{00000000-0000-0000-0000-000000000000}"/>
          </ac:spMkLst>
        </pc:spChg>
        <pc:spChg chg="del mod topLvl">
          <ac:chgData name="Aleena Lida Surenian" userId="S::als0813@ads.northwestern.edu::e2fd0e4e-6417-49b0-ab16-0ba26a1719f0" providerId="AD" clId="Web-{A78FD106-6DFD-7C54-3E6F-6E1E09738B14}" dt="2023-10-19T14:31:26.701" v="1"/>
          <ac:spMkLst>
            <pc:docMk/>
            <pc:sldMk cId="3622820593" sldId="305"/>
            <ac:spMk id="24" creationId="{00000000-0000-0000-0000-000000000000}"/>
          </ac:spMkLst>
        </pc:spChg>
        <pc:grpChg chg="mod">
          <ac:chgData name="Aleena Lida Surenian" userId="S::als0813@ads.northwestern.edu::e2fd0e4e-6417-49b0-ab16-0ba26a1719f0" providerId="AD" clId="Web-{A78FD106-6DFD-7C54-3E6F-6E1E09738B14}" dt="2023-10-19T14:32:08.044" v="18" actId="14100"/>
          <ac:grpSpMkLst>
            <pc:docMk/>
            <pc:sldMk cId="3622820593" sldId="305"/>
            <ac:grpSpMk id="2" creationId="{00000000-0000-0000-0000-000000000000}"/>
          </ac:grpSpMkLst>
        </pc:grpChg>
        <pc:grpChg chg="del">
          <ac:chgData name="Aleena Lida Surenian" userId="S::als0813@ads.northwestern.edu::e2fd0e4e-6417-49b0-ab16-0ba26a1719f0" providerId="AD" clId="Web-{A78FD106-6DFD-7C54-3E6F-6E1E09738B14}" dt="2023-10-19T14:31:41.404" v="10"/>
          <ac:grpSpMkLst>
            <pc:docMk/>
            <pc:sldMk cId="3622820593" sldId="305"/>
            <ac:grpSpMk id="5" creationId="{00000000-0000-0000-0000-000000000000}"/>
          </ac:grpSpMkLst>
        </pc:grpChg>
        <pc:grpChg chg="del">
          <ac:chgData name="Aleena Lida Surenian" userId="S::als0813@ads.northwestern.edu::e2fd0e4e-6417-49b0-ab16-0ba26a1719f0" providerId="AD" clId="Web-{A78FD106-6DFD-7C54-3E6F-6E1E09738B14}" dt="2023-10-19T14:31:37.966" v="8"/>
          <ac:grpSpMkLst>
            <pc:docMk/>
            <pc:sldMk cId="3622820593" sldId="305"/>
            <ac:grpSpMk id="8" creationId="{00000000-0000-0000-0000-000000000000}"/>
          </ac:grpSpMkLst>
        </pc:grpChg>
        <pc:grpChg chg="del">
          <ac:chgData name="Aleena Lida Surenian" userId="S::als0813@ads.northwestern.edu::e2fd0e4e-6417-49b0-ab16-0ba26a1719f0" providerId="AD" clId="Web-{A78FD106-6DFD-7C54-3E6F-6E1E09738B14}" dt="2023-10-19T14:31:39.888" v="9"/>
          <ac:grpSpMkLst>
            <pc:docMk/>
            <pc:sldMk cId="3622820593" sldId="305"/>
            <ac:grpSpMk id="11" creationId="{00000000-0000-0000-0000-000000000000}"/>
          </ac:grpSpMkLst>
        </pc:grpChg>
        <pc:grpChg chg="del">
          <ac:chgData name="Aleena Lida Surenian" userId="S::als0813@ads.northwestern.edu::e2fd0e4e-6417-49b0-ab16-0ba26a1719f0" providerId="AD" clId="Web-{A78FD106-6DFD-7C54-3E6F-6E1E09738B14}" dt="2023-10-19T14:31:42.357" v="11"/>
          <ac:grpSpMkLst>
            <pc:docMk/>
            <pc:sldMk cId="3622820593" sldId="305"/>
            <ac:grpSpMk id="14" creationId="{00000000-0000-0000-0000-000000000000}"/>
          </ac:grpSpMkLst>
        </pc:grpChg>
        <pc:grpChg chg="del">
          <ac:chgData name="Aleena Lida Surenian" userId="S::als0813@ads.northwestern.edu::e2fd0e4e-6417-49b0-ab16-0ba26a1719f0" providerId="AD" clId="Web-{A78FD106-6DFD-7C54-3E6F-6E1E09738B14}" dt="2023-10-19T14:31:26.701" v="1"/>
          <ac:grpSpMkLst>
            <pc:docMk/>
            <pc:sldMk cId="3622820593" sldId="305"/>
            <ac:grpSpMk id="22" creationId="{00000000-0000-0000-0000-000000000000}"/>
          </ac:grpSpMkLst>
        </pc:grpChg>
      </pc:sldChg>
      <pc:sldChg chg="modSp add">
        <pc:chgData name="Aleena Lida Surenian" userId="S::als0813@ads.northwestern.edu::e2fd0e4e-6417-49b0-ab16-0ba26a1719f0" providerId="AD" clId="Web-{A78FD106-6DFD-7C54-3E6F-6E1E09738B14}" dt="2023-10-19T14:38:15.810" v="82" actId="1076"/>
        <pc:sldMkLst>
          <pc:docMk/>
          <pc:sldMk cId="534217119" sldId="306"/>
        </pc:sldMkLst>
        <pc:spChg chg="mod">
          <ac:chgData name="Aleena Lida Surenian" userId="S::als0813@ads.northwestern.edu::e2fd0e4e-6417-49b0-ab16-0ba26a1719f0" providerId="AD" clId="Web-{A78FD106-6DFD-7C54-3E6F-6E1E09738B14}" dt="2023-10-19T14:38:15.810" v="82" actId="1076"/>
          <ac:spMkLst>
            <pc:docMk/>
            <pc:sldMk cId="534217119" sldId="306"/>
            <ac:spMk id="20" creationId="{00000000-0000-0000-0000-000000000000}"/>
          </ac:spMkLst>
        </pc:spChg>
        <pc:spChg chg="mod">
          <ac:chgData name="Aleena Lida Surenian" userId="S::als0813@ads.northwestern.edu::e2fd0e4e-6417-49b0-ab16-0ba26a1719f0" providerId="AD" clId="Web-{A78FD106-6DFD-7C54-3E6F-6E1E09738B14}" dt="2023-10-19T14:38:10.310" v="81" actId="20577"/>
          <ac:spMkLst>
            <pc:docMk/>
            <pc:sldMk cId="534217119" sldId="306"/>
            <ac:spMk id="25" creationId="{00000000-0000-0000-0000-000000000000}"/>
          </ac:spMkLst>
        </pc:spChg>
        <pc:spChg chg="mod">
          <ac:chgData name="Aleena Lida Surenian" userId="S::als0813@ads.northwestern.edu::e2fd0e4e-6417-49b0-ab16-0ba26a1719f0" providerId="AD" clId="Web-{A78FD106-6DFD-7C54-3E6F-6E1E09738B14}" dt="2023-10-19T14:38:05.092" v="76" actId="20577"/>
          <ac:spMkLst>
            <pc:docMk/>
            <pc:sldMk cId="534217119" sldId="306"/>
            <ac:spMk id="26" creationId="{00000000-0000-0000-0000-000000000000}"/>
          </ac:spMkLst>
        </pc:spChg>
      </pc:sldChg>
      <pc:sldChg chg="add">
        <pc:chgData name="Aleena Lida Surenian" userId="S::als0813@ads.northwestern.edu::e2fd0e4e-6417-49b0-ab16-0ba26a1719f0" providerId="AD" clId="Web-{A78FD106-6DFD-7C54-3E6F-6E1E09738B14}" dt="2023-10-19T14:38:33.029" v="83"/>
        <pc:sldMkLst>
          <pc:docMk/>
          <pc:sldMk cId="138308488" sldId="307"/>
        </pc:sldMkLst>
      </pc:sldChg>
    </pc:docChg>
  </pc:docChgLst>
  <pc:docChgLst>
    <pc:chgData name="Aleena Lida Surenian" userId="S::als0813@ads.northwestern.edu::e2fd0e4e-6417-49b0-ab16-0ba26a1719f0" providerId="AD" clId="Web-{49E8B3CF-D83D-A40E-3C36-DB4BE4D2F37F}"/>
    <pc:docChg chg="addSld delSld modSld modMainMaster">
      <pc:chgData name="Aleena Lida Surenian" userId="S::als0813@ads.northwestern.edu::e2fd0e4e-6417-49b0-ab16-0ba26a1719f0" providerId="AD" clId="Web-{49E8B3CF-D83D-A40E-3C36-DB4BE4D2F37F}" dt="2023-10-31T01:51:24.151" v="28"/>
      <pc:docMkLst>
        <pc:docMk/>
      </pc:docMkLst>
      <pc:sldChg chg="del">
        <pc:chgData name="Aleena Lida Surenian" userId="S::als0813@ads.northwestern.edu::e2fd0e4e-6417-49b0-ab16-0ba26a1719f0" providerId="AD" clId="Web-{49E8B3CF-D83D-A40E-3C36-DB4BE4D2F37F}" dt="2023-10-31T01:47:57.739" v="5"/>
        <pc:sldMkLst>
          <pc:docMk/>
          <pc:sldMk cId="1976260822" sldId="299"/>
        </pc:sldMkLst>
      </pc:sldChg>
      <pc:sldChg chg="del">
        <pc:chgData name="Aleena Lida Surenian" userId="S::als0813@ads.northwestern.edu::e2fd0e4e-6417-49b0-ab16-0ba26a1719f0" providerId="AD" clId="Web-{49E8B3CF-D83D-A40E-3C36-DB4BE4D2F37F}" dt="2023-10-31T01:47:49.052" v="0"/>
        <pc:sldMkLst>
          <pc:docMk/>
          <pc:sldMk cId="2345535808" sldId="301"/>
        </pc:sldMkLst>
      </pc:sldChg>
      <pc:sldChg chg="del">
        <pc:chgData name="Aleena Lida Surenian" userId="S::als0813@ads.northwestern.edu::e2fd0e4e-6417-49b0-ab16-0ba26a1719f0" providerId="AD" clId="Web-{49E8B3CF-D83D-A40E-3C36-DB4BE4D2F37F}" dt="2023-10-31T01:47:56.474" v="1"/>
        <pc:sldMkLst>
          <pc:docMk/>
          <pc:sldMk cId="4151258007" sldId="302"/>
        </pc:sldMkLst>
      </pc:sldChg>
      <pc:sldChg chg="del">
        <pc:chgData name="Aleena Lida Surenian" userId="S::als0813@ads.northwestern.edu::e2fd0e4e-6417-49b0-ab16-0ba26a1719f0" providerId="AD" clId="Web-{49E8B3CF-D83D-A40E-3C36-DB4BE4D2F37F}" dt="2023-10-31T01:47:57.021" v="2"/>
        <pc:sldMkLst>
          <pc:docMk/>
          <pc:sldMk cId="2745681107" sldId="303"/>
        </pc:sldMkLst>
      </pc:sldChg>
      <pc:sldChg chg="del">
        <pc:chgData name="Aleena Lida Surenian" userId="S::als0813@ads.northwestern.edu::e2fd0e4e-6417-49b0-ab16-0ba26a1719f0" providerId="AD" clId="Web-{49E8B3CF-D83D-A40E-3C36-DB4BE4D2F37F}" dt="2023-10-31T01:47:57.333" v="3"/>
        <pc:sldMkLst>
          <pc:docMk/>
          <pc:sldMk cId="2359589412" sldId="304"/>
        </pc:sldMkLst>
      </pc:sldChg>
      <pc:sldChg chg="del">
        <pc:chgData name="Aleena Lida Surenian" userId="S::als0813@ads.northwestern.edu::e2fd0e4e-6417-49b0-ab16-0ba26a1719f0" providerId="AD" clId="Web-{49E8B3CF-D83D-A40E-3C36-DB4BE4D2F37F}" dt="2023-10-31T01:47:57.411" v="4"/>
        <pc:sldMkLst>
          <pc:docMk/>
          <pc:sldMk cId="3622820593" sldId="305"/>
        </pc:sldMkLst>
      </pc:sldChg>
      <pc:sldChg chg="del">
        <pc:chgData name="Aleena Lida Surenian" userId="S::als0813@ads.northwestern.edu::e2fd0e4e-6417-49b0-ab16-0ba26a1719f0" providerId="AD" clId="Web-{49E8B3CF-D83D-A40E-3C36-DB4BE4D2F37F}" dt="2023-10-31T01:48:00.490" v="6"/>
        <pc:sldMkLst>
          <pc:docMk/>
          <pc:sldMk cId="534217119" sldId="306"/>
        </pc:sldMkLst>
      </pc:sldChg>
      <pc:sldChg chg="del">
        <pc:chgData name="Aleena Lida Surenian" userId="S::als0813@ads.northwestern.edu::e2fd0e4e-6417-49b0-ab16-0ba26a1719f0" providerId="AD" clId="Web-{49E8B3CF-D83D-A40E-3C36-DB4BE4D2F37F}" dt="2023-10-31T01:48:04.693" v="7"/>
        <pc:sldMkLst>
          <pc:docMk/>
          <pc:sldMk cId="138308488" sldId="307"/>
        </pc:sldMkLst>
      </pc:sldChg>
      <pc:sldChg chg="del">
        <pc:chgData name="Aleena Lida Surenian" userId="S::als0813@ads.northwestern.edu::e2fd0e4e-6417-49b0-ab16-0ba26a1719f0" providerId="AD" clId="Web-{49E8B3CF-D83D-A40E-3C36-DB4BE4D2F37F}" dt="2023-10-31T01:50:42.071" v="24"/>
        <pc:sldMkLst>
          <pc:docMk/>
          <pc:sldMk cId="2462361948" sldId="310"/>
        </pc:sldMkLst>
      </pc:sldChg>
      <pc:sldChg chg="delSp modSp add">
        <pc:chgData name="Aleena Lida Surenian" userId="S::als0813@ads.northwestern.edu::e2fd0e4e-6417-49b0-ab16-0ba26a1719f0" providerId="AD" clId="Web-{49E8B3CF-D83D-A40E-3C36-DB4BE4D2F37F}" dt="2023-10-31T01:51:24.151" v="28"/>
        <pc:sldMkLst>
          <pc:docMk/>
          <pc:sldMk cId="910938155" sldId="314"/>
        </pc:sldMkLst>
        <pc:spChg chg="del mod">
          <ac:chgData name="Aleena Lida Surenian" userId="S::als0813@ads.northwestern.edu::e2fd0e4e-6417-49b0-ab16-0ba26a1719f0" providerId="AD" clId="Web-{49E8B3CF-D83D-A40E-3C36-DB4BE4D2F37F}" dt="2023-10-31T01:51:24.151" v="28"/>
          <ac:spMkLst>
            <pc:docMk/>
            <pc:sldMk cId="910938155" sldId="314"/>
            <ac:spMk id="9" creationId="{00000000-0000-0000-0000-000000000000}"/>
          </ac:spMkLst>
        </pc:spChg>
        <pc:spChg chg="del mod">
          <ac:chgData name="Aleena Lida Surenian" userId="S::als0813@ads.northwestern.edu::e2fd0e4e-6417-49b0-ab16-0ba26a1719f0" providerId="AD" clId="Web-{49E8B3CF-D83D-A40E-3C36-DB4BE4D2F37F}" dt="2023-10-31T01:51:22.447" v="26"/>
          <ac:spMkLst>
            <pc:docMk/>
            <pc:sldMk cId="910938155" sldId="314"/>
            <ac:spMk id="10" creationId="{00000000-0000-0000-0000-000000000000}"/>
          </ac:spMkLst>
        </pc:spChg>
      </pc:sldChg>
      <pc:sldChg chg="add">
        <pc:chgData name="Aleena Lida Surenian" userId="S::als0813@ads.northwestern.edu::e2fd0e4e-6417-49b0-ab16-0ba26a1719f0" providerId="AD" clId="Web-{49E8B3CF-D83D-A40E-3C36-DB4BE4D2F37F}" dt="2023-10-31T01:48:56.397" v="9"/>
        <pc:sldMkLst>
          <pc:docMk/>
          <pc:sldMk cId="2128475166" sldId="315"/>
        </pc:sldMkLst>
      </pc:sldChg>
      <pc:sldChg chg="add">
        <pc:chgData name="Aleena Lida Surenian" userId="S::als0813@ads.northwestern.edu::e2fd0e4e-6417-49b0-ab16-0ba26a1719f0" providerId="AD" clId="Web-{49E8B3CF-D83D-A40E-3C36-DB4BE4D2F37F}" dt="2023-10-31T01:48:56.413" v="10"/>
        <pc:sldMkLst>
          <pc:docMk/>
          <pc:sldMk cId="1681967680" sldId="316"/>
        </pc:sldMkLst>
      </pc:sldChg>
      <pc:sldChg chg="add">
        <pc:chgData name="Aleena Lida Surenian" userId="S::als0813@ads.northwestern.edu::e2fd0e4e-6417-49b0-ab16-0ba26a1719f0" providerId="AD" clId="Web-{49E8B3CF-D83D-A40E-3C36-DB4BE4D2F37F}" dt="2023-10-31T01:48:56.569" v="11"/>
        <pc:sldMkLst>
          <pc:docMk/>
          <pc:sldMk cId="4237872439" sldId="317"/>
        </pc:sldMkLst>
      </pc:sldChg>
      <pc:sldChg chg="add">
        <pc:chgData name="Aleena Lida Surenian" userId="S::als0813@ads.northwestern.edu::e2fd0e4e-6417-49b0-ab16-0ba26a1719f0" providerId="AD" clId="Web-{49E8B3CF-D83D-A40E-3C36-DB4BE4D2F37F}" dt="2023-10-31T01:48:56.585" v="12"/>
        <pc:sldMkLst>
          <pc:docMk/>
          <pc:sldMk cId="3298592735" sldId="318"/>
        </pc:sldMkLst>
      </pc:sldChg>
      <pc:sldChg chg="add">
        <pc:chgData name="Aleena Lida Surenian" userId="S::als0813@ads.northwestern.edu::e2fd0e4e-6417-49b0-ab16-0ba26a1719f0" providerId="AD" clId="Web-{49E8B3CF-D83D-A40E-3C36-DB4BE4D2F37F}" dt="2023-10-31T01:48:56.819" v="13"/>
        <pc:sldMkLst>
          <pc:docMk/>
          <pc:sldMk cId="4198102940" sldId="319"/>
        </pc:sldMkLst>
      </pc:sldChg>
      <pc:sldChg chg="add">
        <pc:chgData name="Aleena Lida Surenian" userId="S::als0813@ads.northwestern.edu::e2fd0e4e-6417-49b0-ab16-0ba26a1719f0" providerId="AD" clId="Web-{49E8B3CF-D83D-A40E-3C36-DB4BE4D2F37F}" dt="2023-10-31T01:48:56.850" v="14"/>
        <pc:sldMkLst>
          <pc:docMk/>
          <pc:sldMk cId="3559690070" sldId="320"/>
        </pc:sldMkLst>
      </pc:sldChg>
      <pc:sldChg chg="add">
        <pc:chgData name="Aleena Lida Surenian" userId="S::als0813@ads.northwestern.edu::e2fd0e4e-6417-49b0-ab16-0ba26a1719f0" providerId="AD" clId="Web-{49E8B3CF-D83D-A40E-3C36-DB4BE4D2F37F}" dt="2023-10-31T01:48:56.991" v="15"/>
        <pc:sldMkLst>
          <pc:docMk/>
          <pc:sldMk cId="368992253" sldId="321"/>
        </pc:sldMkLst>
      </pc:sldChg>
      <pc:sldChg chg="add">
        <pc:chgData name="Aleena Lida Surenian" userId="S::als0813@ads.northwestern.edu::e2fd0e4e-6417-49b0-ab16-0ba26a1719f0" providerId="AD" clId="Web-{49E8B3CF-D83D-A40E-3C36-DB4BE4D2F37F}" dt="2023-10-31T01:48:57.022" v="16"/>
        <pc:sldMkLst>
          <pc:docMk/>
          <pc:sldMk cId="3579260502" sldId="322"/>
        </pc:sldMkLst>
      </pc:sldChg>
      <pc:sldChg chg="add">
        <pc:chgData name="Aleena Lida Surenian" userId="S::als0813@ads.northwestern.edu::e2fd0e4e-6417-49b0-ab16-0ba26a1719f0" providerId="AD" clId="Web-{49E8B3CF-D83D-A40E-3C36-DB4BE4D2F37F}" dt="2023-10-31T01:48:57.147" v="17"/>
        <pc:sldMkLst>
          <pc:docMk/>
          <pc:sldMk cId="410180325" sldId="323"/>
        </pc:sldMkLst>
      </pc:sldChg>
      <pc:sldChg chg="add">
        <pc:chgData name="Aleena Lida Surenian" userId="S::als0813@ads.northwestern.edu::e2fd0e4e-6417-49b0-ab16-0ba26a1719f0" providerId="AD" clId="Web-{49E8B3CF-D83D-A40E-3C36-DB4BE4D2F37F}" dt="2023-10-31T01:48:57.397" v="18"/>
        <pc:sldMkLst>
          <pc:docMk/>
          <pc:sldMk cId="2030386992" sldId="324"/>
        </pc:sldMkLst>
      </pc:sldChg>
      <pc:sldChg chg="add">
        <pc:chgData name="Aleena Lida Surenian" userId="S::als0813@ads.northwestern.edu::e2fd0e4e-6417-49b0-ab16-0ba26a1719f0" providerId="AD" clId="Web-{49E8B3CF-D83D-A40E-3C36-DB4BE4D2F37F}" dt="2023-10-31T01:48:57.428" v="19"/>
        <pc:sldMkLst>
          <pc:docMk/>
          <pc:sldMk cId="3169760697" sldId="325"/>
        </pc:sldMkLst>
      </pc:sldChg>
      <pc:sldChg chg="add">
        <pc:chgData name="Aleena Lida Surenian" userId="S::als0813@ads.northwestern.edu::e2fd0e4e-6417-49b0-ab16-0ba26a1719f0" providerId="AD" clId="Web-{49E8B3CF-D83D-A40E-3C36-DB4BE4D2F37F}" dt="2023-10-31T01:48:57.741" v="20"/>
        <pc:sldMkLst>
          <pc:docMk/>
          <pc:sldMk cId="3286141238" sldId="326"/>
        </pc:sldMkLst>
      </pc:sldChg>
      <pc:sldChg chg="add">
        <pc:chgData name="Aleena Lida Surenian" userId="S::als0813@ads.northwestern.edu::e2fd0e4e-6417-49b0-ab16-0ba26a1719f0" providerId="AD" clId="Web-{49E8B3CF-D83D-A40E-3C36-DB4BE4D2F37F}" dt="2023-10-31T01:48:57.991" v="21"/>
        <pc:sldMkLst>
          <pc:docMk/>
          <pc:sldMk cId="1684100725" sldId="327"/>
        </pc:sldMkLst>
      </pc:sldChg>
      <pc:sldChg chg="add">
        <pc:chgData name="Aleena Lida Surenian" userId="S::als0813@ads.northwestern.edu::e2fd0e4e-6417-49b0-ab16-0ba26a1719f0" providerId="AD" clId="Web-{49E8B3CF-D83D-A40E-3C36-DB4BE4D2F37F}" dt="2023-10-31T01:50:11.071" v="22"/>
        <pc:sldMkLst>
          <pc:docMk/>
          <pc:sldMk cId="3134527286" sldId="328"/>
        </pc:sldMkLst>
      </pc:sldChg>
      <pc:sldChg chg="add">
        <pc:chgData name="Aleena Lida Surenian" userId="S::als0813@ads.northwestern.edu::e2fd0e4e-6417-49b0-ab16-0ba26a1719f0" providerId="AD" clId="Web-{49E8B3CF-D83D-A40E-3C36-DB4BE4D2F37F}" dt="2023-10-31T01:50:35.368" v="23"/>
        <pc:sldMkLst>
          <pc:docMk/>
          <pc:sldMk cId="3116073842" sldId="329"/>
        </pc:sldMkLst>
      </pc:sldChg>
      <pc:sldMasterChg chg="addSldLayout modSldLayout">
        <pc:chgData name="Aleena Lida Surenian" userId="S::als0813@ads.northwestern.edu::e2fd0e4e-6417-49b0-ab16-0ba26a1719f0" providerId="AD" clId="Web-{49E8B3CF-D83D-A40E-3C36-DB4BE4D2F37F}" dt="2023-10-31T01:50:11.071" v="22"/>
        <pc:sldMasterMkLst>
          <pc:docMk/>
          <pc:sldMasterMk cId="560092682" sldId="2147487158"/>
        </pc:sldMasterMkLst>
        <pc:sldLayoutChg chg="add">
          <pc:chgData name="Aleena Lida Surenian" userId="S::als0813@ads.northwestern.edu::e2fd0e4e-6417-49b0-ab16-0ba26a1719f0" providerId="AD" clId="Web-{49E8B3CF-D83D-A40E-3C36-DB4BE4D2F37F}" dt="2023-10-31T01:50:11.071" v="22"/>
          <pc:sldLayoutMkLst>
            <pc:docMk/>
            <pc:sldMasterMk cId="560092682" sldId="2147487158"/>
            <pc:sldLayoutMk cId="791199215" sldId="2147487304"/>
          </pc:sldLayoutMkLst>
        </pc:sldLayoutChg>
        <pc:sldLayoutChg chg="add">
          <pc:chgData name="Aleena Lida Surenian" userId="S::als0813@ads.northwestern.edu::e2fd0e4e-6417-49b0-ab16-0ba26a1719f0" providerId="AD" clId="Web-{49E8B3CF-D83D-A40E-3C36-DB4BE4D2F37F}" dt="2023-10-31T01:50:11.071" v="22"/>
          <pc:sldLayoutMkLst>
            <pc:docMk/>
            <pc:sldMasterMk cId="560092682" sldId="2147487158"/>
            <pc:sldLayoutMk cId="1629515799" sldId="2147487305"/>
          </pc:sldLayoutMkLst>
        </pc:sldLayoutChg>
        <pc:sldLayoutChg chg="add">
          <pc:chgData name="Aleena Lida Surenian" userId="S::als0813@ads.northwestern.edu::e2fd0e4e-6417-49b0-ab16-0ba26a1719f0" providerId="AD" clId="Web-{49E8B3CF-D83D-A40E-3C36-DB4BE4D2F37F}" dt="2023-10-31T01:50:11.071" v="22"/>
          <pc:sldLayoutMkLst>
            <pc:docMk/>
            <pc:sldMasterMk cId="560092682" sldId="2147487158"/>
            <pc:sldLayoutMk cId="2448436128" sldId="2147487306"/>
          </pc:sldLayoutMkLst>
        </pc:sldLayoutChg>
        <pc:sldLayoutChg chg="add">
          <pc:chgData name="Aleena Lida Surenian" userId="S::als0813@ads.northwestern.edu::e2fd0e4e-6417-49b0-ab16-0ba26a1719f0" providerId="AD" clId="Web-{49E8B3CF-D83D-A40E-3C36-DB4BE4D2F37F}" dt="2023-10-31T01:50:11.071" v="22"/>
          <pc:sldLayoutMkLst>
            <pc:docMk/>
            <pc:sldMasterMk cId="560092682" sldId="2147487158"/>
            <pc:sldLayoutMk cId="127921214" sldId="2147487510"/>
          </pc:sldLayoutMkLst>
        </pc:sldLayoutChg>
        <pc:sldLayoutChg chg="add">
          <pc:chgData name="Aleena Lida Surenian" userId="S::als0813@ads.northwestern.edu::e2fd0e4e-6417-49b0-ab16-0ba26a1719f0" providerId="AD" clId="Web-{49E8B3CF-D83D-A40E-3C36-DB4BE4D2F37F}" dt="2023-10-31T01:50:11.071" v="22"/>
          <pc:sldLayoutMkLst>
            <pc:docMk/>
            <pc:sldMasterMk cId="560092682" sldId="2147487158"/>
            <pc:sldLayoutMk cId="241920976" sldId="2147487511"/>
          </pc:sldLayoutMkLst>
        </pc:sldLayoutChg>
        <pc:sldLayoutChg chg="add">
          <pc:chgData name="Aleena Lida Surenian" userId="S::als0813@ads.northwestern.edu::e2fd0e4e-6417-49b0-ab16-0ba26a1719f0" providerId="AD" clId="Web-{49E8B3CF-D83D-A40E-3C36-DB4BE4D2F37F}" dt="2023-10-31T01:50:11.071" v="22"/>
          <pc:sldLayoutMkLst>
            <pc:docMk/>
            <pc:sldMasterMk cId="560092682" sldId="2147487158"/>
            <pc:sldLayoutMk cId="1635804420" sldId="2147487512"/>
          </pc:sldLayoutMkLst>
        </pc:sldLayoutChg>
        <pc:sldLayoutChg chg="add">
          <pc:chgData name="Aleena Lida Surenian" userId="S::als0813@ads.northwestern.edu::e2fd0e4e-6417-49b0-ab16-0ba26a1719f0" providerId="AD" clId="Web-{49E8B3CF-D83D-A40E-3C36-DB4BE4D2F37F}" dt="2023-10-31T01:50:11.071" v="22"/>
          <pc:sldLayoutMkLst>
            <pc:docMk/>
            <pc:sldMasterMk cId="560092682" sldId="2147487158"/>
            <pc:sldLayoutMk cId="1691578072" sldId="2147487632"/>
          </pc:sldLayoutMkLst>
        </pc:sldLayoutChg>
        <pc:sldLayoutChg chg="add">
          <pc:chgData name="Aleena Lida Surenian" userId="S::als0813@ads.northwestern.edu::e2fd0e4e-6417-49b0-ab16-0ba26a1719f0" providerId="AD" clId="Web-{49E8B3CF-D83D-A40E-3C36-DB4BE4D2F37F}" dt="2023-10-31T01:50:11.071" v="22"/>
          <pc:sldLayoutMkLst>
            <pc:docMk/>
            <pc:sldMasterMk cId="560092682" sldId="2147487158"/>
            <pc:sldLayoutMk cId="2132318659" sldId="2147487633"/>
          </pc:sldLayoutMkLst>
        </pc:sldLayoutChg>
        <pc:sldLayoutChg chg="add">
          <pc:chgData name="Aleena Lida Surenian" userId="S::als0813@ads.northwestern.edu::e2fd0e4e-6417-49b0-ab16-0ba26a1719f0" providerId="AD" clId="Web-{49E8B3CF-D83D-A40E-3C36-DB4BE4D2F37F}" dt="2023-10-31T01:50:11.071" v="22"/>
          <pc:sldLayoutMkLst>
            <pc:docMk/>
            <pc:sldMasterMk cId="560092682" sldId="2147487158"/>
            <pc:sldLayoutMk cId="3984238912" sldId="2147487634"/>
          </pc:sldLayoutMkLst>
        </pc:sldLayoutChg>
        <pc:sldLayoutChg chg="add">
          <pc:chgData name="Aleena Lida Surenian" userId="S::als0813@ads.northwestern.edu::e2fd0e4e-6417-49b0-ab16-0ba26a1719f0" providerId="AD" clId="Web-{49E8B3CF-D83D-A40E-3C36-DB4BE4D2F37F}" dt="2023-10-31T01:50:11.071" v="22"/>
          <pc:sldLayoutMkLst>
            <pc:docMk/>
            <pc:sldMasterMk cId="560092682" sldId="2147487158"/>
            <pc:sldLayoutMk cId="3171771967" sldId="2147487635"/>
          </pc:sldLayoutMkLst>
        </pc:sldLayoutChg>
        <pc:sldLayoutChg chg="replId">
          <pc:chgData name="Aleena Lida Surenian" userId="S::als0813@ads.northwestern.edu::e2fd0e4e-6417-49b0-ab16-0ba26a1719f0" providerId="AD" clId="Web-{49E8B3CF-D83D-A40E-3C36-DB4BE4D2F37F}" dt="2023-10-31T01:50:11.071" v="22"/>
          <pc:sldLayoutMkLst>
            <pc:docMk/>
            <pc:sldMasterMk cId="560092682" sldId="2147487158"/>
            <pc:sldLayoutMk cId="308668804" sldId="2147487636"/>
          </pc:sldLayoutMkLst>
        </pc:sldLayoutChg>
        <pc:sldLayoutChg chg="replId">
          <pc:chgData name="Aleena Lida Surenian" userId="S::als0813@ads.northwestern.edu::e2fd0e4e-6417-49b0-ab16-0ba26a1719f0" providerId="AD" clId="Web-{49E8B3CF-D83D-A40E-3C36-DB4BE4D2F37F}" dt="2023-10-31T01:50:11.071" v="22"/>
          <pc:sldLayoutMkLst>
            <pc:docMk/>
            <pc:sldMasterMk cId="560092682" sldId="2147487158"/>
            <pc:sldLayoutMk cId="1801862111" sldId="2147487637"/>
          </pc:sldLayoutMkLst>
        </pc:sldLayoutChg>
        <pc:sldLayoutChg chg="replId">
          <pc:chgData name="Aleena Lida Surenian" userId="S::als0813@ads.northwestern.edu::e2fd0e4e-6417-49b0-ab16-0ba26a1719f0" providerId="AD" clId="Web-{49E8B3CF-D83D-A40E-3C36-DB4BE4D2F37F}" dt="2023-10-31T01:50:11.071" v="22"/>
          <pc:sldLayoutMkLst>
            <pc:docMk/>
            <pc:sldMasterMk cId="560092682" sldId="2147487158"/>
            <pc:sldLayoutMk cId="1957949696" sldId="2147487638"/>
          </pc:sldLayoutMkLst>
        </pc:sldLayoutChg>
        <pc:sldLayoutChg chg="add">
          <pc:chgData name="Aleena Lida Surenian" userId="S::als0813@ads.northwestern.edu::e2fd0e4e-6417-49b0-ab16-0ba26a1719f0" providerId="AD" clId="Web-{49E8B3CF-D83D-A40E-3C36-DB4BE4D2F37F}" dt="2023-10-31T01:50:11.071" v="22"/>
          <pc:sldLayoutMkLst>
            <pc:docMk/>
            <pc:sldMasterMk cId="560092682" sldId="2147487158"/>
            <pc:sldLayoutMk cId="2391810783" sldId="2147487639"/>
          </pc:sldLayoutMkLst>
        </pc:sldLayoutChg>
        <pc:sldLayoutChg chg="add">
          <pc:chgData name="Aleena Lida Surenian" userId="S::als0813@ads.northwestern.edu::e2fd0e4e-6417-49b0-ab16-0ba26a1719f0" providerId="AD" clId="Web-{49E8B3CF-D83D-A40E-3C36-DB4BE4D2F37F}" dt="2023-10-31T01:50:11.071" v="22"/>
          <pc:sldLayoutMkLst>
            <pc:docMk/>
            <pc:sldMasterMk cId="560092682" sldId="2147487158"/>
            <pc:sldLayoutMk cId="2394216092" sldId="2147487640"/>
          </pc:sldLayoutMkLst>
        </pc:sldLayoutChg>
        <pc:sldLayoutChg chg="add">
          <pc:chgData name="Aleena Lida Surenian" userId="S::als0813@ads.northwestern.edu::e2fd0e4e-6417-49b0-ab16-0ba26a1719f0" providerId="AD" clId="Web-{49E8B3CF-D83D-A40E-3C36-DB4BE4D2F37F}" dt="2023-10-31T01:50:11.071" v="22"/>
          <pc:sldLayoutMkLst>
            <pc:docMk/>
            <pc:sldMasterMk cId="560092682" sldId="2147487158"/>
            <pc:sldLayoutMk cId="543003970" sldId="2147487641"/>
          </pc:sldLayoutMkLst>
        </pc:sldLayoutChg>
        <pc:sldLayoutChg chg="add">
          <pc:chgData name="Aleena Lida Surenian" userId="S::als0813@ads.northwestern.edu::e2fd0e4e-6417-49b0-ab16-0ba26a1719f0" providerId="AD" clId="Web-{49E8B3CF-D83D-A40E-3C36-DB4BE4D2F37F}" dt="2023-10-31T01:50:11.071" v="22"/>
          <pc:sldLayoutMkLst>
            <pc:docMk/>
            <pc:sldMasterMk cId="560092682" sldId="2147487158"/>
            <pc:sldLayoutMk cId="4022153863" sldId="2147487642"/>
          </pc:sldLayoutMkLst>
        </pc:sldLayoutChg>
        <pc:sldLayoutChg chg="add">
          <pc:chgData name="Aleena Lida Surenian" userId="S::als0813@ads.northwestern.edu::e2fd0e4e-6417-49b0-ab16-0ba26a1719f0" providerId="AD" clId="Web-{49E8B3CF-D83D-A40E-3C36-DB4BE4D2F37F}" dt="2023-10-31T01:50:11.071" v="22"/>
          <pc:sldLayoutMkLst>
            <pc:docMk/>
            <pc:sldMasterMk cId="560092682" sldId="2147487158"/>
            <pc:sldLayoutMk cId="888436358" sldId="2147487643"/>
          </pc:sldLayoutMkLst>
        </pc:sldLayoutChg>
        <pc:sldLayoutChg chg="add">
          <pc:chgData name="Aleena Lida Surenian" userId="S::als0813@ads.northwestern.edu::e2fd0e4e-6417-49b0-ab16-0ba26a1719f0" providerId="AD" clId="Web-{49E8B3CF-D83D-A40E-3C36-DB4BE4D2F37F}" dt="2023-10-31T01:50:11.071" v="22"/>
          <pc:sldLayoutMkLst>
            <pc:docMk/>
            <pc:sldMasterMk cId="560092682" sldId="2147487158"/>
            <pc:sldLayoutMk cId="130117215" sldId="2147487644"/>
          </pc:sldLayoutMkLst>
        </pc:sldLayoutChg>
      </pc:sldMasterChg>
    </pc:docChg>
  </pc:docChgLst>
  <pc:docChgLst>
    <pc:chgData name="Aleena Lida Surenian" userId="S::als0813@ads.northwestern.edu::e2fd0e4e-6417-49b0-ab16-0ba26a1719f0" providerId="AD" clId="Web-{42A43FDF-78EB-CB61-4BF2-137ACA597BBB}"/>
    <pc:docChg chg="addSld delSld modSld modMainMaster">
      <pc:chgData name="Aleena Lida Surenian" userId="S::als0813@ads.northwestern.edu::e2fd0e4e-6417-49b0-ab16-0ba26a1719f0" providerId="AD" clId="Web-{42A43FDF-78EB-CB61-4BF2-137ACA597BBB}" dt="2023-10-19T14:00:44.709" v="404" actId="20577"/>
      <pc:docMkLst>
        <pc:docMk/>
      </pc:docMkLst>
      <pc:sldChg chg="addSp delSp modSp mod setBg">
        <pc:chgData name="Aleena Lida Surenian" userId="S::als0813@ads.northwestern.edu::e2fd0e4e-6417-49b0-ab16-0ba26a1719f0" providerId="AD" clId="Web-{42A43FDF-78EB-CB61-4BF2-137ACA597BBB}" dt="2023-10-19T13:52:26.759" v="272" actId="20577"/>
        <pc:sldMkLst>
          <pc:docMk/>
          <pc:sldMk cId="2640496646" sldId="257"/>
        </pc:sldMkLst>
        <pc:spChg chg="mod">
          <ac:chgData name="Aleena Lida Surenian" userId="S::als0813@ads.northwestern.edu::e2fd0e4e-6417-49b0-ab16-0ba26a1719f0" providerId="AD" clId="Web-{42A43FDF-78EB-CB61-4BF2-137ACA597BBB}" dt="2023-10-19T13:44:45.778" v="98"/>
          <ac:spMkLst>
            <pc:docMk/>
            <pc:sldMk cId="2640496646" sldId="257"/>
            <ac:spMk id="2" creationId="{4454D9D2-FD51-4B03-BD7A-F1350B0E301B}"/>
          </ac:spMkLst>
        </pc:spChg>
        <pc:spChg chg="mod">
          <ac:chgData name="Aleena Lida Surenian" userId="S::als0813@ads.northwestern.edu::e2fd0e4e-6417-49b0-ab16-0ba26a1719f0" providerId="AD" clId="Web-{42A43FDF-78EB-CB61-4BF2-137ACA597BBB}" dt="2023-10-19T13:44:45.778" v="98"/>
          <ac:spMkLst>
            <pc:docMk/>
            <pc:sldMk cId="2640496646" sldId="257"/>
            <ac:spMk id="4" creationId="{C4CEE450-F382-85B8-1007-AE56BB298F32}"/>
          </ac:spMkLst>
        </pc:spChg>
        <pc:spChg chg="mod">
          <ac:chgData name="Aleena Lida Surenian" userId="S::als0813@ads.northwestern.edu::e2fd0e4e-6417-49b0-ab16-0ba26a1719f0" providerId="AD" clId="Web-{42A43FDF-78EB-CB61-4BF2-137ACA597BBB}" dt="2023-10-19T13:47:31.501" v="144" actId="1076"/>
          <ac:spMkLst>
            <pc:docMk/>
            <pc:sldMk cId="2640496646" sldId="257"/>
            <ac:spMk id="5" creationId="{D78FCC0D-964B-6184-D355-259732ED254B}"/>
          </ac:spMkLst>
        </pc:spChg>
        <pc:spChg chg="mod">
          <ac:chgData name="Aleena Lida Surenian" userId="S::als0813@ads.northwestern.edu::e2fd0e4e-6417-49b0-ab16-0ba26a1719f0" providerId="AD" clId="Web-{42A43FDF-78EB-CB61-4BF2-137ACA597BBB}" dt="2023-10-19T13:52:26.759" v="272" actId="20577"/>
          <ac:spMkLst>
            <pc:docMk/>
            <pc:sldMk cId="2640496646" sldId="257"/>
            <ac:spMk id="11" creationId="{4B764254-C5DC-4873-C36C-C0EEF864582A}"/>
          </ac:spMkLst>
        </pc:spChg>
        <pc:spChg chg="mod">
          <ac:chgData name="Aleena Lida Surenian" userId="S::als0813@ads.northwestern.edu::e2fd0e4e-6417-49b0-ab16-0ba26a1719f0" providerId="AD" clId="Web-{42A43FDF-78EB-CB61-4BF2-137ACA597BBB}" dt="2023-10-19T13:52:12.040" v="266" actId="20577"/>
          <ac:spMkLst>
            <pc:docMk/>
            <pc:sldMk cId="2640496646" sldId="257"/>
            <ac:spMk id="21" creationId="{46A9C70C-276E-351C-C598-87624FCAEA39}"/>
          </ac:spMkLst>
        </pc:spChg>
        <pc:spChg chg="add">
          <ac:chgData name="Aleena Lida Surenian" userId="S::als0813@ads.northwestern.edu::e2fd0e4e-6417-49b0-ab16-0ba26a1719f0" providerId="AD" clId="Web-{42A43FDF-78EB-CB61-4BF2-137ACA597BBB}" dt="2023-10-19T13:44:45.778" v="98"/>
          <ac:spMkLst>
            <pc:docMk/>
            <pc:sldMk cId="2640496646" sldId="257"/>
            <ac:spMk id="26" creationId="{E5F17139-31EE-46AC-B04F-DBBD852DD6CB}"/>
          </ac:spMkLst>
        </pc:spChg>
        <pc:spChg chg="add">
          <ac:chgData name="Aleena Lida Surenian" userId="S::als0813@ads.northwestern.edu::e2fd0e4e-6417-49b0-ab16-0ba26a1719f0" providerId="AD" clId="Web-{42A43FDF-78EB-CB61-4BF2-137ACA597BBB}" dt="2023-10-19T13:44:45.778" v="98"/>
          <ac:spMkLst>
            <pc:docMk/>
            <pc:sldMk cId="2640496646" sldId="257"/>
            <ac:spMk id="28" creationId="{AAD42DD4-86F6-4FD2-869F-32D35E310CF6}"/>
          </ac:spMkLst>
        </pc:spChg>
        <pc:spChg chg="add">
          <ac:chgData name="Aleena Lida Surenian" userId="S::als0813@ads.northwestern.edu::e2fd0e4e-6417-49b0-ab16-0ba26a1719f0" providerId="AD" clId="Web-{42A43FDF-78EB-CB61-4BF2-137ACA597BBB}" dt="2023-10-19T13:44:45.778" v="98"/>
          <ac:spMkLst>
            <pc:docMk/>
            <pc:sldMk cId="2640496646" sldId="257"/>
            <ac:spMk id="30" creationId="{4C36B8C5-0DEB-41B5-911D-572E2E835E3C}"/>
          </ac:spMkLst>
        </pc:spChg>
        <pc:spChg chg="add">
          <ac:chgData name="Aleena Lida Surenian" userId="S::als0813@ads.northwestern.edu::e2fd0e4e-6417-49b0-ab16-0ba26a1719f0" providerId="AD" clId="Web-{42A43FDF-78EB-CB61-4BF2-137ACA597BBB}" dt="2023-10-19T13:44:45.778" v="98"/>
          <ac:spMkLst>
            <pc:docMk/>
            <pc:sldMk cId="2640496646" sldId="257"/>
            <ac:spMk id="32" creationId="{B5DC987A-A8C7-4C23-9BF5-33E9F6F21DCB}"/>
          </ac:spMkLst>
        </pc:spChg>
        <pc:spChg chg="add">
          <ac:chgData name="Aleena Lida Surenian" userId="S::als0813@ads.northwestern.edu::e2fd0e4e-6417-49b0-ab16-0ba26a1719f0" providerId="AD" clId="Web-{42A43FDF-78EB-CB61-4BF2-137ACA597BBB}" dt="2023-10-19T13:44:45.778" v="98"/>
          <ac:spMkLst>
            <pc:docMk/>
            <pc:sldMk cId="2640496646" sldId="257"/>
            <ac:spMk id="34" creationId="{F213F2CF-C6DF-4CE1-A6F0-E3B1BFBB0B23}"/>
          </ac:spMkLst>
        </pc:spChg>
        <pc:spChg chg="add">
          <ac:chgData name="Aleena Lida Surenian" userId="S::als0813@ads.northwestern.edu::e2fd0e4e-6417-49b0-ab16-0ba26a1719f0" providerId="AD" clId="Web-{42A43FDF-78EB-CB61-4BF2-137ACA597BBB}" dt="2023-10-19T13:44:45.778" v="98"/>
          <ac:spMkLst>
            <pc:docMk/>
            <pc:sldMk cId="2640496646" sldId="257"/>
            <ac:spMk id="36" creationId="{84325C15-4820-4911-B66E-A5F917CFAE58}"/>
          </ac:spMkLst>
        </pc:spChg>
        <pc:picChg chg="del">
          <ac:chgData name="Aleena Lida Surenian" userId="S::als0813@ads.northwestern.edu::e2fd0e4e-6417-49b0-ab16-0ba26a1719f0" providerId="AD" clId="Web-{42A43FDF-78EB-CB61-4BF2-137ACA597BBB}" dt="2023-10-19T13:37:49.845" v="68"/>
          <ac:picMkLst>
            <pc:docMk/>
            <pc:sldMk cId="2640496646" sldId="257"/>
            <ac:picMk id="19" creationId="{D807A08F-8EE9-2F52-2D0E-CDF02C7CFAB4}"/>
          </ac:picMkLst>
        </pc:picChg>
      </pc:sldChg>
      <pc:sldChg chg="addSp delSp modSp">
        <pc:chgData name="Aleena Lida Surenian" userId="S::als0813@ads.northwestern.edu::e2fd0e4e-6417-49b0-ab16-0ba26a1719f0" providerId="AD" clId="Web-{42A43FDF-78EB-CB61-4BF2-137ACA597BBB}" dt="2023-10-19T13:34:07.464" v="23"/>
        <pc:sldMkLst>
          <pc:docMk/>
          <pc:sldMk cId="3240133074" sldId="259"/>
        </pc:sldMkLst>
        <pc:spChg chg="mod">
          <ac:chgData name="Aleena Lida Surenian" userId="S::als0813@ads.northwestern.edu::e2fd0e4e-6417-49b0-ab16-0ba26a1719f0" providerId="AD" clId="Web-{42A43FDF-78EB-CB61-4BF2-137ACA597BBB}" dt="2023-10-19T13:33:09.134" v="17"/>
          <ac:spMkLst>
            <pc:docMk/>
            <pc:sldMk cId="3240133074" sldId="259"/>
            <ac:spMk id="7" creationId="{7E13C86E-7C8D-3F7D-948E-5B86E04CE1A7}"/>
          </ac:spMkLst>
        </pc:spChg>
        <pc:picChg chg="add del mod">
          <ac:chgData name="Aleena Lida Surenian" userId="S::als0813@ads.northwestern.edu::e2fd0e4e-6417-49b0-ab16-0ba26a1719f0" providerId="AD" clId="Web-{42A43FDF-78EB-CB61-4BF2-137ACA597BBB}" dt="2023-10-19T13:34:07.464" v="23"/>
          <ac:picMkLst>
            <pc:docMk/>
            <pc:sldMk cId="3240133074" sldId="259"/>
            <ac:picMk id="2" creationId="{B105C248-D2F3-C134-DE8A-32C5861E98FD}"/>
          </ac:picMkLst>
        </pc:picChg>
      </pc:sldChg>
      <pc:sldChg chg="del">
        <pc:chgData name="Aleena Lida Surenian" userId="S::als0813@ads.northwestern.edu::e2fd0e4e-6417-49b0-ab16-0ba26a1719f0" providerId="AD" clId="Web-{42A43FDF-78EB-CB61-4BF2-137ACA597BBB}" dt="2023-10-19T13:35:22.450" v="25"/>
        <pc:sldMkLst>
          <pc:docMk/>
          <pc:sldMk cId="267560089" sldId="262"/>
        </pc:sldMkLst>
      </pc:sldChg>
      <pc:sldChg chg="del">
        <pc:chgData name="Aleena Lida Surenian" userId="S::als0813@ads.northwestern.edu::e2fd0e4e-6417-49b0-ab16-0ba26a1719f0" providerId="AD" clId="Web-{42A43FDF-78EB-CB61-4BF2-137ACA597BBB}" dt="2023-10-19T13:37:08.922" v="55"/>
        <pc:sldMkLst>
          <pc:docMk/>
          <pc:sldMk cId="2054805736" sldId="263"/>
        </pc:sldMkLst>
      </pc:sldChg>
      <pc:sldChg chg="modSp">
        <pc:chgData name="Aleena Lida Surenian" userId="S::als0813@ads.northwestern.edu::e2fd0e4e-6417-49b0-ab16-0ba26a1719f0" providerId="AD" clId="Web-{42A43FDF-78EB-CB61-4BF2-137ACA597BBB}" dt="2023-10-19T13:37:28.063" v="57" actId="20577"/>
        <pc:sldMkLst>
          <pc:docMk/>
          <pc:sldMk cId="383237482" sldId="264"/>
        </pc:sldMkLst>
        <pc:spChg chg="mod">
          <ac:chgData name="Aleena Lida Surenian" userId="S::als0813@ads.northwestern.edu::e2fd0e4e-6417-49b0-ab16-0ba26a1719f0" providerId="AD" clId="Web-{42A43FDF-78EB-CB61-4BF2-137ACA597BBB}" dt="2023-10-19T13:37:28.063" v="57" actId="20577"/>
          <ac:spMkLst>
            <pc:docMk/>
            <pc:sldMk cId="383237482" sldId="264"/>
            <ac:spMk id="3" creationId="{1E0FB995-5DD8-5081-A69E-96B5869B0012}"/>
          </ac:spMkLst>
        </pc:spChg>
      </pc:sldChg>
      <pc:sldChg chg="del">
        <pc:chgData name="Aleena Lida Surenian" userId="S::als0813@ads.northwestern.edu::e2fd0e4e-6417-49b0-ab16-0ba26a1719f0" providerId="AD" clId="Web-{42A43FDF-78EB-CB61-4BF2-137ACA597BBB}" dt="2023-10-19T13:37:08.078" v="45"/>
        <pc:sldMkLst>
          <pc:docMk/>
          <pc:sldMk cId="3072848221" sldId="266"/>
        </pc:sldMkLst>
      </pc:sldChg>
      <pc:sldChg chg="del">
        <pc:chgData name="Aleena Lida Surenian" userId="S::als0813@ads.northwestern.edu::e2fd0e4e-6417-49b0-ab16-0ba26a1719f0" providerId="AD" clId="Web-{42A43FDF-78EB-CB61-4BF2-137ACA597BBB}" dt="2023-10-19T13:37:08.063" v="44"/>
        <pc:sldMkLst>
          <pc:docMk/>
          <pc:sldMk cId="889144415" sldId="267"/>
        </pc:sldMkLst>
      </pc:sldChg>
      <pc:sldChg chg="del">
        <pc:chgData name="Aleena Lida Surenian" userId="S::als0813@ads.northwestern.edu::e2fd0e4e-6417-49b0-ab16-0ba26a1719f0" providerId="AD" clId="Web-{42A43FDF-78EB-CB61-4BF2-137ACA597BBB}" dt="2023-10-19T13:37:08.031" v="43"/>
        <pc:sldMkLst>
          <pc:docMk/>
          <pc:sldMk cId="501526511" sldId="268"/>
        </pc:sldMkLst>
      </pc:sldChg>
      <pc:sldChg chg="del">
        <pc:chgData name="Aleena Lida Surenian" userId="S::als0813@ads.northwestern.edu::e2fd0e4e-6417-49b0-ab16-0ba26a1719f0" providerId="AD" clId="Web-{42A43FDF-78EB-CB61-4BF2-137ACA597BBB}" dt="2023-10-19T13:37:08.016" v="42"/>
        <pc:sldMkLst>
          <pc:docMk/>
          <pc:sldMk cId="2660479371" sldId="269"/>
        </pc:sldMkLst>
      </pc:sldChg>
      <pc:sldChg chg="del">
        <pc:chgData name="Aleena Lida Surenian" userId="S::als0813@ads.northwestern.edu::e2fd0e4e-6417-49b0-ab16-0ba26a1719f0" providerId="AD" clId="Web-{42A43FDF-78EB-CB61-4BF2-137ACA597BBB}" dt="2023-10-19T13:37:06.609" v="41"/>
        <pc:sldMkLst>
          <pc:docMk/>
          <pc:sldMk cId="2239296576" sldId="270"/>
        </pc:sldMkLst>
      </pc:sldChg>
      <pc:sldChg chg="del">
        <pc:chgData name="Aleena Lida Surenian" userId="S::als0813@ads.northwestern.edu::e2fd0e4e-6417-49b0-ab16-0ba26a1719f0" providerId="AD" clId="Web-{42A43FDF-78EB-CB61-4BF2-137ACA597BBB}" dt="2023-10-19T13:37:04.672" v="40"/>
        <pc:sldMkLst>
          <pc:docMk/>
          <pc:sldMk cId="2151224477" sldId="271"/>
        </pc:sldMkLst>
      </pc:sldChg>
      <pc:sldChg chg="del">
        <pc:chgData name="Aleena Lida Surenian" userId="S::als0813@ads.northwestern.edu::e2fd0e4e-6417-49b0-ab16-0ba26a1719f0" providerId="AD" clId="Web-{42A43FDF-78EB-CB61-4BF2-137ACA597BBB}" dt="2023-10-19T13:37:03.875" v="39"/>
        <pc:sldMkLst>
          <pc:docMk/>
          <pc:sldMk cId="2719734078" sldId="272"/>
        </pc:sldMkLst>
      </pc:sldChg>
      <pc:sldChg chg="del">
        <pc:chgData name="Aleena Lida Surenian" userId="S::als0813@ads.northwestern.edu::e2fd0e4e-6417-49b0-ab16-0ba26a1719f0" providerId="AD" clId="Web-{42A43FDF-78EB-CB61-4BF2-137ACA597BBB}" dt="2023-10-19T13:37:00.812" v="38"/>
        <pc:sldMkLst>
          <pc:docMk/>
          <pc:sldMk cId="3851415293" sldId="273"/>
        </pc:sldMkLst>
      </pc:sldChg>
      <pc:sldChg chg="del">
        <pc:chgData name="Aleena Lida Surenian" userId="S::als0813@ads.northwestern.edu::e2fd0e4e-6417-49b0-ab16-0ba26a1719f0" providerId="AD" clId="Web-{42A43FDF-78EB-CB61-4BF2-137ACA597BBB}" dt="2023-10-19T13:36:59.047" v="37"/>
        <pc:sldMkLst>
          <pc:docMk/>
          <pc:sldMk cId="3093554521" sldId="274"/>
        </pc:sldMkLst>
      </pc:sldChg>
      <pc:sldChg chg="del">
        <pc:chgData name="Aleena Lida Surenian" userId="S::als0813@ads.northwestern.edu::e2fd0e4e-6417-49b0-ab16-0ba26a1719f0" providerId="AD" clId="Web-{42A43FDF-78EB-CB61-4BF2-137ACA597BBB}" dt="2023-10-19T13:36:53.843" v="36"/>
        <pc:sldMkLst>
          <pc:docMk/>
          <pc:sldMk cId="3908016199" sldId="275"/>
        </pc:sldMkLst>
      </pc:sldChg>
      <pc:sldChg chg="del">
        <pc:chgData name="Aleena Lida Surenian" userId="S::als0813@ads.northwestern.edu::e2fd0e4e-6417-49b0-ab16-0ba26a1719f0" providerId="AD" clId="Web-{42A43FDF-78EB-CB61-4BF2-137ACA597BBB}" dt="2023-10-19T13:36:47.093" v="35"/>
        <pc:sldMkLst>
          <pc:docMk/>
          <pc:sldMk cId="3301044659" sldId="276"/>
        </pc:sldMkLst>
      </pc:sldChg>
      <pc:sldChg chg="del">
        <pc:chgData name="Aleena Lida Surenian" userId="S::als0813@ads.northwestern.edu::e2fd0e4e-6417-49b0-ab16-0ba26a1719f0" providerId="AD" clId="Web-{42A43FDF-78EB-CB61-4BF2-137ACA597BBB}" dt="2023-10-19T13:36:46.718" v="34"/>
        <pc:sldMkLst>
          <pc:docMk/>
          <pc:sldMk cId="3825933464" sldId="277"/>
        </pc:sldMkLst>
      </pc:sldChg>
      <pc:sldChg chg="del">
        <pc:chgData name="Aleena Lida Surenian" userId="S::als0813@ads.northwestern.edu::e2fd0e4e-6417-49b0-ab16-0ba26a1719f0" providerId="AD" clId="Web-{42A43FDF-78EB-CB61-4BF2-137ACA597BBB}" dt="2023-10-19T13:36:46.187" v="33"/>
        <pc:sldMkLst>
          <pc:docMk/>
          <pc:sldMk cId="3688668769" sldId="278"/>
        </pc:sldMkLst>
      </pc:sldChg>
      <pc:sldChg chg="del">
        <pc:chgData name="Aleena Lida Surenian" userId="S::als0813@ads.northwestern.edu::e2fd0e4e-6417-49b0-ab16-0ba26a1719f0" providerId="AD" clId="Web-{42A43FDF-78EB-CB61-4BF2-137ACA597BBB}" dt="2023-10-19T13:36:45.374" v="32"/>
        <pc:sldMkLst>
          <pc:docMk/>
          <pc:sldMk cId="915813506" sldId="279"/>
        </pc:sldMkLst>
      </pc:sldChg>
      <pc:sldChg chg="del">
        <pc:chgData name="Aleena Lida Surenian" userId="S::als0813@ads.northwestern.edu::e2fd0e4e-6417-49b0-ab16-0ba26a1719f0" providerId="AD" clId="Web-{42A43FDF-78EB-CB61-4BF2-137ACA597BBB}" dt="2023-10-19T13:36:44.593" v="31"/>
        <pc:sldMkLst>
          <pc:docMk/>
          <pc:sldMk cId="860572346" sldId="280"/>
        </pc:sldMkLst>
      </pc:sldChg>
      <pc:sldChg chg="del">
        <pc:chgData name="Aleena Lida Surenian" userId="S::als0813@ads.northwestern.edu::e2fd0e4e-6417-49b0-ab16-0ba26a1719f0" providerId="AD" clId="Web-{42A43FDF-78EB-CB61-4BF2-137ACA597BBB}" dt="2023-10-19T13:36:43.374" v="30"/>
        <pc:sldMkLst>
          <pc:docMk/>
          <pc:sldMk cId="2243925227" sldId="281"/>
        </pc:sldMkLst>
      </pc:sldChg>
      <pc:sldChg chg="del">
        <pc:chgData name="Aleena Lida Surenian" userId="S::als0813@ads.northwestern.edu::e2fd0e4e-6417-49b0-ab16-0ba26a1719f0" providerId="AD" clId="Web-{42A43FDF-78EB-CB61-4BF2-137ACA597BBB}" dt="2023-10-19T13:37:28.407" v="58"/>
        <pc:sldMkLst>
          <pc:docMk/>
          <pc:sldMk cId="3963275784" sldId="282"/>
        </pc:sldMkLst>
      </pc:sldChg>
      <pc:sldChg chg="del">
        <pc:chgData name="Aleena Lida Surenian" userId="S::als0813@ads.northwestern.edu::e2fd0e4e-6417-49b0-ab16-0ba26a1719f0" providerId="AD" clId="Web-{42A43FDF-78EB-CB61-4BF2-137ACA597BBB}" dt="2023-10-19T13:37:08.781" v="54"/>
        <pc:sldMkLst>
          <pc:docMk/>
          <pc:sldMk cId="1086618403" sldId="283"/>
        </pc:sldMkLst>
      </pc:sldChg>
      <pc:sldChg chg="del">
        <pc:chgData name="Aleena Lida Surenian" userId="S::als0813@ads.northwestern.edu::e2fd0e4e-6417-49b0-ab16-0ba26a1719f0" providerId="AD" clId="Web-{42A43FDF-78EB-CB61-4BF2-137ACA597BBB}" dt="2023-10-19T13:37:08.734" v="53"/>
        <pc:sldMkLst>
          <pc:docMk/>
          <pc:sldMk cId="3753354996" sldId="284"/>
        </pc:sldMkLst>
      </pc:sldChg>
      <pc:sldChg chg="del">
        <pc:chgData name="Aleena Lida Surenian" userId="S::als0813@ads.northwestern.edu::e2fd0e4e-6417-49b0-ab16-0ba26a1719f0" providerId="AD" clId="Web-{42A43FDF-78EB-CB61-4BF2-137ACA597BBB}" dt="2023-10-19T13:37:08.609" v="52"/>
        <pc:sldMkLst>
          <pc:docMk/>
          <pc:sldMk cId="629293354" sldId="285"/>
        </pc:sldMkLst>
      </pc:sldChg>
      <pc:sldChg chg="del">
        <pc:chgData name="Aleena Lida Surenian" userId="S::als0813@ads.northwestern.edu::e2fd0e4e-6417-49b0-ab16-0ba26a1719f0" providerId="AD" clId="Web-{42A43FDF-78EB-CB61-4BF2-137ACA597BBB}" dt="2023-10-19T13:37:08.578" v="51"/>
        <pc:sldMkLst>
          <pc:docMk/>
          <pc:sldMk cId="4201295061" sldId="286"/>
        </pc:sldMkLst>
      </pc:sldChg>
      <pc:sldChg chg="del">
        <pc:chgData name="Aleena Lida Surenian" userId="S::als0813@ads.northwestern.edu::e2fd0e4e-6417-49b0-ab16-0ba26a1719f0" providerId="AD" clId="Web-{42A43FDF-78EB-CB61-4BF2-137ACA597BBB}" dt="2023-10-19T13:37:08.172" v="50"/>
        <pc:sldMkLst>
          <pc:docMk/>
          <pc:sldMk cId="3460925893" sldId="287"/>
        </pc:sldMkLst>
      </pc:sldChg>
      <pc:sldChg chg="del">
        <pc:chgData name="Aleena Lida Surenian" userId="S::als0813@ads.northwestern.edu::e2fd0e4e-6417-49b0-ab16-0ba26a1719f0" providerId="AD" clId="Web-{42A43FDF-78EB-CB61-4BF2-137ACA597BBB}" dt="2023-10-19T13:37:08.156" v="49"/>
        <pc:sldMkLst>
          <pc:docMk/>
          <pc:sldMk cId="2333727986" sldId="288"/>
        </pc:sldMkLst>
      </pc:sldChg>
      <pc:sldChg chg="del">
        <pc:chgData name="Aleena Lida Surenian" userId="S::als0813@ads.northwestern.edu::e2fd0e4e-6417-49b0-ab16-0ba26a1719f0" providerId="AD" clId="Web-{42A43FDF-78EB-CB61-4BF2-137ACA597BBB}" dt="2023-10-19T13:37:08.141" v="48"/>
        <pc:sldMkLst>
          <pc:docMk/>
          <pc:sldMk cId="4293357894" sldId="289"/>
        </pc:sldMkLst>
      </pc:sldChg>
      <pc:sldChg chg="del">
        <pc:chgData name="Aleena Lida Surenian" userId="S::als0813@ads.northwestern.edu::e2fd0e4e-6417-49b0-ab16-0ba26a1719f0" providerId="AD" clId="Web-{42A43FDF-78EB-CB61-4BF2-137ACA597BBB}" dt="2023-10-19T13:37:08.109" v="47"/>
        <pc:sldMkLst>
          <pc:docMk/>
          <pc:sldMk cId="3434119782" sldId="290"/>
        </pc:sldMkLst>
      </pc:sldChg>
      <pc:sldChg chg="del">
        <pc:chgData name="Aleena Lida Surenian" userId="S::als0813@ads.northwestern.edu::e2fd0e4e-6417-49b0-ab16-0ba26a1719f0" providerId="AD" clId="Web-{42A43FDF-78EB-CB61-4BF2-137ACA597BBB}" dt="2023-10-19T13:37:08.094" v="46"/>
        <pc:sldMkLst>
          <pc:docMk/>
          <pc:sldMk cId="3004451366" sldId="291"/>
        </pc:sldMkLst>
      </pc:sldChg>
      <pc:sldChg chg="modSp">
        <pc:chgData name="Aleena Lida Surenian" userId="S::als0813@ads.northwestern.edu::e2fd0e4e-6417-49b0-ab16-0ba26a1719f0" providerId="AD" clId="Web-{42A43FDF-78EB-CB61-4BF2-137ACA597BBB}" dt="2023-10-19T13:37:33.845" v="59"/>
        <pc:sldMkLst>
          <pc:docMk/>
          <pc:sldMk cId="2990772570" sldId="292"/>
        </pc:sldMkLst>
        <pc:spChg chg="mod">
          <ac:chgData name="Aleena Lida Surenian" userId="S::als0813@ads.northwestern.edu::e2fd0e4e-6417-49b0-ab16-0ba26a1719f0" providerId="AD" clId="Web-{42A43FDF-78EB-CB61-4BF2-137ACA597BBB}" dt="2023-10-19T13:37:33.845" v="59"/>
          <ac:spMkLst>
            <pc:docMk/>
            <pc:sldMk cId="2990772570" sldId="292"/>
            <ac:spMk id="2" creationId="{79ACEF1F-91AF-F5D8-82C2-039F1513D6BE}"/>
          </ac:spMkLst>
        </pc:spChg>
      </pc:sldChg>
      <pc:sldChg chg="del">
        <pc:chgData name="Aleena Lida Surenian" userId="S::als0813@ads.northwestern.edu::e2fd0e4e-6417-49b0-ab16-0ba26a1719f0" providerId="AD" clId="Web-{42A43FDF-78EB-CB61-4BF2-137ACA597BBB}" dt="2023-10-19T13:36:15.061" v="28"/>
        <pc:sldMkLst>
          <pc:docMk/>
          <pc:sldMk cId="1143569566" sldId="293"/>
        </pc:sldMkLst>
      </pc:sldChg>
      <pc:sldChg chg="add">
        <pc:chgData name="Aleena Lida Surenian" userId="S::als0813@ads.northwestern.edu::e2fd0e4e-6417-49b0-ab16-0ba26a1719f0" providerId="AD" clId="Web-{42A43FDF-78EB-CB61-4BF2-137ACA597BBB}" dt="2023-10-19T13:35:11.544" v="24"/>
        <pc:sldMkLst>
          <pc:docMk/>
          <pc:sldMk cId="3986814032" sldId="295"/>
        </pc:sldMkLst>
      </pc:sldChg>
      <pc:sldChg chg="add">
        <pc:chgData name="Aleena Lida Surenian" userId="S::als0813@ads.northwestern.edu::e2fd0e4e-6417-49b0-ab16-0ba26a1719f0" providerId="AD" clId="Web-{42A43FDF-78EB-CB61-4BF2-137ACA597BBB}" dt="2023-10-19T13:36:01.186" v="26"/>
        <pc:sldMkLst>
          <pc:docMk/>
          <pc:sldMk cId="828383430" sldId="296"/>
        </pc:sldMkLst>
      </pc:sldChg>
      <pc:sldChg chg="add">
        <pc:chgData name="Aleena Lida Surenian" userId="S::als0813@ads.northwestern.edu::e2fd0e4e-6417-49b0-ab16-0ba26a1719f0" providerId="AD" clId="Web-{42A43FDF-78EB-CB61-4BF2-137ACA597BBB}" dt="2023-10-19T13:36:02.623" v="27"/>
        <pc:sldMkLst>
          <pc:docMk/>
          <pc:sldMk cId="3593832193" sldId="297"/>
        </pc:sldMkLst>
      </pc:sldChg>
      <pc:sldChg chg="addSp modSp add mod replId setBg">
        <pc:chgData name="Aleena Lida Surenian" userId="S::als0813@ads.northwestern.edu::e2fd0e4e-6417-49b0-ab16-0ba26a1719f0" providerId="AD" clId="Web-{42A43FDF-78EB-CB61-4BF2-137ACA597BBB}" dt="2023-10-19T14:00:44.709" v="404" actId="20577"/>
        <pc:sldMkLst>
          <pc:docMk/>
          <pc:sldMk cId="3756315028" sldId="298"/>
        </pc:sldMkLst>
        <pc:spChg chg="mod">
          <ac:chgData name="Aleena Lida Surenian" userId="S::als0813@ads.northwestern.edu::e2fd0e4e-6417-49b0-ab16-0ba26a1719f0" providerId="AD" clId="Web-{42A43FDF-78EB-CB61-4BF2-137ACA597BBB}" dt="2023-10-19T13:47:54.502" v="147"/>
          <ac:spMkLst>
            <pc:docMk/>
            <pc:sldMk cId="3756315028" sldId="298"/>
            <ac:spMk id="2" creationId="{4454D9D2-FD51-4B03-BD7A-F1350B0E301B}"/>
          </ac:spMkLst>
        </pc:spChg>
        <pc:spChg chg="mod">
          <ac:chgData name="Aleena Lida Surenian" userId="S::als0813@ads.northwestern.edu::e2fd0e4e-6417-49b0-ab16-0ba26a1719f0" providerId="AD" clId="Web-{42A43FDF-78EB-CB61-4BF2-137ACA597BBB}" dt="2023-10-19T13:47:54.502" v="147"/>
          <ac:spMkLst>
            <pc:docMk/>
            <pc:sldMk cId="3756315028" sldId="298"/>
            <ac:spMk id="4" creationId="{C4CEE450-F382-85B8-1007-AE56BB298F32}"/>
          </ac:spMkLst>
        </pc:spChg>
        <pc:spChg chg="mod">
          <ac:chgData name="Aleena Lida Surenian" userId="S::als0813@ads.northwestern.edu::e2fd0e4e-6417-49b0-ab16-0ba26a1719f0" providerId="AD" clId="Web-{42A43FDF-78EB-CB61-4BF2-137ACA597BBB}" dt="2023-10-19T13:47:54.502" v="147"/>
          <ac:spMkLst>
            <pc:docMk/>
            <pc:sldMk cId="3756315028" sldId="298"/>
            <ac:spMk id="5" creationId="{D78FCC0D-964B-6184-D355-259732ED254B}"/>
          </ac:spMkLst>
        </pc:spChg>
        <pc:spChg chg="mod">
          <ac:chgData name="Aleena Lida Surenian" userId="S::als0813@ads.northwestern.edu::e2fd0e4e-6417-49b0-ab16-0ba26a1719f0" providerId="AD" clId="Web-{42A43FDF-78EB-CB61-4BF2-137ACA597BBB}" dt="2023-10-19T14:00:44.709" v="404" actId="20577"/>
          <ac:spMkLst>
            <pc:docMk/>
            <pc:sldMk cId="3756315028" sldId="298"/>
            <ac:spMk id="11" creationId="{4B764254-C5DC-4873-C36C-C0EEF864582A}"/>
          </ac:spMkLst>
        </pc:spChg>
        <pc:spChg chg="mod">
          <ac:chgData name="Aleena Lida Surenian" userId="S::als0813@ads.northwestern.edu::e2fd0e4e-6417-49b0-ab16-0ba26a1719f0" providerId="AD" clId="Web-{42A43FDF-78EB-CB61-4BF2-137ACA597BBB}" dt="2023-10-19T14:00:26.475" v="398" actId="20577"/>
          <ac:spMkLst>
            <pc:docMk/>
            <pc:sldMk cId="3756315028" sldId="298"/>
            <ac:spMk id="21" creationId="{46A9C70C-276E-351C-C598-87624FCAEA39}"/>
          </ac:spMkLst>
        </pc:spChg>
        <pc:spChg chg="add">
          <ac:chgData name="Aleena Lida Surenian" userId="S::als0813@ads.northwestern.edu::e2fd0e4e-6417-49b0-ab16-0ba26a1719f0" providerId="AD" clId="Web-{42A43FDF-78EB-CB61-4BF2-137ACA597BBB}" dt="2023-10-19T13:47:54.502" v="147"/>
          <ac:spMkLst>
            <pc:docMk/>
            <pc:sldMk cId="3756315028" sldId="298"/>
            <ac:spMk id="26" creationId="{E5F17139-31EE-46AC-B04F-DBBD852DD6CB}"/>
          </ac:spMkLst>
        </pc:spChg>
        <pc:spChg chg="add">
          <ac:chgData name="Aleena Lida Surenian" userId="S::als0813@ads.northwestern.edu::e2fd0e4e-6417-49b0-ab16-0ba26a1719f0" providerId="AD" clId="Web-{42A43FDF-78EB-CB61-4BF2-137ACA597BBB}" dt="2023-10-19T13:47:54.502" v="147"/>
          <ac:spMkLst>
            <pc:docMk/>
            <pc:sldMk cId="3756315028" sldId="298"/>
            <ac:spMk id="28" creationId="{AAD42DD4-86F6-4FD2-869F-32D35E310CF6}"/>
          </ac:spMkLst>
        </pc:spChg>
        <pc:spChg chg="add">
          <ac:chgData name="Aleena Lida Surenian" userId="S::als0813@ads.northwestern.edu::e2fd0e4e-6417-49b0-ab16-0ba26a1719f0" providerId="AD" clId="Web-{42A43FDF-78EB-CB61-4BF2-137ACA597BBB}" dt="2023-10-19T13:47:54.502" v="147"/>
          <ac:spMkLst>
            <pc:docMk/>
            <pc:sldMk cId="3756315028" sldId="298"/>
            <ac:spMk id="30" creationId="{4C36B8C5-0DEB-41B5-911D-572E2E835E3C}"/>
          </ac:spMkLst>
        </pc:spChg>
        <pc:spChg chg="add">
          <ac:chgData name="Aleena Lida Surenian" userId="S::als0813@ads.northwestern.edu::e2fd0e4e-6417-49b0-ab16-0ba26a1719f0" providerId="AD" clId="Web-{42A43FDF-78EB-CB61-4BF2-137ACA597BBB}" dt="2023-10-19T13:47:54.502" v="147"/>
          <ac:spMkLst>
            <pc:docMk/>
            <pc:sldMk cId="3756315028" sldId="298"/>
            <ac:spMk id="32" creationId="{B5DC987A-A8C7-4C23-9BF5-33E9F6F21DCB}"/>
          </ac:spMkLst>
        </pc:spChg>
        <pc:spChg chg="add">
          <ac:chgData name="Aleena Lida Surenian" userId="S::als0813@ads.northwestern.edu::e2fd0e4e-6417-49b0-ab16-0ba26a1719f0" providerId="AD" clId="Web-{42A43FDF-78EB-CB61-4BF2-137ACA597BBB}" dt="2023-10-19T13:47:54.502" v="147"/>
          <ac:spMkLst>
            <pc:docMk/>
            <pc:sldMk cId="3756315028" sldId="298"/>
            <ac:spMk id="34" creationId="{F213F2CF-C6DF-4CE1-A6F0-E3B1BFBB0B23}"/>
          </ac:spMkLst>
        </pc:spChg>
        <pc:spChg chg="add">
          <ac:chgData name="Aleena Lida Surenian" userId="S::als0813@ads.northwestern.edu::e2fd0e4e-6417-49b0-ab16-0ba26a1719f0" providerId="AD" clId="Web-{42A43FDF-78EB-CB61-4BF2-137ACA597BBB}" dt="2023-10-19T13:47:54.502" v="147"/>
          <ac:spMkLst>
            <pc:docMk/>
            <pc:sldMk cId="3756315028" sldId="298"/>
            <ac:spMk id="36" creationId="{84325C15-4820-4911-B66E-A5F917CFAE58}"/>
          </ac:spMkLst>
        </pc:spChg>
      </pc:sldChg>
      <pc:sldChg chg="add replId">
        <pc:chgData name="Aleena Lida Surenian" userId="S::als0813@ads.northwestern.edu::e2fd0e4e-6417-49b0-ab16-0ba26a1719f0" providerId="AD" clId="Web-{42A43FDF-78EB-CB61-4BF2-137ACA597BBB}" dt="2023-10-19T13:58:47.050" v="392"/>
        <pc:sldMkLst>
          <pc:docMk/>
          <pc:sldMk cId="1976260822" sldId="299"/>
        </pc:sldMkLst>
      </pc:sldChg>
      <pc:sldMasterChg chg="modSldLayout">
        <pc:chgData name="Aleena Lida Surenian" userId="S::als0813@ads.northwestern.edu::e2fd0e4e-6417-49b0-ab16-0ba26a1719f0" providerId="AD" clId="Web-{42A43FDF-78EB-CB61-4BF2-137ACA597BBB}" dt="2023-10-19T13:35:11.544" v="24"/>
        <pc:sldMasterMkLst>
          <pc:docMk/>
          <pc:sldMasterMk cId="1505562281" sldId="2147483660"/>
        </pc:sldMasterMkLst>
        <pc:sldLayoutChg chg="replId">
          <pc:chgData name="Aleena Lida Surenian" userId="S::als0813@ads.northwestern.edu::e2fd0e4e-6417-49b0-ab16-0ba26a1719f0" providerId="AD" clId="Web-{42A43FDF-78EB-CB61-4BF2-137ACA597BBB}" dt="2023-10-19T13:35:11.544" v="24"/>
          <pc:sldLayoutMkLst>
            <pc:docMk/>
            <pc:sldMasterMk cId="1505562281" sldId="2147483660"/>
            <pc:sldLayoutMk cId="3883598479" sldId="2147487230"/>
          </pc:sldLayoutMkLst>
        </pc:sldLayoutChg>
      </pc:sldMasterChg>
      <pc:sldMasterChg chg="modSldLayout">
        <pc:chgData name="Aleena Lida Surenian" userId="S::als0813@ads.northwestern.edu::e2fd0e4e-6417-49b0-ab16-0ba26a1719f0" providerId="AD" clId="Web-{42A43FDF-78EB-CB61-4BF2-137ACA597BBB}" dt="2023-10-19T13:35:11.544" v="24"/>
        <pc:sldMasterMkLst>
          <pc:docMk/>
          <pc:sldMasterMk cId="2460954070" sldId="2147483918"/>
        </pc:sldMasterMkLst>
        <pc:sldLayoutChg chg="replId">
          <pc:chgData name="Aleena Lida Surenian" userId="S::als0813@ads.northwestern.edu::e2fd0e4e-6417-49b0-ab16-0ba26a1719f0" providerId="AD" clId="Web-{42A43FDF-78EB-CB61-4BF2-137ACA597BBB}" dt="2023-10-19T13:35:11.544" v="24"/>
          <pc:sldLayoutMkLst>
            <pc:docMk/>
            <pc:sldMasterMk cId="2460954070" sldId="2147483918"/>
            <pc:sldLayoutMk cId="3146388984" sldId="2147487223"/>
          </pc:sldLayoutMkLst>
        </pc:sldLayoutChg>
        <pc:sldLayoutChg chg="replId">
          <pc:chgData name="Aleena Lida Surenian" userId="S::als0813@ads.northwestern.edu::e2fd0e4e-6417-49b0-ab16-0ba26a1719f0" providerId="AD" clId="Web-{42A43FDF-78EB-CB61-4BF2-137ACA597BBB}" dt="2023-10-19T13:35:11.544" v="24"/>
          <pc:sldLayoutMkLst>
            <pc:docMk/>
            <pc:sldMasterMk cId="2460954070" sldId="2147483918"/>
            <pc:sldLayoutMk cId="3171841454" sldId="2147487224"/>
          </pc:sldLayoutMkLst>
        </pc:sldLayoutChg>
      </pc:sldMasterChg>
      <pc:sldMasterChg chg="replId addSldLayout modSldLayout">
        <pc:chgData name="Aleena Lida Surenian" userId="S::als0813@ads.northwestern.edu::e2fd0e4e-6417-49b0-ab16-0ba26a1719f0" providerId="AD" clId="Web-{42A43FDF-78EB-CB61-4BF2-137ACA597BBB}" dt="2023-10-19T13:35:11.544" v="24"/>
        <pc:sldMasterMkLst>
          <pc:docMk/>
          <pc:sldMasterMk cId="560092682" sldId="2147487158"/>
        </pc:sldMasterMkLst>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982798914" sldId="214748367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683270214" sldId="2147483681"/>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202775852" sldId="214748370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747288010" sldId="2147483707"/>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525519462" sldId="214748370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898032396" sldId="2147483709"/>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404125666" sldId="2147483710"/>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225845292" sldId="2147483711"/>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756388239" sldId="2147483712"/>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468412230" sldId="2147483713"/>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682089770" sldId="214748371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657758517" sldId="2147483717"/>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323406442" sldId="214748371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577243743" sldId="2147483719"/>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394216092" sldId="2147483721"/>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468810016" sldId="2147483727"/>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794065546" sldId="2147483741"/>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401317895" sldId="214748386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668574274" sldId="2147483877"/>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235471929" sldId="214748387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939989584" sldId="2147483885"/>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617638659" sldId="2147483925"/>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407640099" sldId="214748392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988764591" sldId="2147483927"/>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219800057" sldId="214748392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811585504" sldId="2147483929"/>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922746103" sldId="2147483930"/>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365694009" sldId="2147483931"/>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554029526" sldId="2147483932"/>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69059292" sldId="2147483933"/>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304868132" sldId="2147483934"/>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570792940" sldId="2147483935"/>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19783795" sldId="214748393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680660955" sldId="2147483940"/>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764467406" sldId="2147483944"/>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45677796" sldId="2147483945"/>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4021248361" sldId="2147483949"/>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251683148" sldId="2147483953"/>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876612349" sldId="2147483954"/>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361684694" sldId="2147483955"/>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422325930" sldId="214748395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572981547" sldId="2147483957"/>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442479938" sldId="214748395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066296709" sldId="2147483959"/>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570922304" sldId="2147483960"/>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155432313" sldId="2147483961"/>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879056666" sldId="2147483962"/>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01967696" sldId="2147483963"/>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386446465" sldId="2147483964"/>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910798543" sldId="2147483965"/>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848675539" sldId="214748396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023011711" sldId="2147483967"/>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336372206" sldId="214748396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792031328" sldId="2147483969"/>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510270537" sldId="2147483970"/>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914610509" sldId="2147483971"/>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650515904" sldId="2147483972"/>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853644344" sldId="2147483973"/>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930798206" sldId="2147483974"/>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122990995" sldId="2147483975"/>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38653374" sldId="214748397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224834593" sldId="2147483977"/>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543003970" sldId="214748397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817355230" sldId="2147483979"/>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51400287" sldId="2147483980"/>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698946972" sldId="2147483981"/>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751562560" sldId="2147483982"/>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126479413" sldId="2147483983"/>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489622913" sldId="2147483984"/>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757336188" sldId="2147483985"/>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78520332" sldId="214748398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228489293" sldId="2147483987"/>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75040569" sldId="214748398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821105823" sldId="2147483989"/>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15772397" sldId="2147483990"/>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251901327" sldId="2147483991"/>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411352467" sldId="2147483992"/>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722305507" sldId="2147483993"/>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045177511" sldId="2147483994"/>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126909929" sldId="2147483995"/>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538498237" sldId="214748399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236365882" sldId="2147483997"/>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708656322" sldId="214748399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930473943" sldId="2147483999"/>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435550117" sldId="2147484000"/>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905824695" sldId="2147484001"/>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342248109" sldId="2147484002"/>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428249061" sldId="2147484003"/>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515655145" sldId="2147484004"/>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075216660" sldId="2147484203"/>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476272431" sldId="2147484204"/>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998157548" sldId="2147484205"/>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480140117" sldId="214748420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069300124" sldId="214748420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657904224" sldId="2147484222"/>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630801759" sldId="2147484231"/>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059781530" sldId="2147484233"/>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998157548" sldId="2147484235"/>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059781530" sldId="2147484237"/>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630801759" sldId="214748423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91337409" sldId="2147484245"/>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998157548" sldId="2147484260"/>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075216660" sldId="2147484262"/>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075216660" sldId="2147484267"/>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709868767" sldId="214748426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610496501" sldId="2147484330"/>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410130633" sldId="2147484331"/>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698059872" sldId="2147484332"/>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437652033" sldId="2147484353"/>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546532180" sldId="2147484354"/>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437652033" sldId="2147484355"/>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4103439267" sldId="214748435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377496322" sldId="2147484357"/>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847879164" sldId="214748435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479302691" sldId="2147484359"/>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435420318" sldId="2147484360"/>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665852557" sldId="2147484361"/>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998157548" sldId="2147484364"/>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998157548" sldId="214748437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069300124" sldId="214748437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480140117" sldId="2147484379"/>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4291076637" sldId="2147484384"/>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781420108" sldId="2147484385"/>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09320368" sldId="214748438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838803846" sldId="2147484387"/>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546898753" sldId="214748438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210091495" sldId="2147484389"/>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314599787" sldId="2147484390"/>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791682188" sldId="2147484391"/>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98148766" sldId="2147484392"/>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926228292" sldId="2147484393"/>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138240366" sldId="2147484394"/>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476272431" sldId="2147484400"/>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069300124" sldId="2147484401"/>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480140117" sldId="2147484402"/>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630801759" sldId="2147484477"/>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709868767" sldId="214748447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91337409" sldId="2147484480"/>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476272431" sldId="2147484481"/>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069300124" sldId="2147484482"/>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480140117" sldId="2147484483"/>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059781530" sldId="2147484484"/>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610496501" sldId="2147484485"/>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410130633" sldId="214748448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980529727" sldId="2147484559"/>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72630080" sldId="214748456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083420" sldId="2147484570"/>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036500789" sldId="2147484572"/>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09320368" sldId="2147484585"/>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610496501" sldId="214748458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410130633" sldId="2147484587"/>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698059872" sldId="214748458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09320368" sldId="2147484592"/>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610496501" sldId="2147484593"/>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410130633" sldId="2147484594"/>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698059872" sldId="2147484595"/>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4291076637" sldId="214748459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781420108" sldId="214748459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210091495" sldId="2147484601"/>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314599787" sldId="2147484602"/>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791682188" sldId="2147484603"/>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98148766" sldId="2147484604"/>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430479694" sldId="214748460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698059872" sldId="2147484609"/>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979200564" sldId="214748462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732483557" sldId="2147484627"/>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926228292" sldId="2147484634"/>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138240366" sldId="2147484635"/>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448463225" sldId="2147484652"/>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988034496" sldId="2147484653"/>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410130633" sldId="2147484654"/>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698059872" sldId="2147484655"/>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630801759" sldId="214748476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980529727" sldId="2147484767"/>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059781530" sldId="214748476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610496501" sldId="2147484815"/>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410130633" sldId="214748481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698059872" sldId="2147484817"/>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630801759" sldId="2147484821"/>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059781530" sldId="2147484822"/>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4040902241" sldId="2147484835"/>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838803846" sldId="214748483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546898753" sldId="2147484837"/>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980529727" sldId="214748483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980529727" sldId="2147484839"/>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980529727" sldId="2147484840"/>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377496322" sldId="2147484842"/>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72630080" sldId="2147484845"/>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195676063" sldId="214748484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980529727" sldId="2147484847"/>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980529727" sldId="214748484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083420" sldId="2147484849"/>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588949313" sldId="2147484850"/>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036500789" sldId="2147484851"/>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422401269" sldId="2147484852"/>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082224325" sldId="2147484854"/>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610812348" sldId="2147484855"/>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546532180" sldId="214748485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980529727" sldId="2147484857"/>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888436358" sldId="2147484999"/>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625634235" sldId="2147485000"/>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127289008" sldId="2147485001"/>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4022153863" sldId="2147485002"/>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635956606" sldId="214748500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619806002" sldId="2147485007"/>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565887101" sldId="214748500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630801759" sldId="2147485064"/>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709868767" sldId="2147485065"/>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91337409" sldId="214748506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075216660" sldId="2147485067"/>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476272431" sldId="214748506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998157548" sldId="2147485069"/>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480140117" sldId="2147485070"/>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069300124" sldId="2147485071"/>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657904224" sldId="2147485072"/>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4291076637" sldId="2147485074"/>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4040902241" sldId="2147485075"/>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781420108" sldId="214748507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979200564" sldId="2147485077"/>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838803846" sldId="214748507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546898753" sldId="2147485079"/>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210091495" sldId="2147485080"/>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314599787" sldId="2147485081"/>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791682188" sldId="2147485082"/>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98148766" sldId="2147485083"/>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195676063" sldId="2147485093"/>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287509848" sldId="2147485179"/>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728347992" sldId="2147485213"/>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29018680" sldId="2147485214"/>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287509848" sldId="2147485215"/>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069300124" sldId="214748523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998157548" sldId="2147485239"/>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630801759" sldId="2147485270"/>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709868767" sldId="2147485271"/>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998157548" sldId="2147485272"/>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91337409" sldId="2147485273"/>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075216660" sldId="2147485274"/>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476272431" sldId="2147485275"/>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069300124" sldId="214748527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480140117" sldId="2147485277"/>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059781530" sldId="214748527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979200564" sldId="2147485352"/>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036500789" sldId="2147485354"/>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72630080" sldId="2147485355"/>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980529727" sldId="214748535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610496501" sldId="2147485367"/>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410130633" sldId="214748536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698059872" sldId="2147485369"/>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09320368" sldId="2147485370"/>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069300124" sldId="2147485385"/>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630801759" sldId="2147485391"/>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709868767" sldId="2147485392"/>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980529727" sldId="2147485393"/>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91337409" sldId="2147485394"/>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075216660" sldId="2147485395"/>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059781530" sldId="214748539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09320368" sldId="2147485400"/>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610496501" sldId="2147485401"/>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410130633" sldId="2147485402"/>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698059872" sldId="2147485403"/>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4040902241" sldId="2147485405"/>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979200564" sldId="214748540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582254879" sldId="2147485425"/>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732483557" sldId="2147485444"/>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630801759" sldId="214748546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059781530" sldId="2147485469"/>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195676063" sldId="2147485470"/>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30117215" sldId="214748555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4291076637" sldId="2147485847"/>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4040902241" sldId="214748584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781420108" sldId="2147485849"/>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979200564" sldId="2147485850"/>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838803846" sldId="2147485851"/>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546898753" sldId="2147485852"/>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210091495" sldId="2147485853"/>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314599787" sldId="2147485854"/>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791682188" sldId="2147485855"/>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98148766" sldId="214748585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377496322" sldId="2147485857"/>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847879164" sldId="214748585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479302691" sldId="2147485859"/>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435420318" sldId="2147485860"/>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665852557" sldId="2147485861"/>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709868767" sldId="2147485865"/>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91337409" sldId="214748586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075216660" sldId="2147485869"/>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476272431" sldId="2147485870"/>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480140117" sldId="2147485871"/>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629644005" sldId="2147485872"/>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09320368" sldId="2147485877"/>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610496501" sldId="214748587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4103439267" sldId="2147485879"/>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422401269" sldId="2147485880"/>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546532180" sldId="2147485903"/>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036500789" sldId="2147485904"/>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422401269" sldId="2147485905"/>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980529727" sldId="214748590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059781530" sldId="2147486030"/>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91337409" sldId="214748604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630801759" sldId="2147486200"/>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709868767" sldId="2147486201"/>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998157548" sldId="2147486202"/>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980529727" sldId="2147486203"/>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075216660" sldId="2147486205"/>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476272431" sldId="214748620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069300124" sldId="2147486207"/>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480140117" sldId="214748620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059781530" sldId="2147486209"/>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09320368" sldId="2147486221"/>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588949313" sldId="2147486251"/>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448463225" sldId="2147486252"/>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988034496" sldId="2147486253"/>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709868767" sldId="214748627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980529727" sldId="2147486279"/>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91337409" sldId="2147486280"/>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075216660" sldId="2147486281"/>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476272431" sldId="2147486282"/>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476272431" sldId="2147486284"/>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705532739" sldId="214748630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069300124" sldId="214748633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113001559" sldId="2147486360"/>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30117215" sldId="2147486361"/>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888436358" sldId="2147486363"/>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625634235" sldId="2147486364"/>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127289008" sldId="2147486365"/>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4022153863" sldId="214748636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635956606" sldId="2147486367"/>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619806002" sldId="214748636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565887101" sldId="2147486369"/>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709868767" sldId="2147486404"/>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91337409" sldId="2147486405"/>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075216660" sldId="214748640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476272431" sldId="2147486407"/>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998157548" sldId="214748640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480140117" sldId="2147486409"/>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993753234" sldId="2147486419"/>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803572776" sldId="2147486420"/>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72630080" sldId="2147486423"/>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083420" sldId="2147486424"/>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979200564" sldId="214748642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069300124" sldId="214748642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709868767" sldId="2147486915"/>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91337409" sldId="2147486917"/>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287509848" sldId="214748692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09320368" sldId="2147486927"/>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422401269" sldId="2147486929"/>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195676063" sldId="2147486950"/>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709868767" sldId="2147486952"/>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91337409" sldId="2147486953"/>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075216660" sldId="2147486954"/>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476272431" sldId="2147486955"/>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480140117" sldId="214748695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855494103" sldId="2147486957"/>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630801759" sldId="2147486961"/>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980529727" sldId="2147486965"/>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339690513" sldId="2147486970"/>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220637423" sldId="2147486971"/>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610496501" sldId="2147486972"/>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410130633" sldId="2147486973"/>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698059872" sldId="2147486974"/>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939295337" sldId="2147486975"/>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253572214" sldId="214748697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402549073" sldId="2147486977"/>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758542806" sldId="214748697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979200564" sldId="2147486987"/>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01596344" sldId="2147486989"/>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629644005" sldId="2147486990"/>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993753234" sldId="2147486991"/>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430479694" sldId="2147486992"/>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980529727" sldId="2147486993"/>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291410609" sldId="2147487005"/>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625634235" sldId="214748700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4022153863" sldId="2147487007"/>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888436358" sldId="214748700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127289008" sldId="2147487009"/>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4022153863" sldId="2147487010"/>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635956606" sldId="2147487011"/>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619806002" sldId="2147487012"/>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565887101" sldId="2147487013"/>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691578072" sldId="214748702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179854312" sldId="2147487029"/>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132318659" sldId="2147487030"/>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28904194" sldId="2147487031"/>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083035621" sldId="2147487032"/>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534488667" sldId="2147487033"/>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984238912" sldId="2147487034"/>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912020187" sldId="2147487035"/>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181955522" sldId="214748703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632453738" sldId="2147487037"/>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614874233" sldId="214748703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171771967" sldId="2147487039"/>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714228870" sldId="2147487040"/>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248015493" sldId="2147487041"/>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391810783" sldId="2147487042"/>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468296633" sldId="2147487043"/>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463854968" sldId="2147487044"/>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778744679" sldId="2147487045"/>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086376476" sldId="214748704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843775063" sldId="2147487047"/>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134956318" sldId="214748704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288786427" sldId="2147487049"/>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418415549" sldId="2147487050"/>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3521326" sldId="2147487051"/>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5171903" sldId="2147487052"/>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374324019" sldId="2147487053"/>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98538390" sldId="214748705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751446120" sldId="2147487059"/>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632493380" sldId="2147487060"/>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345280055" sldId="2147487061"/>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048434812" sldId="2147487062"/>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805592603" sldId="2147487063"/>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792427770" sldId="2147487064"/>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594052774" sldId="2147487065"/>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847862978" sldId="214748706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4076877181" sldId="2147487067"/>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050889900" sldId="214748706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556107529" sldId="2147487069"/>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704698859" sldId="2147487070"/>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261201835" sldId="2147487071"/>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4275538182" sldId="2147487072"/>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8845375" sldId="2147487073"/>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332901630" sldId="2147487074"/>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911840102" sldId="2147487075"/>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989779657" sldId="214748707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791043975" sldId="2147487077"/>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087739039" sldId="214748707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234936126" sldId="2147487079"/>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773437552" sldId="2147487080"/>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258328559" sldId="2147487081"/>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729386569" sldId="2147487082"/>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4265731875" sldId="2147487083"/>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743182943" sldId="2147487084"/>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939854147" sldId="2147487085"/>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219986855" sldId="214748708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878186423" sldId="2147487087"/>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844781546" sldId="214748708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982901995" sldId="2147487089"/>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208658575" sldId="2147487090"/>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759532752" sldId="2147487092"/>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647643842" sldId="2147487093"/>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783045463" sldId="2147487094"/>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102931972" sldId="2147487095"/>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21024431" sldId="214748709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605505364" sldId="2147487097"/>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860285631" sldId="214748709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38619597" sldId="2147487099"/>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980582738" sldId="2147487100"/>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64587918" sldId="2147487101"/>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609084614" sldId="2147487102"/>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714221174" sldId="2147487103"/>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893290789" sldId="2147487104"/>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926322304" sldId="2147487105"/>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503393694" sldId="214748710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392589500" sldId="2147487107"/>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153485271" sldId="214748710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895870651" sldId="2147487109"/>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128825244" sldId="2147487110"/>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999238068" sldId="2147487111"/>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4249862182" sldId="2147487112"/>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363852016" sldId="2147487113"/>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413736809" sldId="2147487114"/>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584184684" sldId="2147487115"/>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899434678" sldId="214748711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468056590" sldId="2147487117"/>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119438968" sldId="214748711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423871782" sldId="2147487119"/>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665694493" sldId="2147487120"/>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673350505" sldId="2147487121"/>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599849130" sldId="2147487122"/>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811595628" sldId="2147487123"/>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509251650" sldId="2147487124"/>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122428475" sldId="214748712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99805404" sldId="2147487127"/>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548702167" sldId="214748712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257713067" sldId="2147487129"/>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473097338" sldId="2147487130"/>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216179664" sldId="2147487131"/>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20493336" sldId="2147487132"/>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674977627" sldId="2147487133"/>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534355322" sldId="2147487134"/>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39001456" sldId="2147487135"/>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661880748" sldId="214748713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919786099" sldId="2147487137"/>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069168792" sldId="214748713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958112831" sldId="2147487139"/>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123635138" sldId="2147487140"/>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972360139" sldId="2147487141"/>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939256970" sldId="2147487142"/>
          </pc:sldLayoutMkLst>
        </pc:sldLayoutChg>
        <pc:sldLayoutChg chg="replId">
          <pc:chgData name="Aleena Lida Surenian" userId="S::als0813@ads.northwestern.edu::e2fd0e4e-6417-49b0-ab16-0ba26a1719f0" providerId="AD" clId="Web-{42A43FDF-78EB-CB61-4BF2-137ACA597BBB}" dt="2023-10-19T13:35:11.544" v="24"/>
          <pc:sldLayoutMkLst>
            <pc:docMk/>
            <pc:sldMasterMk cId="560092682" sldId="2147487158"/>
            <pc:sldLayoutMk cId="2670630771" sldId="2147487143"/>
          </pc:sldLayoutMkLst>
        </pc:sldLayoutChg>
        <pc:sldLayoutChg chg="replId">
          <pc:chgData name="Aleena Lida Surenian" userId="S::als0813@ads.northwestern.edu::e2fd0e4e-6417-49b0-ab16-0ba26a1719f0" providerId="AD" clId="Web-{42A43FDF-78EB-CB61-4BF2-137ACA597BBB}" dt="2023-10-19T13:35:11.544" v="24"/>
          <pc:sldLayoutMkLst>
            <pc:docMk/>
            <pc:sldMasterMk cId="560092682" sldId="2147487158"/>
            <pc:sldLayoutMk cId="3783658486" sldId="2147487144"/>
          </pc:sldLayoutMkLst>
        </pc:sldLayoutChg>
        <pc:sldLayoutChg chg="replId">
          <pc:chgData name="Aleena Lida Surenian" userId="S::als0813@ads.northwestern.edu::e2fd0e4e-6417-49b0-ab16-0ba26a1719f0" providerId="AD" clId="Web-{42A43FDF-78EB-CB61-4BF2-137ACA597BBB}" dt="2023-10-19T13:35:11.544" v="24"/>
          <pc:sldLayoutMkLst>
            <pc:docMk/>
            <pc:sldMasterMk cId="560092682" sldId="2147487158"/>
            <pc:sldLayoutMk cId="309320368" sldId="2147487145"/>
          </pc:sldLayoutMkLst>
        </pc:sldLayoutChg>
        <pc:sldLayoutChg chg="replId">
          <pc:chgData name="Aleena Lida Surenian" userId="S::als0813@ads.northwestern.edu::e2fd0e4e-6417-49b0-ab16-0ba26a1719f0" providerId="AD" clId="Web-{42A43FDF-78EB-CB61-4BF2-137ACA597BBB}" dt="2023-10-19T13:35:11.544" v="24"/>
          <pc:sldLayoutMkLst>
            <pc:docMk/>
            <pc:sldMasterMk cId="560092682" sldId="2147487158"/>
            <pc:sldLayoutMk cId="1410130633" sldId="2147487146"/>
          </pc:sldLayoutMkLst>
        </pc:sldLayoutChg>
        <pc:sldLayoutChg chg="replId">
          <pc:chgData name="Aleena Lida Surenian" userId="S::als0813@ads.northwestern.edu::e2fd0e4e-6417-49b0-ab16-0ba26a1719f0" providerId="AD" clId="Web-{42A43FDF-78EB-CB61-4BF2-137ACA597BBB}" dt="2023-10-19T13:35:11.544" v="24"/>
          <pc:sldLayoutMkLst>
            <pc:docMk/>
            <pc:sldMasterMk cId="560092682" sldId="2147487158"/>
            <pc:sldLayoutMk cId="698059872" sldId="2147487147"/>
          </pc:sldLayoutMkLst>
        </pc:sldLayoutChg>
        <pc:sldLayoutChg chg="replId">
          <pc:chgData name="Aleena Lida Surenian" userId="S::als0813@ads.northwestern.edu::e2fd0e4e-6417-49b0-ab16-0ba26a1719f0" providerId="AD" clId="Web-{42A43FDF-78EB-CB61-4BF2-137ACA597BBB}" dt="2023-10-19T13:35:11.544" v="24"/>
          <pc:sldLayoutMkLst>
            <pc:docMk/>
            <pc:sldMasterMk cId="560092682" sldId="2147487158"/>
            <pc:sldLayoutMk cId="3630801759" sldId="2147487148"/>
          </pc:sldLayoutMkLst>
        </pc:sldLayoutChg>
        <pc:sldLayoutChg chg="replId">
          <pc:chgData name="Aleena Lida Surenian" userId="S::als0813@ads.northwestern.edu::e2fd0e4e-6417-49b0-ab16-0ba26a1719f0" providerId="AD" clId="Web-{42A43FDF-78EB-CB61-4BF2-137ACA597BBB}" dt="2023-10-19T13:35:11.544" v="24"/>
          <pc:sldLayoutMkLst>
            <pc:docMk/>
            <pc:sldMasterMk cId="560092682" sldId="2147487158"/>
            <pc:sldLayoutMk cId="1059781530" sldId="2147487149"/>
          </pc:sldLayoutMkLst>
        </pc:sldLayoutChg>
        <pc:sldLayoutChg chg="replId">
          <pc:chgData name="Aleena Lida Surenian" userId="S::als0813@ads.northwestern.edu::e2fd0e4e-6417-49b0-ab16-0ba26a1719f0" providerId="AD" clId="Web-{42A43FDF-78EB-CB61-4BF2-137ACA597BBB}" dt="2023-10-19T13:35:11.544" v="24"/>
          <pc:sldLayoutMkLst>
            <pc:docMk/>
            <pc:sldMasterMk cId="560092682" sldId="2147487158"/>
            <pc:sldLayoutMk cId="1709868767" sldId="2147487150"/>
          </pc:sldLayoutMkLst>
        </pc:sldLayoutChg>
        <pc:sldLayoutChg chg="replId">
          <pc:chgData name="Aleena Lida Surenian" userId="S::als0813@ads.northwestern.edu::e2fd0e4e-6417-49b0-ab16-0ba26a1719f0" providerId="AD" clId="Web-{42A43FDF-78EB-CB61-4BF2-137ACA597BBB}" dt="2023-10-19T13:35:11.544" v="24"/>
          <pc:sldLayoutMkLst>
            <pc:docMk/>
            <pc:sldMasterMk cId="560092682" sldId="2147487158"/>
            <pc:sldLayoutMk cId="191337409" sldId="2147487151"/>
          </pc:sldLayoutMkLst>
        </pc:sldLayoutChg>
        <pc:sldLayoutChg chg="replId">
          <pc:chgData name="Aleena Lida Surenian" userId="S::als0813@ads.northwestern.edu::e2fd0e4e-6417-49b0-ab16-0ba26a1719f0" providerId="AD" clId="Web-{42A43FDF-78EB-CB61-4BF2-137ACA597BBB}" dt="2023-10-19T13:35:11.544" v="24"/>
          <pc:sldLayoutMkLst>
            <pc:docMk/>
            <pc:sldMasterMk cId="560092682" sldId="2147487158"/>
            <pc:sldLayoutMk cId="1075216660" sldId="2147487152"/>
          </pc:sldLayoutMkLst>
        </pc:sldLayoutChg>
        <pc:sldLayoutChg chg="replId">
          <pc:chgData name="Aleena Lida Surenian" userId="S::als0813@ads.northwestern.edu::e2fd0e4e-6417-49b0-ab16-0ba26a1719f0" providerId="AD" clId="Web-{42A43FDF-78EB-CB61-4BF2-137ACA597BBB}" dt="2023-10-19T13:35:11.544" v="24"/>
          <pc:sldLayoutMkLst>
            <pc:docMk/>
            <pc:sldMasterMk cId="560092682" sldId="2147487158"/>
            <pc:sldLayoutMk cId="3476272431" sldId="2147487153"/>
          </pc:sldLayoutMkLst>
        </pc:sldLayoutChg>
        <pc:sldLayoutChg chg="replId">
          <pc:chgData name="Aleena Lida Surenian" userId="S::als0813@ads.northwestern.edu::e2fd0e4e-6417-49b0-ab16-0ba26a1719f0" providerId="AD" clId="Web-{42A43FDF-78EB-CB61-4BF2-137ACA597BBB}" dt="2023-10-19T13:35:11.544" v="24"/>
          <pc:sldLayoutMkLst>
            <pc:docMk/>
            <pc:sldMasterMk cId="560092682" sldId="2147487158"/>
            <pc:sldLayoutMk cId="3069300124" sldId="2147487154"/>
          </pc:sldLayoutMkLst>
        </pc:sldLayoutChg>
        <pc:sldLayoutChg chg="replId">
          <pc:chgData name="Aleena Lida Surenian" userId="S::als0813@ads.northwestern.edu::e2fd0e4e-6417-49b0-ab16-0ba26a1719f0" providerId="AD" clId="Web-{42A43FDF-78EB-CB61-4BF2-137ACA597BBB}" dt="2023-10-19T13:35:11.544" v="24"/>
          <pc:sldLayoutMkLst>
            <pc:docMk/>
            <pc:sldMasterMk cId="560092682" sldId="2147487158"/>
            <pc:sldLayoutMk cId="1480140117" sldId="2147487155"/>
          </pc:sldLayoutMkLst>
        </pc:sldLayoutChg>
        <pc:sldLayoutChg chg="replId">
          <pc:chgData name="Aleena Lida Surenian" userId="S::als0813@ads.northwestern.edu::e2fd0e4e-6417-49b0-ab16-0ba26a1719f0" providerId="AD" clId="Web-{42A43FDF-78EB-CB61-4BF2-137ACA597BBB}" dt="2023-10-19T13:35:11.544" v="24"/>
          <pc:sldLayoutMkLst>
            <pc:docMk/>
            <pc:sldMasterMk cId="560092682" sldId="2147487158"/>
            <pc:sldLayoutMk cId="1855494103" sldId="2147487156"/>
          </pc:sldLayoutMkLst>
        </pc:sldLayoutChg>
        <pc:sldLayoutChg chg="replId">
          <pc:chgData name="Aleena Lida Surenian" userId="S::als0813@ads.northwestern.edu::e2fd0e4e-6417-49b0-ab16-0ba26a1719f0" providerId="AD" clId="Web-{42A43FDF-78EB-CB61-4BF2-137ACA597BBB}" dt="2023-10-19T13:35:11.544" v="24"/>
          <pc:sldLayoutMkLst>
            <pc:docMk/>
            <pc:sldMasterMk cId="560092682" sldId="2147487158"/>
            <pc:sldLayoutMk cId="1998157548" sldId="2147487157"/>
          </pc:sldLayoutMkLst>
        </pc:sldLayoutChg>
        <pc:sldLayoutChg chg="replId">
          <pc:chgData name="Aleena Lida Surenian" userId="S::als0813@ads.northwestern.edu::e2fd0e4e-6417-49b0-ab16-0ba26a1719f0" providerId="AD" clId="Web-{42A43FDF-78EB-CB61-4BF2-137ACA597BBB}" dt="2023-10-19T13:35:11.544" v="24"/>
          <pc:sldLayoutMkLst>
            <pc:docMk/>
            <pc:sldMasterMk cId="560092682" sldId="2147487158"/>
            <pc:sldLayoutMk cId="939295337" sldId="2147487159"/>
          </pc:sldLayoutMkLst>
        </pc:sldLayoutChg>
        <pc:sldLayoutChg chg="replId">
          <pc:chgData name="Aleena Lida Surenian" userId="S::als0813@ads.northwestern.edu::e2fd0e4e-6417-49b0-ab16-0ba26a1719f0" providerId="AD" clId="Web-{42A43FDF-78EB-CB61-4BF2-137ACA597BBB}" dt="2023-10-19T13:35:11.544" v="24"/>
          <pc:sldLayoutMkLst>
            <pc:docMk/>
            <pc:sldMasterMk cId="560092682" sldId="2147487158"/>
            <pc:sldLayoutMk cId="1402549073" sldId="2147487160"/>
          </pc:sldLayoutMkLst>
        </pc:sldLayoutChg>
        <pc:sldLayoutChg chg="replId">
          <pc:chgData name="Aleena Lida Surenian" userId="S::als0813@ads.northwestern.edu::e2fd0e4e-6417-49b0-ab16-0ba26a1719f0" providerId="AD" clId="Web-{42A43FDF-78EB-CB61-4BF2-137ACA597BBB}" dt="2023-10-19T13:35:11.544" v="24"/>
          <pc:sldLayoutMkLst>
            <pc:docMk/>
            <pc:sldMasterMk cId="560092682" sldId="2147487158"/>
            <pc:sldLayoutMk cId="1758542806" sldId="2147487161"/>
          </pc:sldLayoutMkLst>
        </pc:sldLayoutChg>
        <pc:sldLayoutChg chg="replId">
          <pc:chgData name="Aleena Lida Surenian" userId="S::als0813@ads.northwestern.edu::e2fd0e4e-6417-49b0-ab16-0ba26a1719f0" providerId="AD" clId="Web-{42A43FDF-78EB-CB61-4BF2-137ACA597BBB}" dt="2023-10-19T13:35:11.544" v="24"/>
          <pc:sldLayoutMkLst>
            <pc:docMk/>
            <pc:sldMasterMk cId="560092682" sldId="2147487158"/>
            <pc:sldLayoutMk cId="3967421487" sldId="2147487162"/>
          </pc:sldLayoutMkLst>
        </pc:sldLayoutChg>
        <pc:sldLayoutChg chg="replId">
          <pc:chgData name="Aleena Lida Surenian" userId="S::als0813@ads.northwestern.edu::e2fd0e4e-6417-49b0-ab16-0ba26a1719f0" providerId="AD" clId="Web-{42A43FDF-78EB-CB61-4BF2-137ACA597BBB}" dt="2023-10-19T13:35:11.544" v="24"/>
          <pc:sldLayoutMkLst>
            <pc:docMk/>
            <pc:sldMasterMk cId="560092682" sldId="2147487158"/>
            <pc:sldLayoutMk cId="3630801759" sldId="2147487163"/>
          </pc:sldLayoutMkLst>
        </pc:sldLayoutChg>
        <pc:sldLayoutChg chg="replId">
          <pc:chgData name="Aleena Lida Surenian" userId="S::als0813@ads.northwestern.edu::e2fd0e4e-6417-49b0-ab16-0ba26a1719f0" providerId="AD" clId="Web-{42A43FDF-78EB-CB61-4BF2-137ACA597BBB}" dt="2023-10-19T13:35:11.544" v="24"/>
          <pc:sldLayoutMkLst>
            <pc:docMk/>
            <pc:sldMasterMk cId="560092682" sldId="2147487158"/>
            <pc:sldLayoutMk cId="1709868767" sldId="2147487164"/>
          </pc:sldLayoutMkLst>
        </pc:sldLayoutChg>
        <pc:sldLayoutChg chg="replId">
          <pc:chgData name="Aleena Lida Surenian" userId="S::als0813@ads.northwestern.edu::e2fd0e4e-6417-49b0-ab16-0ba26a1719f0" providerId="AD" clId="Web-{42A43FDF-78EB-CB61-4BF2-137ACA597BBB}" dt="2023-10-19T13:35:11.544" v="24"/>
          <pc:sldLayoutMkLst>
            <pc:docMk/>
            <pc:sldMasterMk cId="560092682" sldId="2147487158"/>
            <pc:sldLayoutMk cId="1998157548" sldId="2147487165"/>
          </pc:sldLayoutMkLst>
        </pc:sldLayoutChg>
        <pc:sldLayoutChg chg="replId">
          <pc:chgData name="Aleena Lida Surenian" userId="S::als0813@ads.northwestern.edu::e2fd0e4e-6417-49b0-ab16-0ba26a1719f0" providerId="AD" clId="Web-{42A43FDF-78EB-CB61-4BF2-137ACA597BBB}" dt="2023-10-19T13:35:11.544" v="24"/>
          <pc:sldLayoutMkLst>
            <pc:docMk/>
            <pc:sldMasterMk cId="560092682" sldId="2147487158"/>
            <pc:sldLayoutMk cId="980529727" sldId="2147487166"/>
          </pc:sldLayoutMkLst>
        </pc:sldLayoutChg>
        <pc:sldLayoutChg chg="replId">
          <pc:chgData name="Aleena Lida Surenian" userId="S::als0813@ads.northwestern.edu::e2fd0e4e-6417-49b0-ab16-0ba26a1719f0" providerId="AD" clId="Web-{42A43FDF-78EB-CB61-4BF2-137ACA597BBB}" dt="2023-10-19T13:35:11.544" v="24"/>
          <pc:sldLayoutMkLst>
            <pc:docMk/>
            <pc:sldMasterMk cId="560092682" sldId="2147487158"/>
            <pc:sldLayoutMk cId="191337409" sldId="2147487167"/>
          </pc:sldLayoutMkLst>
        </pc:sldLayoutChg>
        <pc:sldLayoutChg chg="replId">
          <pc:chgData name="Aleena Lida Surenian" userId="S::als0813@ads.northwestern.edu::e2fd0e4e-6417-49b0-ab16-0ba26a1719f0" providerId="AD" clId="Web-{42A43FDF-78EB-CB61-4BF2-137ACA597BBB}" dt="2023-10-19T13:35:11.544" v="24"/>
          <pc:sldLayoutMkLst>
            <pc:docMk/>
            <pc:sldMasterMk cId="560092682" sldId="2147487158"/>
            <pc:sldLayoutMk cId="1075216660" sldId="2147487168"/>
          </pc:sldLayoutMkLst>
        </pc:sldLayoutChg>
        <pc:sldLayoutChg chg="replId">
          <pc:chgData name="Aleena Lida Surenian" userId="S::als0813@ads.northwestern.edu::e2fd0e4e-6417-49b0-ab16-0ba26a1719f0" providerId="AD" clId="Web-{42A43FDF-78EB-CB61-4BF2-137ACA597BBB}" dt="2023-10-19T13:35:11.544" v="24"/>
          <pc:sldLayoutMkLst>
            <pc:docMk/>
            <pc:sldMasterMk cId="560092682" sldId="2147487158"/>
            <pc:sldLayoutMk cId="3476272431" sldId="2147487169"/>
          </pc:sldLayoutMkLst>
        </pc:sldLayoutChg>
        <pc:sldLayoutChg chg="replId">
          <pc:chgData name="Aleena Lida Surenian" userId="S::als0813@ads.northwestern.edu::e2fd0e4e-6417-49b0-ab16-0ba26a1719f0" providerId="AD" clId="Web-{42A43FDF-78EB-CB61-4BF2-137ACA597BBB}" dt="2023-10-19T13:35:11.544" v="24"/>
          <pc:sldLayoutMkLst>
            <pc:docMk/>
            <pc:sldMasterMk cId="560092682" sldId="2147487158"/>
            <pc:sldLayoutMk cId="1480140117" sldId="2147487170"/>
          </pc:sldLayoutMkLst>
        </pc:sldLayoutChg>
        <pc:sldLayoutChg chg="replId">
          <pc:chgData name="Aleena Lida Surenian" userId="S::als0813@ads.northwestern.edu::e2fd0e4e-6417-49b0-ab16-0ba26a1719f0" providerId="AD" clId="Web-{42A43FDF-78EB-CB61-4BF2-137ACA597BBB}" dt="2023-10-19T13:35:11.544" v="24"/>
          <pc:sldLayoutMkLst>
            <pc:docMk/>
            <pc:sldMasterMk cId="560092682" sldId="2147487158"/>
            <pc:sldLayoutMk cId="1059781530" sldId="2147487171"/>
          </pc:sldLayoutMkLst>
        </pc:sldLayoutChg>
        <pc:sldLayoutChg chg="replId">
          <pc:chgData name="Aleena Lida Surenian" userId="S::als0813@ads.northwestern.edu::e2fd0e4e-6417-49b0-ab16-0ba26a1719f0" providerId="AD" clId="Web-{42A43FDF-78EB-CB61-4BF2-137ACA597BBB}" dt="2023-10-19T13:35:11.544" v="24"/>
          <pc:sldLayoutMkLst>
            <pc:docMk/>
            <pc:sldMasterMk cId="560092682" sldId="2147487158"/>
            <pc:sldLayoutMk cId="1410130633" sldId="2147487172"/>
          </pc:sldLayoutMkLst>
        </pc:sldLayoutChg>
        <pc:sldLayoutChg chg="replId">
          <pc:chgData name="Aleena Lida Surenian" userId="S::als0813@ads.northwestern.edu::e2fd0e4e-6417-49b0-ab16-0ba26a1719f0" providerId="AD" clId="Web-{42A43FDF-78EB-CB61-4BF2-137ACA597BBB}" dt="2023-10-19T13:35:11.544" v="24"/>
          <pc:sldLayoutMkLst>
            <pc:docMk/>
            <pc:sldMasterMk cId="560092682" sldId="2147487158"/>
            <pc:sldLayoutMk cId="698059872" sldId="2147487173"/>
          </pc:sldLayoutMkLst>
        </pc:sldLayoutChg>
        <pc:sldLayoutChg chg="replId">
          <pc:chgData name="Aleena Lida Surenian" userId="S::als0813@ads.northwestern.edu::e2fd0e4e-6417-49b0-ab16-0ba26a1719f0" providerId="AD" clId="Web-{42A43FDF-78EB-CB61-4BF2-137ACA597BBB}" dt="2023-10-19T13:35:11.544" v="24"/>
          <pc:sldLayoutMkLst>
            <pc:docMk/>
            <pc:sldMasterMk cId="560092682" sldId="2147487158"/>
            <pc:sldLayoutMk cId="3630801759" sldId="2147487227"/>
          </pc:sldLayoutMkLst>
        </pc:sldLayoutChg>
        <pc:sldLayoutChg chg="replId">
          <pc:chgData name="Aleena Lida Surenian" userId="S::als0813@ads.northwestern.edu::e2fd0e4e-6417-49b0-ab16-0ba26a1719f0" providerId="AD" clId="Web-{42A43FDF-78EB-CB61-4BF2-137ACA597BBB}" dt="2023-10-19T13:35:11.544" v="24"/>
          <pc:sldLayoutMkLst>
            <pc:docMk/>
            <pc:sldMasterMk cId="560092682" sldId="2147487158"/>
            <pc:sldLayoutMk cId="1709868767" sldId="2147487228"/>
          </pc:sldLayoutMkLst>
        </pc:sldLayoutChg>
        <pc:sldLayoutChg chg="replId">
          <pc:chgData name="Aleena Lida Surenian" userId="S::als0813@ads.northwestern.edu::e2fd0e4e-6417-49b0-ab16-0ba26a1719f0" providerId="AD" clId="Web-{42A43FDF-78EB-CB61-4BF2-137ACA597BBB}" dt="2023-10-19T13:35:11.544" v="24"/>
          <pc:sldLayoutMkLst>
            <pc:docMk/>
            <pc:sldMasterMk cId="560092682" sldId="2147487158"/>
            <pc:sldLayoutMk cId="1998157548" sldId="2147487229"/>
          </pc:sldLayoutMkLst>
        </pc:sldLayoutChg>
        <pc:sldLayoutChg chg="replId">
          <pc:chgData name="Aleena Lida Surenian" userId="S::als0813@ads.northwestern.edu::e2fd0e4e-6417-49b0-ab16-0ba26a1719f0" providerId="AD" clId="Web-{42A43FDF-78EB-CB61-4BF2-137ACA597BBB}" dt="2023-10-19T13:35:11.544" v="24"/>
          <pc:sldLayoutMkLst>
            <pc:docMk/>
            <pc:sldMasterMk cId="560092682" sldId="2147487158"/>
            <pc:sldLayoutMk cId="191337409" sldId="2147487231"/>
          </pc:sldLayoutMkLst>
        </pc:sldLayoutChg>
        <pc:sldLayoutChg chg="replId">
          <pc:chgData name="Aleena Lida Surenian" userId="S::als0813@ads.northwestern.edu::e2fd0e4e-6417-49b0-ab16-0ba26a1719f0" providerId="AD" clId="Web-{42A43FDF-78EB-CB61-4BF2-137ACA597BBB}" dt="2023-10-19T13:35:11.544" v="24"/>
          <pc:sldLayoutMkLst>
            <pc:docMk/>
            <pc:sldMasterMk cId="560092682" sldId="2147487158"/>
            <pc:sldLayoutMk cId="1075216660" sldId="2147487232"/>
          </pc:sldLayoutMkLst>
        </pc:sldLayoutChg>
        <pc:sldLayoutChg chg="replId">
          <pc:chgData name="Aleena Lida Surenian" userId="S::als0813@ads.northwestern.edu::e2fd0e4e-6417-49b0-ab16-0ba26a1719f0" providerId="AD" clId="Web-{42A43FDF-78EB-CB61-4BF2-137ACA597BBB}" dt="2023-10-19T13:35:11.544" v="24"/>
          <pc:sldLayoutMkLst>
            <pc:docMk/>
            <pc:sldMasterMk cId="560092682" sldId="2147487158"/>
            <pc:sldLayoutMk cId="3476272431" sldId="2147487233"/>
          </pc:sldLayoutMkLst>
        </pc:sldLayoutChg>
        <pc:sldLayoutChg chg="replId">
          <pc:chgData name="Aleena Lida Surenian" userId="S::als0813@ads.northwestern.edu::e2fd0e4e-6417-49b0-ab16-0ba26a1719f0" providerId="AD" clId="Web-{42A43FDF-78EB-CB61-4BF2-137ACA597BBB}" dt="2023-10-19T13:35:11.544" v="24"/>
          <pc:sldLayoutMkLst>
            <pc:docMk/>
            <pc:sldMasterMk cId="560092682" sldId="2147487158"/>
            <pc:sldLayoutMk cId="3069300124" sldId="2147487234"/>
          </pc:sldLayoutMkLst>
        </pc:sldLayoutChg>
        <pc:sldLayoutChg chg="replId">
          <pc:chgData name="Aleena Lida Surenian" userId="S::als0813@ads.northwestern.edu::e2fd0e4e-6417-49b0-ab16-0ba26a1719f0" providerId="AD" clId="Web-{42A43FDF-78EB-CB61-4BF2-137ACA597BBB}" dt="2023-10-19T13:35:11.544" v="24"/>
          <pc:sldLayoutMkLst>
            <pc:docMk/>
            <pc:sldMasterMk cId="560092682" sldId="2147487158"/>
            <pc:sldLayoutMk cId="1410130633" sldId="214748723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4041914057" sldId="2147487240"/>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584230286" sldId="2147487241"/>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791199215" sldId="2147487243"/>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629515799" sldId="2147487244"/>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448436128" sldId="2147487245"/>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430479694" sldId="214748724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5964228" sldId="2147487247"/>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003719949" sldId="214748724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590515151" sldId="2147487249"/>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478274380" sldId="2147487250"/>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308841809" sldId="2147487251"/>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603686679" sldId="2147487252"/>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604450066" sldId="2147487253"/>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4065481949" sldId="2147487254"/>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614801019" sldId="2147487255"/>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907914573" sldId="214748725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707651266" sldId="2147487257"/>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018896833" sldId="214748725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09320368" sldId="2147487259"/>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967421487" sldId="2147487260"/>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983143663" sldId="2147487261"/>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998157548" sldId="2147487262"/>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965875377" sldId="2147487263"/>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059781530" sldId="2147487264"/>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991876091" sldId="2147487265"/>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981815734" sldId="214748726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35213743" sldId="2147487267"/>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41114809" sldId="214748726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147740735" sldId="2147487270"/>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095849402" sldId="2147487271"/>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662217939" sldId="2147487272"/>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0629127" sldId="2147487273"/>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732741348" sldId="2147487274"/>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042047047" sldId="2147487275"/>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298479306" sldId="214748727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985636675" sldId="2147487279"/>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480140117" sldId="2147487280"/>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4275016611" sldId="2147487281"/>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61954738" sldId="2147487282"/>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572710091" sldId="2147487283"/>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462430371" sldId="2147487284"/>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4288036761" sldId="2147487285"/>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882342115" sldId="214748728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914054778" sldId="2147487287"/>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404300062" sldId="214748728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436486368" sldId="2147487289"/>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670705443" sldId="2147487290"/>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548020355" sldId="2147487291"/>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062208845" sldId="2147487292"/>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829070028" sldId="2147487293"/>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789649185" sldId="2147487294"/>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848626561" sldId="2147487295"/>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576538025" sldId="214748729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724847678" sldId="2147487297"/>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083649414" sldId="214748729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97111013" sldId="2147487299"/>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000008366" sldId="2147487300"/>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318321361" sldId="2147487301"/>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559555195" sldId="2147487302"/>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741522953" sldId="2147487303"/>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496907520" sldId="2147487307"/>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362774728" sldId="214748730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627363329" sldId="2147487309"/>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459463894" sldId="2147487311"/>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752727692" sldId="2147487312"/>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386647170" sldId="2147487313"/>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4226791542" sldId="2147487314"/>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169632276" sldId="2147487315"/>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543247745" sldId="214748731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663663494" sldId="2147487317"/>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797839732" sldId="214748731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829198981" sldId="2147487321"/>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4290579671" sldId="2147487322"/>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491955889" sldId="2147487323"/>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069414299" sldId="2147487324"/>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756972729" sldId="2147487325"/>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541926387" sldId="214748732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486669273" sldId="2147487327"/>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610922533" sldId="214748732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065841725" sldId="2147487329"/>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4010596175" sldId="2147487330"/>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316315189" sldId="2147487331"/>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51008025" sldId="2147487332"/>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393792943" sldId="2147487333"/>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175092572" sldId="2147487334"/>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488716721" sldId="2147487335"/>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4145037749" sldId="214748733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486002367" sldId="2147487337"/>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939855488" sldId="214748733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4121826003" sldId="2147487339"/>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875499530" sldId="2147487340"/>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01596344" sldId="2147487341"/>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193561641" sldId="2147487342"/>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845267698" sldId="2147487343"/>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4175297497" sldId="2147487344"/>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578663217" sldId="2147487345"/>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820774020" sldId="214748734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834594192" sldId="2147487347"/>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356315279" sldId="214748734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100288109" sldId="2147487349"/>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796376101" sldId="2147487350"/>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892886451" sldId="2147487351"/>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806159376" sldId="2147487352"/>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088616943" sldId="2147487353"/>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246938417" sldId="2147487354"/>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483550571" sldId="2147487355"/>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4220877040" sldId="214748735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58278594" sldId="2147487357"/>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489404483" sldId="214748735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403478424" sldId="2147487359"/>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859098044" sldId="2147487360"/>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945276364" sldId="2147487361"/>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618021461" sldId="2147487362"/>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675864542" sldId="2147487363"/>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978282302" sldId="2147487364"/>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37104982" sldId="2147487365"/>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795372134" sldId="214748736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217828020" sldId="2147487367"/>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627648628" sldId="214748736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326122543" sldId="2147487369"/>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462054694" sldId="2147487370"/>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29055294" sldId="2147487371"/>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986171260" sldId="2147487372"/>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080090535" sldId="2147487373"/>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27921214" sldId="2147487374"/>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41920976" sldId="2147487375"/>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635804420" sldId="214748737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60585276" sldId="2147487377"/>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2309666298" sldId="2147487378"/>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656760714" sldId="2147487379"/>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935649411" sldId="2147487380"/>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551432267" sldId="2147487381"/>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480461207" sldId="2147487382"/>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873984959" sldId="2147487383"/>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729066305" sldId="2147487384"/>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308668804" sldId="2147487636"/>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801862111" sldId="2147487637"/>
          </pc:sldLayoutMkLst>
        </pc:sldLayoutChg>
        <pc:sldLayoutChg chg="add">
          <pc:chgData name="Aleena Lida Surenian" userId="S::als0813@ads.northwestern.edu::e2fd0e4e-6417-49b0-ab16-0ba26a1719f0" providerId="AD" clId="Web-{42A43FDF-78EB-CB61-4BF2-137ACA597BBB}" dt="2023-10-19T13:35:11.544" v="24"/>
          <pc:sldLayoutMkLst>
            <pc:docMk/>
            <pc:sldMasterMk cId="560092682" sldId="2147487158"/>
            <pc:sldLayoutMk cId="1957949696" sldId="2147487638"/>
          </pc:sldLayoutMkLst>
        </pc:sldLayoutChg>
      </pc:sldMasterChg>
      <pc:sldMasterChg chg="replId modSldLayout">
        <pc:chgData name="Aleena Lida Surenian" userId="S::als0813@ads.northwestern.edu::e2fd0e4e-6417-49b0-ab16-0ba26a1719f0" providerId="AD" clId="Web-{42A43FDF-78EB-CB61-4BF2-137ACA597BBB}" dt="2023-10-19T13:35:11.544" v="24"/>
        <pc:sldMasterMkLst>
          <pc:docMk/>
          <pc:sldMasterMk cId="3749873650" sldId="2147487174"/>
        </pc:sldMasterMkLst>
        <pc:sldLayoutChg chg="replId">
          <pc:chgData name="Aleena Lida Surenian" userId="S::als0813@ads.northwestern.edu::e2fd0e4e-6417-49b0-ab16-0ba26a1719f0" providerId="AD" clId="Web-{42A43FDF-78EB-CB61-4BF2-137ACA597BBB}" dt="2023-10-19T13:35:11.544" v="24"/>
          <pc:sldLayoutMkLst>
            <pc:docMk/>
            <pc:sldMasterMk cId="3749873650" sldId="2147487174"/>
            <pc:sldLayoutMk cId="1484062397" sldId="2147487175"/>
          </pc:sldLayoutMkLst>
        </pc:sldLayoutChg>
        <pc:sldLayoutChg chg="replId">
          <pc:chgData name="Aleena Lida Surenian" userId="S::als0813@ads.northwestern.edu::e2fd0e4e-6417-49b0-ab16-0ba26a1719f0" providerId="AD" clId="Web-{42A43FDF-78EB-CB61-4BF2-137ACA597BBB}" dt="2023-10-19T13:35:11.544" v="24"/>
          <pc:sldLayoutMkLst>
            <pc:docMk/>
            <pc:sldMasterMk cId="3749873650" sldId="2147487174"/>
            <pc:sldLayoutMk cId="1211612964" sldId="2147487176"/>
          </pc:sldLayoutMkLst>
        </pc:sldLayoutChg>
        <pc:sldLayoutChg chg="replId">
          <pc:chgData name="Aleena Lida Surenian" userId="S::als0813@ads.northwestern.edu::e2fd0e4e-6417-49b0-ab16-0ba26a1719f0" providerId="AD" clId="Web-{42A43FDF-78EB-CB61-4BF2-137ACA597BBB}" dt="2023-10-19T13:35:11.544" v="24"/>
          <pc:sldLayoutMkLst>
            <pc:docMk/>
            <pc:sldMasterMk cId="3749873650" sldId="2147487174"/>
            <pc:sldLayoutMk cId="4280666530" sldId="2147487177"/>
          </pc:sldLayoutMkLst>
        </pc:sldLayoutChg>
        <pc:sldLayoutChg chg="replId">
          <pc:chgData name="Aleena Lida Surenian" userId="S::als0813@ads.northwestern.edu::e2fd0e4e-6417-49b0-ab16-0ba26a1719f0" providerId="AD" clId="Web-{42A43FDF-78EB-CB61-4BF2-137ACA597BBB}" dt="2023-10-19T13:35:11.544" v="24"/>
          <pc:sldLayoutMkLst>
            <pc:docMk/>
            <pc:sldMasterMk cId="3749873650" sldId="2147487174"/>
            <pc:sldLayoutMk cId="2193883096" sldId="2147487178"/>
          </pc:sldLayoutMkLst>
        </pc:sldLayoutChg>
        <pc:sldLayoutChg chg="replId">
          <pc:chgData name="Aleena Lida Surenian" userId="S::als0813@ads.northwestern.edu::e2fd0e4e-6417-49b0-ab16-0ba26a1719f0" providerId="AD" clId="Web-{42A43FDF-78EB-CB61-4BF2-137ACA597BBB}" dt="2023-10-19T13:35:11.544" v="24"/>
          <pc:sldLayoutMkLst>
            <pc:docMk/>
            <pc:sldMasterMk cId="3749873650" sldId="2147487174"/>
            <pc:sldLayoutMk cId="4278784028" sldId="2147487179"/>
          </pc:sldLayoutMkLst>
        </pc:sldLayoutChg>
        <pc:sldLayoutChg chg="replId">
          <pc:chgData name="Aleena Lida Surenian" userId="S::als0813@ads.northwestern.edu::e2fd0e4e-6417-49b0-ab16-0ba26a1719f0" providerId="AD" clId="Web-{42A43FDF-78EB-CB61-4BF2-137ACA597BBB}" dt="2023-10-19T13:35:11.544" v="24"/>
          <pc:sldLayoutMkLst>
            <pc:docMk/>
            <pc:sldMasterMk cId="3749873650" sldId="2147487174"/>
            <pc:sldLayoutMk cId="3970302204" sldId="2147487180"/>
          </pc:sldLayoutMkLst>
        </pc:sldLayoutChg>
        <pc:sldLayoutChg chg="replId">
          <pc:chgData name="Aleena Lida Surenian" userId="S::als0813@ads.northwestern.edu::e2fd0e4e-6417-49b0-ab16-0ba26a1719f0" providerId="AD" clId="Web-{42A43FDF-78EB-CB61-4BF2-137ACA597BBB}" dt="2023-10-19T13:35:11.544" v="24"/>
          <pc:sldLayoutMkLst>
            <pc:docMk/>
            <pc:sldMasterMk cId="3749873650" sldId="2147487174"/>
            <pc:sldLayoutMk cId="3974072855" sldId="2147487181"/>
          </pc:sldLayoutMkLst>
        </pc:sldLayoutChg>
        <pc:sldLayoutChg chg="replId">
          <pc:chgData name="Aleena Lida Surenian" userId="S::als0813@ads.northwestern.edu::e2fd0e4e-6417-49b0-ab16-0ba26a1719f0" providerId="AD" clId="Web-{42A43FDF-78EB-CB61-4BF2-137ACA597BBB}" dt="2023-10-19T13:35:11.544" v="24"/>
          <pc:sldLayoutMkLst>
            <pc:docMk/>
            <pc:sldMasterMk cId="3749873650" sldId="2147487174"/>
            <pc:sldLayoutMk cId="1223033351" sldId="2147487182"/>
          </pc:sldLayoutMkLst>
        </pc:sldLayoutChg>
        <pc:sldLayoutChg chg="replId">
          <pc:chgData name="Aleena Lida Surenian" userId="S::als0813@ads.northwestern.edu::e2fd0e4e-6417-49b0-ab16-0ba26a1719f0" providerId="AD" clId="Web-{42A43FDF-78EB-CB61-4BF2-137ACA597BBB}" dt="2023-10-19T13:35:11.544" v="24"/>
          <pc:sldLayoutMkLst>
            <pc:docMk/>
            <pc:sldMasterMk cId="3749873650" sldId="2147487174"/>
            <pc:sldLayoutMk cId="2176686658" sldId="2147487183"/>
          </pc:sldLayoutMkLst>
        </pc:sldLayoutChg>
        <pc:sldLayoutChg chg="replId">
          <pc:chgData name="Aleena Lida Surenian" userId="S::als0813@ads.northwestern.edu::e2fd0e4e-6417-49b0-ab16-0ba26a1719f0" providerId="AD" clId="Web-{42A43FDF-78EB-CB61-4BF2-137ACA597BBB}" dt="2023-10-19T13:35:11.544" v="24"/>
          <pc:sldLayoutMkLst>
            <pc:docMk/>
            <pc:sldMasterMk cId="3749873650" sldId="2147487174"/>
            <pc:sldLayoutMk cId="331234989" sldId="2147487184"/>
          </pc:sldLayoutMkLst>
        </pc:sldLayoutChg>
        <pc:sldLayoutChg chg="replId">
          <pc:chgData name="Aleena Lida Surenian" userId="S::als0813@ads.northwestern.edu::e2fd0e4e-6417-49b0-ab16-0ba26a1719f0" providerId="AD" clId="Web-{42A43FDF-78EB-CB61-4BF2-137ACA597BBB}" dt="2023-10-19T13:35:11.544" v="24"/>
          <pc:sldLayoutMkLst>
            <pc:docMk/>
            <pc:sldMasterMk cId="3749873650" sldId="2147487174"/>
            <pc:sldLayoutMk cId="338305828" sldId="2147487185"/>
          </pc:sldLayoutMkLst>
        </pc:sldLayoutChg>
        <pc:sldLayoutChg chg="replId">
          <pc:chgData name="Aleena Lida Surenian" userId="S::als0813@ads.northwestern.edu::e2fd0e4e-6417-49b0-ab16-0ba26a1719f0" providerId="AD" clId="Web-{42A43FDF-78EB-CB61-4BF2-137ACA597BBB}" dt="2023-10-19T13:35:11.544" v="24"/>
          <pc:sldLayoutMkLst>
            <pc:docMk/>
            <pc:sldMasterMk cId="3749873650" sldId="2147487174"/>
            <pc:sldLayoutMk cId="813005036" sldId="2147487186"/>
          </pc:sldLayoutMkLst>
        </pc:sldLayoutChg>
        <pc:sldLayoutChg chg="replId">
          <pc:chgData name="Aleena Lida Surenian" userId="S::als0813@ads.northwestern.edu::e2fd0e4e-6417-49b0-ab16-0ba26a1719f0" providerId="AD" clId="Web-{42A43FDF-78EB-CB61-4BF2-137ACA597BBB}" dt="2023-10-19T13:35:11.544" v="24"/>
          <pc:sldLayoutMkLst>
            <pc:docMk/>
            <pc:sldMasterMk cId="3749873650" sldId="2147487174"/>
            <pc:sldLayoutMk cId="2192280468" sldId="2147487187"/>
          </pc:sldLayoutMkLst>
        </pc:sldLayoutChg>
        <pc:sldLayoutChg chg="replId">
          <pc:chgData name="Aleena Lida Surenian" userId="S::als0813@ads.northwestern.edu::e2fd0e4e-6417-49b0-ab16-0ba26a1719f0" providerId="AD" clId="Web-{42A43FDF-78EB-CB61-4BF2-137ACA597BBB}" dt="2023-10-19T13:35:11.544" v="24"/>
          <pc:sldLayoutMkLst>
            <pc:docMk/>
            <pc:sldMasterMk cId="3749873650" sldId="2147487174"/>
            <pc:sldLayoutMk cId="87408514" sldId="2147487188"/>
          </pc:sldLayoutMkLst>
        </pc:sldLayoutChg>
        <pc:sldLayoutChg chg="replId">
          <pc:chgData name="Aleena Lida Surenian" userId="S::als0813@ads.northwestern.edu::e2fd0e4e-6417-49b0-ab16-0ba26a1719f0" providerId="AD" clId="Web-{42A43FDF-78EB-CB61-4BF2-137ACA597BBB}" dt="2023-10-19T13:35:11.544" v="24"/>
          <pc:sldLayoutMkLst>
            <pc:docMk/>
            <pc:sldMasterMk cId="3749873650" sldId="2147487174"/>
            <pc:sldLayoutMk cId="756470188" sldId="2147487189"/>
          </pc:sldLayoutMkLst>
        </pc:sldLayoutChg>
        <pc:sldLayoutChg chg="replId">
          <pc:chgData name="Aleena Lida Surenian" userId="S::als0813@ads.northwestern.edu::e2fd0e4e-6417-49b0-ab16-0ba26a1719f0" providerId="AD" clId="Web-{42A43FDF-78EB-CB61-4BF2-137ACA597BBB}" dt="2023-10-19T13:35:11.544" v="24"/>
          <pc:sldLayoutMkLst>
            <pc:docMk/>
            <pc:sldMasterMk cId="3749873650" sldId="2147487174"/>
            <pc:sldLayoutMk cId="571770107" sldId="2147487190"/>
          </pc:sldLayoutMkLst>
        </pc:sldLayoutChg>
        <pc:sldLayoutChg chg="replId">
          <pc:chgData name="Aleena Lida Surenian" userId="S::als0813@ads.northwestern.edu::e2fd0e4e-6417-49b0-ab16-0ba26a1719f0" providerId="AD" clId="Web-{42A43FDF-78EB-CB61-4BF2-137ACA597BBB}" dt="2023-10-19T13:35:11.544" v="24"/>
          <pc:sldLayoutMkLst>
            <pc:docMk/>
            <pc:sldMasterMk cId="3749873650" sldId="2147487174"/>
            <pc:sldLayoutMk cId="440559445" sldId="2147487191"/>
          </pc:sldLayoutMkLst>
        </pc:sldLayoutChg>
        <pc:sldLayoutChg chg="replId">
          <pc:chgData name="Aleena Lida Surenian" userId="S::als0813@ads.northwestern.edu::e2fd0e4e-6417-49b0-ab16-0ba26a1719f0" providerId="AD" clId="Web-{42A43FDF-78EB-CB61-4BF2-137ACA597BBB}" dt="2023-10-19T13:35:11.544" v="24"/>
          <pc:sldLayoutMkLst>
            <pc:docMk/>
            <pc:sldMasterMk cId="3749873650" sldId="2147487174"/>
            <pc:sldLayoutMk cId="441645584" sldId="2147487192"/>
          </pc:sldLayoutMkLst>
        </pc:sldLayoutChg>
        <pc:sldLayoutChg chg="replId">
          <pc:chgData name="Aleena Lida Surenian" userId="S::als0813@ads.northwestern.edu::e2fd0e4e-6417-49b0-ab16-0ba26a1719f0" providerId="AD" clId="Web-{42A43FDF-78EB-CB61-4BF2-137ACA597BBB}" dt="2023-10-19T13:35:11.544" v="24"/>
          <pc:sldLayoutMkLst>
            <pc:docMk/>
            <pc:sldMasterMk cId="3749873650" sldId="2147487174"/>
            <pc:sldLayoutMk cId="2241120218" sldId="2147487193"/>
          </pc:sldLayoutMkLst>
        </pc:sldLayoutChg>
        <pc:sldLayoutChg chg="replId">
          <pc:chgData name="Aleena Lida Surenian" userId="S::als0813@ads.northwestern.edu::e2fd0e4e-6417-49b0-ab16-0ba26a1719f0" providerId="AD" clId="Web-{42A43FDF-78EB-CB61-4BF2-137ACA597BBB}" dt="2023-10-19T13:35:11.544" v="24"/>
          <pc:sldLayoutMkLst>
            <pc:docMk/>
            <pc:sldMasterMk cId="3749873650" sldId="2147487174"/>
            <pc:sldLayoutMk cId="1091279663" sldId="2147487194"/>
          </pc:sldLayoutMkLst>
        </pc:sldLayoutChg>
        <pc:sldLayoutChg chg="replId">
          <pc:chgData name="Aleena Lida Surenian" userId="S::als0813@ads.northwestern.edu::e2fd0e4e-6417-49b0-ab16-0ba26a1719f0" providerId="AD" clId="Web-{42A43FDF-78EB-CB61-4BF2-137ACA597BBB}" dt="2023-10-19T13:35:11.544" v="24"/>
          <pc:sldLayoutMkLst>
            <pc:docMk/>
            <pc:sldMasterMk cId="3749873650" sldId="2147487174"/>
            <pc:sldLayoutMk cId="2055103267" sldId="2147487195"/>
          </pc:sldLayoutMkLst>
        </pc:sldLayoutChg>
        <pc:sldLayoutChg chg="replId">
          <pc:chgData name="Aleena Lida Surenian" userId="S::als0813@ads.northwestern.edu::e2fd0e4e-6417-49b0-ab16-0ba26a1719f0" providerId="AD" clId="Web-{42A43FDF-78EB-CB61-4BF2-137ACA597BBB}" dt="2023-10-19T13:35:11.544" v="24"/>
          <pc:sldLayoutMkLst>
            <pc:docMk/>
            <pc:sldMasterMk cId="3749873650" sldId="2147487174"/>
            <pc:sldLayoutMk cId="344075938" sldId="2147487196"/>
          </pc:sldLayoutMkLst>
        </pc:sldLayoutChg>
        <pc:sldLayoutChg chg="replId">
          <pc:chgData name="Aleena Lida Surenian" userId="S::als0813@ads.northwestern.edu::e2fd0e4e-6417-49b0-ab16-0ba26a1719f0" providerId="AD" clId="Web-{42A43FDF-78EB-CB61-4BF2-137ACA597BBB}" dt="2023-10-19T13:35:11.544" v="24"/>
          <pc:sldLayoutMkLst>
            <pc:docMk/>
            <pc:sldMasterMk cId="3749873650" sldId="2147487174"/>
            <pc:sldLayoutMk cId="3547859252" sldId="2147487197"/>
          </pc:sldLayoutMkLst>
        </pc:sldLayoutChg>
        <pc:sldLayoutChg chg="replId">
          <pc:chgData name="Aleena Lida Surenian" userId="S::als0813@ads.northwestern.edu::e2fd0e4e-6417-49b0-ab16-0ba26a1719f0" providerId="AD" clId="Web-{42A43FDF-78EB-CB61-4BF2-137ACA597BBB}" dt="2023-10-19T13:35:11.544" v="24"/>
          <pc:sldLayoutMkLst>
            <pc:docMk/>
            <pc:sldMasterMk cId="3749873650" sldId="2147487174"/>
            <pc:sldLayoutMk cId="2996222432" sldId="2147487198"/>
          </pc:sldLayoutMkLst>
        </pc:sldLayoutChg>
        <pc:sldLayoutChg chg="replId">
          <pc:chgData name="Aleena Lida Surenian" userId="S::als0813@ads.northwestern.edu::e2fd0e4e-6417-49b0-ab16-0ba26a1719f0" providerId="AD" clId="Web-{42A43FDF-78EB-CB61-4BF2-137ACA597BBB}" dt="2023-10-19T13:35:11.544" v="24"/>
          <pc:sldLayoutMkLst>
            <pc:docMk/>
            <pc:sldMasterMk cId="3749873650" sldId="2147487174"/>
            <pc:sldLayoutMk cId="981878236" sldId="2147487199"/>
          </pc:sldLayoutMkLst>
        </pc:sldLayoutChg>
        <pc:sldLayoutChg chg="replId">
          <pc:chgData name="Aleena Lida Surenian" userId="S::als0813@ads.northwestern.edu::e2fd0e4e-6417-49b0-ab16-0ba26a1719f0" providerId="AD" clId="Web-{42A43FDF-78EB-CB61-4BF2-137ACA597BBB}" dt="2023-10-19T13:35:11.544" v="24"/>
          <pc:sldLayoutMkLst>
            <pc:docMk/>
            <pc:sldMasterMk cId="3749873650" sldId="2147487174"/>
            <pc:sldLayoutMk cId="1512845346" sldId="2147487200"/>
          </pc:sldLayoutMkLst>
        </pc:sldLayoutChg>
        <pc:sldLayoutChg chg="replId">
          <pc:chgData name="Aleena Lida Surenian" userId="S::als0813@ads.northwestern.edu::e2fd0e4e-6417-49b0-ab16-0ba26a1719f0" providerId="AD" clId="Web-{42A43FDF-78EB-CB61-4BF2-137ACA597BBB}" dt="2023-10-19T13:35:11.544" v="24"/>
          <pc:sldLayoutMkLst>
            <pc:docMk/>
            <pc:sldMasterMk cId="3749873650" sldId="2147487174"/>
            <pc:sldLayoutMk cId="3795673359" sldId="2147487201"/>
          </pc:sldLayoutMkLst>
        </pc:sldLayoutChg>
        <pc:sldLayoutChg chg="replId">
          <pc:chgData name="Aleena Lida Surenian" userId="S::als0813@ads.northwestern.edu::e2fd0e4e-6417-49b0-ab16-0ba26a1719f0" providerId="AD" clId="Web-{42A43FDF-78EB-CB61-4BF2-137ACA597BBB}" dt="2023-10-19T13:35:11.544" v="24"/>
          <pc:sldLayoutMkLst>
            <pc:docMk/>
            <pc:sldMasterMk cId="3749873650" sldId="2147487174"/>
            <pc:sldLayoutMk cId="2310101850" sldId="2147487202"/>
          </pc:sldLayoutMkLst>
        </pc:sldLayoutChg>
        <pc:sldLayoutChg chg="replId">
          <pc:chgData name="Aleena Lida Surenian" userId="S::als0813@ads.northwestern.edu::e2fd0e4e-6417-49b0-ab16-0ba26a1719f0" providerId="AD" clId="Web-{42A43FDF-78EB-CB61-4BF2-137ACA597BBB}" dt="2023-10-19T13:35:11.544" v="24"/>
          <pc:sldLayoutMkLst>
            <pc:docMk/>
            <pc:sldMasterMk cId="3749873650" sldId="2147487174"/>
            <pc:sldLayoutMk cId="1334891318" sldId="2147487203"/>
          </pc:sldLayoutMkLst>
        </pc:sldLayoutChg>
        <pc:sldLayoutChg chg="replId">
          <pc:chgData name="Aleena Lida Surenian" userId="S::als0813@ads.northwestern.edu::e2fd0e4e-6417-49b0-ab16-0ba26a1719f0" providerId="AD" clId="Web-{42A43FDF-78EB-CB61-4BF2-137ACA597BBB}" dt="2023-10-19T13:35:11.544" v="24"/>
          <pc:sldLayoutMkLst>
            <pc:docMk/>
            <pc:sldMasterMk cId="3749873650" sldId="2147487174"/>
            <pc:sldLayoutMk cId="183027598" sldId="2147487204"/>
          </pc:sldLayoutMkLst>
        </pc:sldLayoutChg>
        <pc:sldLayoutChg chg="replId">
          <pc:chgData name="Aleena Lida Surenian" userId="S::als0813@ads.northwestern.edu::e2fd0e4e-6417-49b0-ab16-0ba26a1719f0" providerId="AD" clId="Web-{42A43FDF-78EB-CB61-4BF2-137ACA597BBB}" dt="2023-10-19T13:35:11.544" v="24"/>
          <pc:sldLayoutMkLst>
            <pc:docMk/>
            <pc:sldMasterMk cId="3749873650" sldId="2147487174"/>
            <pc:sldLayoutMk cId="3493857269" sldId="2147487205"/>
          </pc:sldLayoutMkLst>
        </pc:sldLayoutChg>
        <pc:sldLayoutChg chg="replId">
          <pc:chgData name="Aleena Lida Surenian" userId="S::als0813@ads.northwestern.edu::e2fd0e4e-6417-49b0-ab16-0ba26a1719f0" providerId="AD" clId="Web-{42A43FDF-78EB-CB61-4BF2-137ACA597BBB}" dt="2023-10-19T13:35:11.544" v="24"/>
          <pc:sldLayoutMkLst>
            <pc:docMk/>
            <pc:sldMasterMk cId="3749873650" sldId="2147487174"/>
            <pc:sldLayoutMk cId="1498836458" sldId="2147487206"/>
          </pc:sldLayoutMkLst>
        </pc:sldLayoutChg>
        <pc:sldLayoutChg chg="replId">
          <pc:chgData name="Aleena Lida Surenian" userId="S::als0813@ads.northwestern.edu::e2fd0e4e-6417-49b0-ab16-0ba26a1719f0" providerId="AD" clId="Web-{42A43FDF-78EB-CB61-4BF2-137ACA597BBB}" dt="2023-10-19T13:35:11.544" v="24"/>
          <pc:sldLayoutMkLst>
            <pc:docMk/>
            <pc:sldMasterMk cId="3749873650" sldId="2147487174"/>
            <pc:sldLayoutMk cId="2340032753" sldId="2147487207"/>
          </pc:sldLayoutMkLst>
        </pc:sldLayoutChg>
        <pc:sldLayoutChg chg="replId">
          <pc:chgData name="Aleena Lida Surenian" userId="S::als0813@ads.northwestern.edu::e2fd0e4e-6417-49b0-ab16-0ba26a1719f0" providerId="AD" clId="Web-{42A43FDF-78EB-CB61-4BF2-137ACA597BBB}" dt="2023-10-19T13:35:11.544" v="24"/>
          <pc:sldLayoutMkLst>
            <pc:docMk/>
            <pc:sldMasterMk cId="3749873650" sldId="2147487174"/>
            <pc:sldLayoutMk cId="379366162" sldId="2147487208"/>
          </pc:sldLayoutMkLst>
        </pc:sldLayoutChg>
        <pc:sldLayoutChg chg="replId">
          <pc:chgData name="Aleena Lida Surenian" userId="S::als0813@ads.northwestern.edu::e2fd0e4e-6417-49b0-ab16-0ba26a1719f0" providerId="AD" clId="Web-{42A43FDF-78EB-CB61-4BF2-137ACA597BBB}" dt="2023-10-19T13:35:11.544" v="24"/>
          <pc:sldLayoutMkLst>
            <pc:docMk/>
            <pc:sldMasterMk cId="3749873650" sldId="2147487174"/>
            <pc:sldLayoutMk cId="2031911642" sldId="2147487209"/>
          </pc:sldLayoutMkLst>
        </pc:sldLayoutChg>
        <pc:sldLayoutChg chg="replId">
          <pc:chgData name="Aleena Lida Surenian" userId="S::als0813@ads.northwestern.edu::e2fd0e4e-6417-49b0-ab16-0ba26a1719f0" providerId="AD" clId="Web-{42A43FDF-78EB-CB61-4BF2-137ACA597BBB}" dt="2023-10-19T13:35:11.544" v="24"/>
          <pc:sldLayoutMkLst>
            <pc:docMk/>
            <pc:sldMasterMk cId="3749873650" sldId="2147487174"/>
            <pc:sldLayoutMk cId="3068628412" sldId="2147487210"/>
          </pc:sldLayoutMkLst>
        </pc:sldLayoutChg>
        <pc:sldLayoutChg chg="replId">
          <pc:chgData name="Aleena Lida Surenian" userId="S::als0813@ads.northwestern.edu::e2fd0e4e-6417-49b0-ab16-0ba26a1719f0" providerId="AD" clId="Web-{42A43FDF-78EB-CB61-4BF2-137ACA597BBB}" dt="2023-10-19T13:35:11.544" v="24"/>
          <pc:sldLayoutMkLst>
            <pc:docMk/>
            <pc:sldMasterMk cId="3749873650" sldId="2147487174"/>
            <pc:sldLayoutMk cId="2141923877" sldId="2147487211"/>
          </pc:sldLayoutMkLst>
        </pc:sldLayoutChg>
        <pc:sldLayoutChg chg="replId">
          <pc:chgData name="Aleena Lida Surenian" userId="S::als0813@ads.northwestern.edu::e2fd0e4e-6417-49b0-ab16-0ba26a1719f0" providerId="AD" clId="Web-{42A43FDF-78EB-CB61-4BF2-137ACA597BBB}" dt="2023-10-19T13:35:11.544" v="24"/>
          <pc:sldLayoutMkLst>
            <pc:docMk/>
            <pc:sldMasterMk cId="3749873650" sldId="2147487174"/>
            <pc:sldLayoutMk cId="3043819429" sldId="2147487212"/>
          </pc:sldLayoutMkLst>
        </pc:sldLayoutChg>
        <pc:sldLayoutChg chg="replId">
          <pc:chgData name="Aleena Lida Surenian" userId="S::als0813@ads.northwestern.edu::e2fd0e4e-6417-49b0-ab16-0ba26a1719f0" providerId="AD" clId="Web-{42A43FDF-78EB-CB61-4BF2-137ACA597BBB}" dt="2023-10-19T13:35:11.544" v="24"/>
          <pc:sldLayoutMkLst>
            <pc:docMk/>
            <pc:sldMasterMk cId="3749873650" sldId="2147487174"/>
            <pc:sldLayoutMk cId="753883094" sldId="2147487213"/>
          </pc:sldLayoutMkLst>
        </pc:sldLayoutChg>
        <pc:sldLayoutChg chg="replId">
          <pc:chgData name="Aleena Lida Surenian" userId="S::als0813@ads.northwestern.edu::e2fd0e4e-6417-49b0-ab16-0ba26a1719f0" providerId="AD" clId="Web-{42A43FDF-78EB-CB61-4BF2-137ACA597BBB}" dt="2023-10-19T13:35:11.544" v="24"/>
          <pc:sldLayoutMkLst>
            <pc:docMk/>
            <pc:sldMasterMk cId="3749873650" sldId="2147487174"/>
            <pc:sldLayoutMk cId="203489836" sldId="2147487214"/>
          </pc:sldLayoutMkLst>
        </pc:sldLayoutChg>
        <pc:sldLayoutChg chg="replId">
          <pc:chgData name="Aleena Lida Surenian" userId="S::als0813@ads.northwestern.edu::e2fd0e4e-6417-49b0-ab16-0ba26a1719f0" providerId="AD" clId="Web-{42A43FDF-78EB-CB61-4BF2-137ACA597BBB}" dt="2023-10-19T13:35:11.544" v="24"/>
          <pc:sldLayoutMkLst>
            <pc:docMk/>
            <pc:sldMasterMk cId="3749873650" sldId="2147487174"/>
            <pc:sldLayoutMk cId="1502328159" sldId="2147487215"/>
          </pc:sldLayoutMkLst>
        </pc:sldLayoutChg>
        <pc:sldLayoutChg chg="replId">
          <pc:chgData name="Aleena Lida Surenian" userId="S::als0813@ads.northwestern.edu::e2fd0e4e-6417-49b0-ab16-0ba26a1719f0" providerId="AD" clId="Web-{42A43FDF-78EB-CB61-4BF2-137ACA597BBB}" dt="2023-10-19T13:35:11.544" v="24"/>
          <pc:sldLayoutMkLst>
            <pc:docMk/>
            <pc:sldMasterMk cId="3749873650" sldId="2147487174"/>
            <pc:sldLayoutMk cId="709521452" sldId="2147487216"/>
          </pc:sldLayoutMkLst>
        </pc:sldLayoutChg>
        <pc:sldLayoutChg chg="replId">
          <pc:chgData name="Aleena Lida Surenian" userId="S::als0813@ads.northwestern.edu::e2fd0e4e-6417-49b0-ab16-0ba26a1719f0" providerId="AD" clId="Web-{42A43FDF-78EB-CB61-4BF2-137ACA597BBB}" dt="2023-10-19T13:35:11.544" v="24"/>
          <pc:sldLayoutMkLst>
            <pc:docMk/>
            <pc:sldMasterMk cId="3749873650" sldId="2147487174"/>
            <pc:sldLayoutMk cId="282616914" sldId="2147487217"/>
          </pc:sldLayoutMkLst>
        </pc:sldLayoutChg>
        <pc:sldLayoutChg chg="replId">
          <pc:chgData name="Aleena Lida Surenian" userId="S::als0813@ads.northwestern.edu::e2fd0e4e-6417-49b0-ab16-0ba26a1719f0" providerId="AD" clId="Web-{42A43FDF-78EB-CB61-4BF2-137ACA597BBB}" dt="2023-10-19T13:35:11.544" v="24"/>
          <pc:sldLayoutMkLst>
            <pc:docMk/>
            <pc:sldMasterMk cId="3749873650" sldId="2147487174"/>
            <pc:sldLayoutMk cId="1679326096" sldId="2147487218"/>
          </pc:sldLayoutMkLst>
        </pc:sldLayoutChg>
        <pc:sldLayoutChg chg="replId">
          <pc:chgData name="Aleena Lida Surenian" userId="S::als0813@ads.northwestern.edu::e2fd0e4e-6417-49b0-ab16-0ba26a1719f0" providerId="AD" clId="Web-{42A43FDF-78EB-CB61-4BF2-137ACA597BBB}" dt="2023-10-19T13:35:11.544" v="24"/>
          <pc:sldLayoutMkLst>
            <pc:docMk/>
            <pc:sldMasterMk cId="3749873650" sldId="2147487174"/>
            <pc:sldLayoutMk cId="2238255593" sldId="2147487219"/>
          </pc:sldLayoutMkLst>
        </pc:sldLayoutChg>
        <pc:sldLayoutChg chg="replId">
          <pc:chgData name="Aleena Lida Surenian" userId="S::als0813@ads.northwestern.edu::e2fd0e4e-6417-49b0-ab16-0ba26a1719f0" providerId="AD" clId="Web-{42A43FDF-78EB-CB61-4BF2-137ACA597BBB}" dt="2023-10-19T13:35:11.544" v="24"/>
          <pc:sldLayoutMkLst>
            <pc:docMk/>
            <pc:sldMasterMk cId="3749873650" sldId="2147487174"/>
            <pc:sldLayoutMk cId="1991670309" sldId="2147487220"/>
          </pc:sldLayoutMkLst>
        </pc:sldLayoutChg>
        <pc:sldLayoutChg chg="replId">
          <pc:chgData name="Aleena Lida Surenian" userId="S::als0813@ads.northwestern.edu::e2fd0e4e-6417-49b0-ab16-0ba26a1719f0" providerId="AD" clId="Web-{42A43FDF-78EB-CB61-4BF2-137ACA597BBB}" dt="2023-10-19T13:35:11.544" v="24"/>
          <pc:sldLayoutMkLst>
            <pc:docMk/>
            <pc:sldMasterMk cId="3749873650" sldId="2147487174"/>
            <pc:sldLayoutMk cId="841771359" sldId="2147487221"/>
          </pc:sldLayoutMkLst>
        </pc:sldLayoutChg>
        <pc:sldLayoutChg chg="replId">
          <pc:chgData name="Aleena Lida Surenian" userId="S::als0813@ads.northwestern.edu::e2fd0e4e-6417-49b0-ab16-0ba26a1719f0" providerId="AD" clId="Web-{42A43FDF-78EB-CB61-4BF2-137ACA597BBB}" dt="2023-10-19T13:35:11.544" v="24"/>
          <pc:sldLayoutMkLst>
            <pc:docMk/>
            <pc:sldMasterMk cId="3749873650" sldId="2147487174"/>
            <pc:sldLayoutMk cId="3123185734" sldId="2147487222"/>
          </pc:sldLayoutMkLst>
        </pc:sldLayoutChg>
        <pc:sldLayoutChg chg="replId">
          <pc:chgData name="Aleena Lida Surenian" userId="S::als0813@ads.northwestern.edu::e2fd0e4e-6417-49b0-ab16-0ba26a1719f0" providerId="AD" clId="Web-{42A43FDF-78EB-CB61-4BF2-137ACA597BBB}" dt="2023-10-19T13:35:11.544" v="24"/>
          <pc:sldLayoutMkLst>
            <pc:docMk/>
            <pc:sldMasterMk cId="3749873650" sldId="2147487174"/>
            <pc:sldLayoutMk cId="2987697671" sldId="2147487235"/>
          </pc:sldLayoutMkLst>
        </pc:sldLayoutChg>
      </pc:sldMasterChg>
      <pc:sldMasterChg chg="replId modSldLayout">
        <pc:chgData name="Aleena Lida Surenian" userId="S::als0813@ads.northwestern.edu::e2fd0e4e-6417-49b0-ab16-0ba26a1719f0" providerId="AD" clId="Web-{42A43FDF-78EB-CB61-4BF2-137ACA597BBB}" dt="2023-10-19T13:35:11.544" v="24"/>
        <pc:sldMasterMkLst>
          <pc:docMk/>
          <pc:sldMasterMk cId="0" sldId="2147487225"/>
        </pc:sldMasterMkLst>
        <pc:sldLayoutChg chg="replId">
          <pc:chgData name="Aleena Lida Surenian" userId="S::als0813@ads.northwestern.edu::e2fd0e4e-6417-49b0-ab16-0ba26a1719f0" providerId="AD" clId="Web-{42A43FDF-78EB-CB61-4BF2-137ACA597BBB}" dt="2023-10-19T13:35:11.544" v="24"/>
          <pc:sldLayoutMkLst>
            <pc:docMk/>
            <pc:sldMasterMk cId="0" sldId="2147487225"/>
            <pc:sldLayoutMk cId="0" sldId="2147487226"/>
          </pc:sldLayoutMkLst>
        </pc:sldLayoutChg>
      </pc:sldMasterChg>
    </pc:docChg>
  </pc:docChgLst>
</pc:chgInfo>
</file>

<file path=ppt/comments/modernComment_139_A43AC41B.xml><?xml version="1.0" encoding="utf-8"?>
<p188:cmLst xmlns:a="http://schemas.openxmlformats.org/drawingml/2006/main" xmlns:r="http://schemas.openxmlformats.org/officeDocument/2006/relationships" xmlns:p188="http://schemas.microsoft.com/office/powerpoint/2018/8/main">
  <p188:cm id="{FB3897A5-B2D1-4FE1-A91A-5CF3E5024A61}" authorId="{FCF8223C-610E-2BBA-F33B-0E1F55F6BB33}" status="resolved" created="2023-10-26T18:00:04.772" complete="100000">
    <pc:sldMkLst xmlns:pc="http://schemas.microsoft.com/office/powerpoint/2013/main/command">
      <pc:docMk/>
      <pc:sldMk cId="3529201853" sldId="261"/>
    </pc:sldMkLst>
    <p188:replyLst>
      <p188:reply id="{069DE199-176F-4819-869C-A61406D7886A}" authorId="{0B48CC40-4357-5959-C41E-8F630855A478}" created="2023-10-26T21:54:28.504">
        <p188:txBody>
          <a:bodyPr/>
          <a:lstStyle/>
          <a:p>
            <a:r>
              <a:rPr lang="en-US"/>
              <a:t>I'll add them here! </a:t>
            </a:r>
          </a:p>
        </p188:txBody>
      </p188:reply>
    </p188:replyLst>
    <p188:txBody>
      <a:bodyPr/>
      <a:lstStyle/>
      <a:p>
        <a:r>
          <a:rPr lang="en-US"/>
          <a:t>[@Aleena Lida Surenian] are we going to acknowelge the patient partner's by name/with a slide?</a:t>
        </a:r>
      </a:p>
    </p188:txBody>
  </p188:cm>
</p188:cmLst>
</file>

<file path=ppt/comments/modernComment_149_B9BB8372.xml><?xml version="1.0" encoding="utf-8"?>
<p188:cmLst xmlns:a="http://schemas.openxmlformats.org/drawingml/2006/main" xmlns:r="http://schemas.openxmlformats.org/officeDocument/2006/relationships" xmlns:p188="http://schemas.microsoft.com/office/powerpoint/2018/8/main">
  <p188:cm id="{3CD60435-728D-413A-BB01-2FA638C58709}" authorId="{0B48CC40-4357-5959-C41E-8F630855A478}" status="resolved" created="2023-10-27T20:52:00.820" complete="100000">
    <pc:sldMkLst xmlns:pc="http://schemas.microsoft.com/office/powerpoint/2013/main/command">
      <pc:docMk/>
      <pc:sldMk cId="924035597" sldId="653"/>
    </pc:sldMkLst>
    <p188:replyLst>
      <p188:reply id="{7C984D10-9937-45EE-AA85-C6C7E373DFB5}" authorId="{E5FBE01E-7B92-B9C0-0995-5C3FE74E91A1}" created="2023-10-30T16:01:00.686">
        <p188:txBody>
          <a:bodyPr/>
          <a:lstStyle/>
          <a:p>
            <a:r>
              <a:rPr lang="en-US"/>
              <a:t>blow up search bar, community search for home visiting services</a:t>
            </a:r>
          </a:p>
        </p188:txBody>
      </p188:reply>
      <p188:reply id="{D5B01BFA-0F28-4655-9F54-278AED2E2BBE}" authorId="{E5FBE01E-7B92-B9C0-0995-5C3FE74E91A1}" created="2023-10-30T16:01:09.342">
        <p188:txBody>
          <a:bodyPr/>
          <a:lstStyle/>
          <a:p>
            <a:r>
              <a:rPr lang="en-US"/>
              <a:t>single point of entry for home visiting programs or use the search tool to find a program near you</a:t>
            </a:r>
          </a:p>
        </p188:txBody>
      </p188:reply>
      <p188:reply id="{3DE26CB7-3E91-4FB5-9295-69BE3BA14493}" authorId="{E5FBE01E-7B92-B9C0-0995-5C3FE74E91A1}" created="2023-10-30T16:15:35.598">
        <p188:txBody>
          <a:bodyPr/>
          <a:lstStyle/>
          <a:p>
            <a:r>
              <a:rPr lang="en-US"/>
              <a:t>[@Aleena Lida Surenian] double check</a:t>
            </a:r>
          </a:p>
        </p188:txBody>
      </p188:reply>
    </p188:replyLst>
    <p188:txBody>
      <a:bodyPr/>
      <a:lstStyle/>
      <a:p>
        <a:r>
          <a:rPr lang="en-US"/>
          <a:t>https://igrowillinois.org/find-a-program/</a:t>
        </a:r>
      </a:p>
    </p188:txBody>
  </p188:cm>
  <p188:cm id="{267A601D-0FF6-492D-A76A-6485B24AF01F}" authorId="{0B48CC40-4357-5959-C41E-8F630855A478}" status="resolved" created="2023-10-30T15:33:35.080" complete="100000">
    <ac:deMkLst xmlns:ac="http://schemas.microsoft.com/office/drawing/2013/main/command">
      <pc:docMk xmlns:pc="http://schemas.microsoft.com/office/powerpoint/2013/main/command"/>
      <pc:sldMk xmlns:pc="http://schemas.microsoft.com/office/powerpoint/2013/main/command" cId="924035597" sldId="653"/>
      <ac:picMk id="9" creationId="{E9FCE6A2-BE08-E47D-9F31-183D2159F551}"/>
    </ac:deMkLst>
    <p188:replyLst>
      <p188:reply id="{CA65BE09-81DC-40FE-9416-0A0C73280566}" authorId="{0B48CC40-4357-5959-C41E-8F630855A478}" created="2023-10-30T15:37:19.150">
        <p188:txBody>
          <a:bodyPr/>
          <a:lstStyle/>
          <a:p>
            <a:r>
              <a:rPr lang="en-US"/>
              <a:t>single point of entry for home visiting programs or use the search tool to find a program near you</a:t>
            </a:r>
          </a:p>
        </p188:txBody>
      </p188:reply>
    </p188:replyLst>
    <p188:txBody>
      <a:bodyPr/>
      <a:lstStyle/>
      <a:p>
        <a:r>
          <a:rPr lang="en-US"/>
          <a:t>blow up search bar, community search for home visiting services</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EFC9897-DBA1-4679-8EA6-ED5C91BC3D09}"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27717792-A78C-45CF-916C-326314828585}">
      <dgm:prSet phldrT="[Text]" phldr="0"/>
      <dgm:spPr/>
      <dgm:t>
        <a:bodyPr/>
        <a:lstStyle/>
        <a:p>
          <a:pPr rtl="0"/>
          <a:r>
            <a:rPr lang="en-US" dirty="0">
              <a:latin typeface="Calibri" panose="020F0502020204030204"/>
            </a:rPr>
            <a:t>Collaborative level</a:t>
          </a:r>
          <a:endParaRPr lang="en-US" dirty="0"/>
        </a:p>
      </dgm:t>
    </dgm:pt>
    <dgm:pt modelId="{1C14A33A-1779-4C75-9753-957EB5930739}" type="parTrans" cxnId="{EDDDF03A-BE2C-4A45-98DF-C5F70D6F5347}">
      <dgm:prSet/>
      <dgm:spPr/>
      <dgm:t>
        <a:bodyPr/>
        <a:lstStyle/>
        <a:p>
          <a:endParaRPr lang="en-US"/>
        </a:p>
      </dgm:t>
    </dgm:pt>
    <dgm:pt modelId="{9C8FFFB2-0F9A-496A-9AEF-5E0005B445ED}" type="sibTrans" cxnId="{EDDDF03A-BE2C-4A45-98DF-C5F70D6F5347}">
      <dgm:prSet/>
      <dgm:spPr/>
      <dgm:t>
        <a:bodyPr/>
        <a:lstStyle/>
        <a:p>
          <a:endParaRPr lang="en-US"/>
        </a:p>
      </dgm:t>
    </dgm:pt>
    <dgm:pt modelId="{199EA51F-8683-4392-9E8C-BD0FAE796632}">
      <dgm:prSet phldrT="[Text]" phldr="0"/>
      <dgm:spPr/>
      <dgm:t>
        <a:bodyPr/>
        <a:lstStyle/>
        <a:p>
          <a:pPr rtl="0"/>
          <a:r>
            <a:rPr lang="en-US" dirty="0">
              <a:latin typeface="Calibri" panose="020F0502020204030204"/>
            </a:rPr>
            <a:t>Community partnerships</a:t>
          </a:r>
        </a:p>
      </dgm:t>
    </dgm:pt>
    <dgm:pt modelId="{A30BA200-C985-4041-91C6-8D51ABB87C0C}" type="parTrans" cxnId="{A2B9FEB6-DCF5-450B-AAFE-177A28A9C144}">
      <dgm:prSet/>
      <dgm:spPr/>
      <dgm:t>
        <a:bodyPr/>
        <a:lstStyle/>
        <a:p>
          <a:endParaRPr lang="en-US"/>
        </a:p>
      </dgm:t>
    </dgm:pt>
    <dgm:pt modelId="{D720372D-A129-4966-803B-F01B41344BC1}" type="sibTrans" cxnId="{A2B9FEB6-DCF5-450B-AAFE-177A28A9C144}">
      <dgm:prSet/>
      <dgm:spPr/>
      <dgm:t>
        <a:bodyPr/>
        <a:lstStyle/>
        <a:p>
          <a:endParaRPr lang="en-US"/>
        </a:p>
      </dgm:t>
    </dgm:pt>
    <dgm:pt modelId="{79BD7E2E-B071-454E-9C71-D14A2CB5FEE3}">
      <dgm:prSet phldr="0"/>
      <dgm:spPr/>
      <dgm:t>
        <a:bodyPr/>
        <a:lstStyle/>
        <a:p>
          <a:pPr rtl="0"/>
          <a:r>
            <a:rPr lang="en-US" dirty="0">
              <a:latin typeface="Calibri" panose="020F0502020204030204"/>
            </a:rPr>
            <a:t>Community advisory boards</a:t>
          </a:r>
        </a:p>
      </dgm:t>
    </dgm:pt>
    <dgm:pt modelId="{7EEAC56E-04D2-4EAC-88AA-9A252F5D6837}" type="parTrans" cxnId="{D0AFAEFD-F603-44EE-BBCE-C3A4ABBD87BC}">
      <dgm:prSet/>
      <dgm:spPr/>
    </dgm:pt>
    <dgm:pt modelId="{3252D547-E616-404D-9CDB-B4318A3554F3}" type="sibTrans" cxnId="{D0AFAEFD-F603-44EE-BBCE-C3A4ABBD87BC}">
      <dgm:prSet/>
      <dgm:spPr/>
    </dgm:pt>
    <dgm:pt modelId="{7EA981A2-B82E-4F59-BA29-5B54A3A7E5F7}">
      <dgm:prSet phldr="0"/>
      <dgm:spPr/>
      <dgm:t>
        <a:bodyPr/>
        <a:lstStyle/>
        <a:p>
          <a:pPr rtl="0"/>
          <a:r>
            <a:rPr lang="en-US" dirty="0">
              <a:latin typeface="Calibri" panose="020F0502020204030204"/>
            </a:rPr>
            <a:t>Respectful care breakfasts</a:t>
          </a:r>
        </a:p>
      </dgm:t>
    </dgm:pt>
    <dgm:pt modelId="{617B0EE5-6026-4449-9B9C-6AE0510E3FD1}" type="parTrans" cxnId="{B9CDFC74-7BBC-4915-96CF-F64EF9461A81}">
      <dgm:prSet/>
      <dgm:spPr/>
    </dgm:pt>
    <dgm:pt modelId="{06C15453-6FD5-4C9E-A2AD-E1B9749355DD}" type="sibTrans" cxnId="{B9CDFC74-7BBC-4915-96CF-F64EF9461A81}">
      <dgm:prSet/>
      <dgm:spPr/>
    </dgm:pt>
    <dgm:pt modelId="{2FFCF35A-AD7E-485E-9233-0A285B7F1E51}">
      <dgm:prSet phldr="0"/>
      <dgm:spPr/>
      <dgm:t>
        <a:bodyPr/>
        <a:lstStyle/>
        <a:p>
          <a:pPr rtl="0"/>
          <a:r>
            <a:rPr lang="en-US" dirty="0">
              <a:latin typeface="Calibri" panose="020F0502020204030204"/>
            </a:rPr>
            <a:t>Patient partners</a:t>
          </a:r>
        </a:p>
      </dgm:t>
    </dgm:pt>
    <dgm:pt modelId="{2D6D02DB-D383-49C9-92A2-C338279D5C5F}" type="parTrans" cxnId="{81F1908C-AB96-4D43-AB8A-7D1F4782D281}">
      <dgm:prSet/>
      <dgm:spPr/>
    </dgm:pt>
    <dgm:pt modelId="{AD518751-A9CA-4A9A-BE81-DEDFD0F08222}" type="sibTrans" cxnId="{81F1908C-AB96-4D43-AB8A-7D1F4782D281}">
      <dgm:prSet/>
      <dgm:spPr/>
    </dgm:pt>
    <dgm:pt modelId="{28086A9D-1751-4859-965D-821401438135}">
      <dgm:prSet phldr="0"/>
      <dgm:spPr/>
      <dgm:t>
        <a:bodyPr/>
        <a:lstStyle/>
        <a:p>
          <a:r>
            <a:rPr lang="en-US" dirty="0">
              <a:latin typeface="Calibri" panose="020F0502020204030204"/>
            </a:rPr>
            <a:t>Hospital Level</a:t>
          </a:r>
          <a:endParaRPr lang="en-US" dirty="0"/>
        </a:p>
      </dgm:t>
    </dgm:pt>
    <dgm:pt modelId="{DB86784E-01A9-485B-B359-02BA265D2814}" type="parTrans" cxnId="{D7631E7E-5E6A-4128-9267-4522128A5056}">
      <dgm:prSet/>
      <dgm:spPr/>
    </dgm:pt>
    <dgm:pt modelId="{443A93F1-2256-40AD-B7BD-8C29D6541769}" type="sibTrans" cxnId="{D7631E7E-5E6A-4128-9267-4522128A5056}">
      <dgm:prSet/>
      <dgm:spPr/>
    </dgm:pt>
    <dgm:pt modelId="{4FFABCF5-42FB-49BE-80A8-ED903F74A178}" type="pres">
      <dgm:prSet presAssocID="{4EFC9897-DBA1-4679-8EA6-ED5C91BC3D09}" presName="linear" presStyleCnt="0">
        <dgm:presLayoutVars>
          <dgm:dir/>
          <dgm:animLvl val="lvl"/>
          <dgm:resizeHandles val="exact"/>
        </dgm:presLayoutVars>
      </dgm:prSet>
      <dgm:spPr/>
    </dgm:pt>
    <dgm:pt modelId="{F6B01C48-554E-4DFA-A5BD-9A135E872F61}" type="pres">
      <dgm:prSet presAssocID="{27717792-A78C-45CF-916C-326314828585}" presName="parentLin" presStyleCnt="0"/>
      <dgm:spPr/>
    </dgm:pt>
    <dgm:pt modelId="{65BCE003-DC02-490E-A15F-DFB4EF80BB5A}" type="pres">
      <dgm:prSet presAssocID="{27717792-A78C-45CF-916C-326314828585}" presName="parentLeftMargin" presStyleLbl="node1" presStyleIdx="0" presStyleCnt="2"/>
      <dgm:spPr/>
    </dgm:pt>
    <dgm:pt modelId="{B06723F3-9F1E-4FE2-918F-6532CEDC08F1}" type="pres">
      <dgm:prSet presAssocID="{27717792-A78C-45CF-916C-326314828585}" presName="parentText" presStyleLbl="node1" presStyleIdx="0" presStyleCnt="2">
        <dgm:presLayoutVars>
          <dgm:chMax val="0"/>
          <dgm:bulletEnabled val="1"/>
        </dgm:presLayoutVars>
      </dgm:prSet>
      <dgm:spPr/>
    </dgm:pt>
    <dgm:pt modelId="{43515874-BA70-4A97-9E2E-A9C59B311C80}" type="pres">
      <dgm:prSet presAssocID="{27717792-A78C-45CF-916C-326314828585}" presName="negativeSpace" presStyleCnt="0"/>
      <dgm:spPr/>
    </dgm:pt>
    <dgm:pt modelId="{E30EC1A6-C487-405A-ADCD-6ED97EAD383A}" type="pres">
      <dgm:prSet presAssocID="{27717792-A78C-45CF-916C-326314828585}" presName="childText" presStyleLbl="conFgAcc1" presStyleIdx="0" presStyleCnt="2">
        <dgm:presLayoutVars>
          <dgm:bulletEnabled val="1"/>
        </dgm:presLayoutVars>
      </dgm:prSet>
      <dgm:spPr/>
    </dgm:pt>
    <dgm:pt modelId="{569B7349-C03E-4585-8991-1282107C169F}" type="pres">
      <dgm:prSet presAssocID="{9C8FFFB2-0F9A-496A-9AEF-5E0005B445ED}" presName="spaceBetweenRectangles" presStyleCnt="0"/>
      <dgm:spPr/>
    </dgm:pt>
    <dgm:pt modelId="{FAC817C1-0A5D-40E2-9421-F1E4DF420693}" type="pres">
      <dgm:prSet presAssocID="{28086A9D-1751-4859-965D-821401438135}" presName="parentLin" presStyleCnt="0"/>
      <dgm:spPr/>
    </dgm:pt>
    <dgm:pt modelId="{362D8154-A8E1-4F6E-9AED-149910EF9E45}" type="pres">
      <dgm:prSet presAssocID="{28086A9D-1751-4859-965D-821401438135}" presName="parentLeftMargin" presStyleLbl="node1" presStyleIdx="0" presStyleCnt="2"/>
      <dgm:spPr/>
    </dgm:pt>
    <dgm:pt modelId="{D540A100-135F-4466-A247-8701D1FFC1AE}" type="pres">
      <dgm:prSet presAssocID="{28086A9D-1751-4859-965D-821401438135}" presName="parentText" presStyleLbl="node1" presStyleIdx="1" presStyleCnt="2">
        <dgm:presLayoutVars>
          <dgm:chMax val="0"/>
          <dgm:bulletEnabled val="1"/>
        </dgm:presLayoutVars>
      </dgm:prSet>
      <dgm:spPr/>
    </dgm:pt>
    <dgm:pt modelId="{53A9622E-4336-41DE-90CB-5B5FC593D2EF}" type="pres">
      <dgm:prSet presAssocID="{28086A9D-1751-4859-965D-821401438135}" presName="negativeSpace" presStyleCnt="0"/>
      <dgm:spPr/>
    </dgm:pt>
    <dgm:pt modelId="{AD50E11C-E1DF-479A-A45E-E87AEF1B78E4}" type="pres">
      <dgm:prSet presAssocID="{28086A9D-1751-4859-965D-821401438135}" presName="childText" presStyleLbl="conFgAcc1" presStyleIdx="1" presStyleCnt="2">
        <dgm:presLayoutVars>
          <dgm:bulletEnabled val="1"/>
        </dgm:presLayoutVars>
      </dgm:prSet>
      <dgm:spPr/>
    </dgm:pt>
  </dgm:ptLst>
  <dgm:cxnLst>
    <dgm:cxn modelId="{BA1AB704-FCBA-4E86-B515-B57B3E3C3DF1}" type="presOf" srcId="{27717792-A78C-45CF-916C-326314828585}" destId="{B06723F3-9F1E-4FE2-918F-6532CEDC08F1}" srcOrd="1" destOrd="0" presId="urn:microsoft.com/office/officeart/2005/8/layout/list1"/>
    <dgm:cxn modelId="{D9A02B1C-9DC0-4428-8B10-57D21186D822}" type="presOf" srcId="{199EA51F-8683-4392-9E8C-BD0FAE796632}" destId="{E30EC1A6-C487-405A-ADCD-6ED97EAD383A}" srcOrd="0" destOrd="1" presId="urn:microsoft.com/office/officeart/2005/8/layout/list1"/>
    <dgm:cxn modelId="{34584A30-EEEE-4DE7-8969-287333B82E34}" type="presOf" srcId="{28086A9D-1751-4859-965D-821401438135}" destId="{362D8154-A8E1-4F6E-9AED-149910EF9E45}" srcOrd="0" destOrd="0" presId="urn:microsoft.com/office/officeart/2005/8/layout/list1"/>
    <dgm:cxn modelId="{EDDDF03A-BE2C-4A45-98DF-C5F70D6F5347}" srcId="{4EFC9897-DBA1-4679-8EA6-ED5C91BC3D09}" destId="{27717792-A78C-45CF-916C-326314828585}" srcOrd="0" destOrd="0" parTransId="{1C14A33A-1779-4C75-9753-957EB5930739}" sibTransId="{9C8FFFB2-0F9A-496A-9AEF-5E0005B445ED}"/>
    <dgm:cxn modelId="{E349253F-252F-44FE-B633-A103A924BA38}" type="presOf" srcId="{2FFCF35A-AD7E-485E-9233-0A285B7F1E51}" destId="{AD50E11C-E1DF-479A-A45E-E87AEF1B78E4}" srcOrd="0" destOrd="1" presId="urn:microsoft.com/office/officeart/2005/8/layout/list1"/>
    <dgm:cxn modelId="{A8CFF566-711B-4F8E-99AF-A9E182ADD7BB}" type="presOf" srcId="{28086A9D-1751-4859-965D-821401438135}" destId="{D540A100-135F-4466-A247-8701D1FFC1AE}" srcOrd="1" destOrd="0" presId="urn:microsoft.com/office/officeart/2005/8/layout/list1"/>
    <dgm:cxn modelId="{7FF7164B-B4A3-446F-8C92-6354DE7B8A79}" type="presOf" srcId="{27717792-A78C-45CF-916C-326314828585}" destId="{65BCE003-DC02-490E-A15F-DFB4EF80BB5A}" srcOrd="0" destOrd="0" presId="urn:microsoft.com/office/officeart/2005/8/layout/list1"/>
    <dgm:cxn modelId="{B9CDFC74-7BBC-4915-96CF-F64EF9461A81}" srcId="{28086A9D-1751-4859-965D-821401438135}" destId="{7EA981A2-B82E-4F59-BA29-5B54A3A7E5F7}" srcOrd="0" destOrd="0" parTransId="{617B0EE5-6026-4449-9B9C-6AE0510E3FD1}" sibTransId="{06C15453-6FD5-4C9E-A2AD-E1B9749355DD}"/>
    <dgm:cxn modelId="{D7631E7E-5E6A-4128-9267-4522128A5056}" srcId="{4EFC9897-DBA1-4679-8EA6-ED5C91BC3D09}" destId="{28086A9D-1751-4859-965D-821401438135}" srcOrd="1" destOrd="0" parTransId="{DB86784E-01A9-485B-B359-02BA265D2814}" sibTransId="{443A93F1-2256-40AD-B7BD-8C29D6541769}"/>
    <dgm:cxn modelId="{81F1908C-AB96-4D43-AB8A-7D1F4782D281}" srcId="{28086A9D-1751-4859-965D-821401438135}" destId="{2FFCF35A-AD7E-485E-9233-0A285B7F1E51}" srcOrd="1" destOrd="0" parTransId="{2D6D02DB-D383-49C9-92A2-C338279D5C5F}" sibTransId="{AD518751-A9CA-4A9A-BE81-DEDFD0F08222}"/>
    <dgm:cxn modelId="{8907F199-E085-43AD-96E8-730AE425CD97}" type="presOf" srcId="{4EFC9897-DBA1-4679-8EA6-ED5C91BC3D09}" destId="{4FFABCF5-42FB-49BE-80A8-ED903F74A178}" srcOrd="0" destOrd="0" presId="urn:microsoft.com/office/officeart/2005/8/layout/list1"/>
    <dgm:cxn modelId="{0EADA9A0-F660-46DF-982E-FD574A7DFF6D}" type="presOf" srcId="{79BD7E2E-B071-454E-9C71-D14A2CB5FEE3}" destId="{E30EC1A6-C487-405A-ADCD-6ED97EAD383A}" srcOrd="0" destOrd="0" presId="urn:microsoft.com/office/officeart/2005/8/layout/list1"/>
    <dgm:cxn modelId="{A2B9FEB6-DCF5-450B-AAFE-177A28A9C144}" srcId="{27717792-A78C-45CF-916C-326314828585}" destId="{199EA51F-8683-4392-9E8C-BD0FAE796632}" srcOrd="1" destOrd="0" parTransId="{A30BA200-C985-4041-91C6-8D51ABB87C0C}" sibTransId="{D720372D-A129-4966-803B-F01B41344BC1}"/>
    <dgm:cxn modelId="{8F9F21EA-FCDC-442F-853B-BD3B4AC73224}" type="presOf" srcId="{7EA981A2-B82E-4F59-BA29-5B54A3A7E5F7}" destId="{AD50E11C-E1DF-479A-A45E-E87AEF1B78E4}" srcOrd="0" destOrd="0" presId="urn:microsoft.com/office/officeart/2005/8/layout/list1"/>
    <dgm:cxn modelId="{D0AFAEFD-F603-44EE-BBCE-C3A4ABBD87BC}" srcId="{27717792-A78C-45CF-916C-326314828585}" destId="{79BD7E2E-B071-454E-9C71-D14A2CB5FEE3}" srcOrd="0" destOrd="0" parTransId="{7EEAC56E-04D2-4EAC-88AA-9A252F5D6837}" sibTransId="{3252D547-E616-404D-9CDB-B4318A3554F3}"/>
    <dgm:cxn modelId="{87927382-99D6-4298-A380-3DBA55A89C3F}" type="presParOf" srcId="{4FFABCF5-42FB-49BE-80A8-ED903F74A178}" destId="{F6B01C48-554E-4DFA-A5BD-9A135E872F61}" srcOrd="0" destOrd="0" presId="urn:microsoft.com/office/officeart/2005/8/layout/list1"/>
    <dgm:cxn modelId="{D3D1A351-4BFC-4433-83CE-3FBFA2658EB4}" type="presParOf" srcId="{F6B01C48-554E-4DFA-A5BD-9A135E872F61}" destId="{65BCE003-DC02-490E-A15F-DFB4EF80BB5A}" srcOrd="0" destOrd="0" presId="urn:microsoft.com/office/officeart/2005/8/layout/list1"/>
    <dgm:cxn modelId="{20914FFA-9934-41CF-9FE4-FB5143608B08}" type="presParOf" srcId="{F6B01C48-554E-4DFA-A5BD-9A135E872F61}" destId="{B06723F3-9F1E-4FE2-918F-6532CEDC08F1}" srcOrd="1" destOrd="0" presId="urn:microsoft.com/office/officeart/2005/8/layout/list1"/>
    <dgm:cxn modelId="{A3F862B0-BC98-47E1-B094-47AA0C0B997B}" type="presParOf" srcId="{4FFABCF5-42FB-49BE-80A8-ED903F74A178}" destId="{43515874-BA70-4A97-9E2E-A9C59B311C80}" srcOrd="1" destOrd="0" presId="urn:microsoft.com/office/officeart/2005/8/layout/list1"/>
    <dgm:cxn modelId="{A9DB4933-7BC1-4F28-8FFF-CEDB0BB4810C}" type="presParOf" srcId="{4FFABCF5-42FB-49BE-80A8-ED903F74A178}" destId="{E30EC1A6-C487-405A-ADCD-6ED97EAD383A}" srcOrd="2" destOrd="0" presId="urn:microsoft.com/office/officeart/2005/8/layout/list1"/>
    <dgm:cxn modelId="{9BF5E74C-6F19-449C-96CD-964EB0373059}" type="presParOf" srcId="{4FFABCF5-42FB-49BE-80A8-ED903F74A178}" destId="{569B7349-C03E-4585-8991-1282107C169F}" srcOrd="3" destOrd="0" presId="urn:microsoft.com/office/officeart/2005/8/layout/list1"/>
    <dgm:cxn modelId="{A7238BAA-0258-4DF1-A173-87F44F34E1A3}" type="presParOf" srcId="{4FFABCF5-42FB-49BE-80A8-ED903F74A178}" destId="{FAC817C1-0A5D-40E2-9421-F1E4DF420693}" srcOrd="4" destOrd="0" presId="urn:microsoft.com/office/officeart/2005/8/layout/list1"/>
    <dgm:cxn modelId="{9AB31293-4582-4D6C-A0DC-38A3BEA449E0}" type="presParOf" srcId="{FAC817C1-0A5D-40E2-9421-F1E4DF420693}" destId="{362D8154-A8E1-4F6E-9AED-149910EF9E45}" srcOrd="0" destOrd="0" presId="urn:microsoft.com/office/officeart/2005/8/layout/list1"/>
    <dgm:cxn modelId="{3DB3D048-E8E1-477B-A4E8-40A3A79C6076}" type="presParOf" srcId="{FAC817C1-0A5D-40E2-9421-F1E4DF420693}" destId="{D540A100-135F-4466-A247-8701D1FFC1AE}" srcOrd="1" destOrd="0" presId="urn:microsoft.com/office/officeart/2005/8/layout/list1"/>
    <dgm:cxn modelId="{882C05BE-C468-437F-83D5-92FAC65CE165}" type="presParOf" srcId="{4FFABCF5-42FB-49BE-80A8-ED903F74A178}" destId="{53A9622E-4336-41DE-90CB-5B5FC593D2EF}" srcOrd="5" destOrd="0" presId="urn:microsoft.com/office/officeart/2005/8/layout/list1"/>
    <dgm:cxn modelId="{8DC9E5D4-709C-4191-86DF-B716A1FA395E}" type="presParOf" srcId="{4FFABCF5-42FB-49BE-80A8-ED903F74A178}" destId="{AD50E11C-E1DF-479A-A45E-E87AEF1B78E4}" srcOrd="6"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30EC1A6-C487-405A-ADCD-6ED97EAD383A}">
      <dsp:nvSpPr>
        <dsp:cNvPr id="0" name=""/>
        <dsp:cNvSpPr/>
      </dsp:nvSpPr>
      <dsp:spPr>
        <a:xfrm>
          <a:off x="0" y="572970"/>
          <a:ext cx="6900512" cy="20979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5556" tIns="749808" rIns="535556" bIns="256032" numCol="1" spcCol="1270" anchor="t" anchorCtr="0">
          <a:noAutofit/>
        </a:bodyPr>
        <a:lstStyle/>
        <a:p>
          <a:pPr marL="285750" lvl="1" indent="-285750" algn="l" defTabSz="1600200" rtl="0">
            <a:lnSpc>
              <a:spcPct val="90000"/>
            </a:lnSpc>
            <a:spcBef>
              <a:spcPct val="0"/>
            </a:spcBef>
            <a:spcAft>
              <a:spcPct val="15000"/>
            </a:spcAft>
            <a:buChar char="•"/>
          </a:pPr>
          <a:r>
            <a:rPr lang="en-US" sz="3600" kern="1200" dirty="0">
              <a:latin typeface="Calibri" panose="020F0502020204030204"/>
            </a:rPr>
            <a:t>Community advisory boards</a:t>
          </a:r>
        </a:p>
        <a:p>
          <a:pPr marL="285750" lvl="1" indent="-285750" algn="l" defTabSz="1600200" rtl="0">
            <a:lnSpc>
              <a:spcPct val="90000"/>
            </a:lnSpc>
            <a:spcBef>
              <a:spcPct val="0"/>
            </a:spcBef>
            <a:spcAft>
              <a:spcPct val="15000"/>
            </a:spcAft>
            <a:buChar char="•"/>
          </a:pPr>
          <a:r>
            <a:rPr lang="en-US" sz="3600" kern="1200" dirty="0">
              <a:latin typeface="Calibri" panose="020F0502020204030204"/>
            </a:rPr>
            <a:t>Community partnerships</a:t>
          </a:r>
        </a:p>
      </dsp:txBody>
      <dsp:txXfrm>
        <a:off x="0" y="572970"/>
        <a:ext cx="6900512" cy="2097900"/>
      </dsp:txXfrm>
    </dsp:sp>
    <dsp:sp modelId="{B06723F3-9F1E-4FE2-918F-6532CEDC08F1}">
      <dsp:nvSpPr>
        <dsp:cNvPr id="0" name=""/>
        <dsp:cNvSpPr/>
      </dsp:nvSpPr>
      <dsp:spPr>
        <a:xfrm>
          <a:off x="345025" y="41610"/>
          <a:ext cx="4830358" cy="10627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2576" tIns="0" rIns="182576" bIns="0" numCol="1" spcCol="1270" anchor="ctr" anchorCtr="0">
          <a:noAutofit/>
        </a:bodyPr>
        <a:lstStyle/>
        <a:p>
          <a:pPr marL="0" lvl="0" indent="0" algn="l" defTabSz="1600200" rtl="0">
            <a:lnSpc>
              <a:spcPct val="90000"/>
            </a:lnSpc>
            <a:spcBef>
              <a:spcPct val="0"/>
            </a:spcBef>
            <a:spcAft>
              <a:spcPct val="35000"/>
            </a:spcAft>
            <a:buNone/>
          </a:pPr>
          <a:r>
            <a:rPr lang="en-US" sz="3600" kern="1200" dirty="0">
              <a:latin typeface="Calibri" panose="020F0502020204030204"/>
            </a:rPr>
            <a:t>Collaborative level</a:t>
          </a:r>
          <a:endParaRPr lang="en-US" sz="3600" kern="1200" dirty="0"/>
        </a:p>
      </dsp:txBody>
      <dsp:txXfrm>
        <a:off x="396903" y="93488"/>
        <a:ext cx="4726602" cy="958964"/>
      </dsp:txXfrm>
    </dsp:sp>
    <dsp:sp modelId="{AD50E11C-E1DF-479A-A45E-E87AEF1B78E4}">
      <dsp:nvSpPr>
        <dsp:cNvPr id="0" name=""/>
        <dsp:cNvSpPr/>
      </dsp:nvSpPr>
      <dsp:spPr>
        <a:xfrm>
          <a:off x="0" y="3396630"/>
          <a:ext cx="6900512" cy="20979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5556" tIns="749808" rIns="535556" bIns="256032" numCol="1" spcCol="1270" anchor="t" anchorCtr="0">
          <a:noAutofit/>
        </a:bodyPr>
        <a:lstStyle/>
        <a:p>
          <a:pPr marL="285750" lvl="1" indent="-285750" algn="l" defTabSz="1600200" rtl="0">
            <a:lnSpc>
              <a:spcPct val="90000"/>
            </a:lnSpc>
            <a:spcBef>
              <a:spcPct val="0"/>
            </a:spcBef>
            <a:spcAft>
              <a:spcPct val="15000"/>
            </a:spcAft>
            <a:buChar char="•"/>
          </a:pPr>
          <a:r>
            <a:rPr lang="en-US" sz="3600" kern="1200" dirty="0">
              <a:latin typeface="Calibri" panose="020F0502020204030204"/>
            </a:rPr>
            <a:t>Respectful care breakfasts</a:t>
          </a:r>
        </a:p>
        <a:p>
          <a:pPr marL="285750" lvl="1" indent="-285750" algn="l" defTabSz="1600200" rtl="0">
            <a:lnSpc>
              <a:spcPct val="90000"/>
            </a:lnSpc>
            <a:spcBef>
              <a:spcPct val="0"/>
            </a:spcBef>
            <a:spcAft>
              <a:spcPct val="15000"/>
            </a:spcAft>
            <a:buChar char="•"/>
          </a:pPr>
          <a:r>
            <a:rPr lang="en-US" sz="3600" kern="1200" dirty="0">
              <a:latin typeface="Calibri" panose="020F0502020204030204"/>
            </a:rPr>
            <a:t>Patient partners</a:t>
          </a:r>
        </a:p>
      </dsp:txBody>
      <dsp:txXfrm>
        <a:off x="0" y="3396630"/>
        <a:ext cx="6900512" cy="2097900"/>
      </dsp:txXfrm>
    </dsp:sp>
    <dsp:sp modelId="{D540A100-135F-4466-A247-8701D1FFC1AE}">
      <dsp:nvSpPr>
        <dsp:cNvPr id="0" name=""/>
        <dsp:cNvSpPr/>
      </dsp:nvSpPr>
      <dsp:spPr>
        <a:xfrm>
          <a:off x="345025" y="2865270"/>
          <a:ext cx="4830358" cy="10627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2576" tIns="0" rIns="182576" bIns="0" numCol="1" spcCol="1270" anchor="ctr" anchorCtr="0">
          <a:noAutofit/>
        </a:bodyPr>
        <a:lstStyle/>
        <a:p>
          <a:pPr marL="0" lvl="0" indent="0" algn="l" defTabSz="1600200">
            <a:lnSpc>
              <a:spcPct val="90000"/>
            </a:lnSpc>
            <a:spcBef>
              <a:spcPct val="0"/>
            </a:spcBef>
            <a:spcAft>
              <a:spcPct val="35000"/>
            </a:spcAft>
            <a:buNone/>
          </a:pPr>
          <a:r>
            <a:rPr lang="en-US" sz="3600" kern="1200" dirty="0">
              <a:latin typeface="Calibri" panose="020F0502020204030204"/>
            </a:rPr>
            <a:t>Hospital Level</a:t>
          </a:r>
          <a:endParaRPr lang="en-US" sz="3600" kern="1200" dirty="0"/>
        </a:p>
      </dsp:txBody>
      <dsp:txXfrm>
        <a:off x="396903" y="2917148"/>
        <a:ext cx="4726602" cy="958964"/>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04E33B2-C4A5-417E-B10C-F86615067E9E}" type="datetimeFigureOut">
              <a:t>11/10/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E922A58-0D69-484A-A4CA-C818C8C3A90C}" type="slidenum">
              <a:t>‹#›</a:t>
            </a:fld>
            <a:endParaRPr lang="en-US"/>
          </a:p>
        </p:txBody>
      </p:sp>
    </p:spTree>
    <p:extLst>
      <p:ext uri="{BB962C8B-B14F-4D97-AF65-F5344CB8AC3E}">
        <p14:creationId xmlns:p14="http://schemas.microsoft.com/office/powerpoint/2010/main" val="29333414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Team, let's us this slide for sponsors</a:t>
            </a:r>
          </a:p>
        </p:txBody>
      </p:sp>
      <p:sp>
        <p:nvSpPr>
          <p:cNvPr id="4" name="Slide Number Placeholder 3"/>
          <p:cNvSpPr>
            <a:spLocks noGrp="1"/>
          </p:cNvSpPr>
          <p:nvPr>
            <p:ph type="sldNum" sz="quarter" idx="5"/>
          </p:nvPr>
        </p:nvSpPr>
        <p:spPr/>
        <p:txBody>
          <a:bodyPr/>
          <a:lstStyle/>
          <a:p>
            <a:fld id="{D740A913-E179-4808-9BA2-F031F447DFE5}" type="slidenum">
              <a:rPr lang="en-US"/>
              <a:t>1</a:t>
            </a:fld>
            <a:endParaRPr lang="en-US"/>
          </a:p>
        </p:txBody>
      </p:sp>
    </p:spTree>
    <p:extLst>
      <p:ext uri="{BB962C8B-B14F-4D97-AF65-F5344CB8AC3E}">
        <p14:creationId xmlns:p14="http://schemas.microsoft.com/office/powerpoint/2010/main" val="11846618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10"/>
          </p:nvPr>
        </p:nvSpPr>
        <p:spPr/>
        <p:txBody>
          <a:bodyPr/>
          <a:lstStyle/>
          <a:p>
            <a:fld id="{0CFA1E65-92E1-406D-BB15-6397A15BE76F}" type="slidenum">
              <a:rPr lang="en-US" smtClean="0"/>
              <a:t>13</a:t>
            </a:fld>
            <a:endParaRPr lang="en-US"/>
          </a:p>
        </p:txBody>
      </p:sp>
    </p:spTree>
    <p:extLst>
      <p:ext uri="{BB962C8B-B14F-4D97-AF65-F5344CB8AC3E}">
        <p14:creationId xmlns:p14="http://schemas.microsoft.com/office/powerpoint/2010/main" val="29161879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Patient partner picture next to a pyramid </a:t>
            </a:r>
          </a:p>
        </p:txBody>
      </p:sp>
      <p:sp>
        <p:nvSpPr>
          <p:cNvPr id="4" name="Slide Number Placeholder 3"/>
          <p:cNvSpPr>
            <a:spLocks noGrp="1"/>
          </p:cNvSpPr>
          <p:nvPr>
            <p:ph type="sldNum" sz="quarter" idx="10"/>
          </p:nvPr>
        </p:nvSpPr>
        <p:spPr/>
        <p:txBody>
          <a:bodyPr/>
          <a:lstStyle/>
          <a:p>
            <a:fld id="{0CFA1E65-92E1-406D-BB15-6397A15BE76F}" type="slidenum">
              <a:rPr lang="en-US" smtClean="0"/>
              <a:t>16</a:t>
            </a:fld>
            <a:endParaRPr lang="en-US"/>
          </a:p>
        </p:txBody>
      </p:sp>
    </p:spTree>
    <p:extLst>
      <p:ext uri="{BB962C8B-B14F-4D97-AF65-F5344CB8AC3E}">
        <p14:creationId xmlns:p14="http://schemas.microsoft.com/office/powerpoint/2010/main" val="5067454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344"/>
        <p:cNvGrpSpPr/>
        <p:nvPr/>
      </p:nvGrpSpPr>
      <p:grpSpPr>
        <a:xfrm>
          <a:off x="0" y="0"/>
          <a:ext cx="0" cy="0"/>
          <a:chOff x="0" y="0"/>
          <a:chExt cx="0" cy="0"/>
        </a:xfrm>
      </p:grpSpPr>
      <p:sp>
        <p:nvSpPr>
          <p:cNvPr id="11345" name="Google Shape;11345;p28: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346" name="Google Shape;11346;p2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171450" indent="-171450" eaLnBrk="1" hangingPunct="1">
              <a:buFont typeface="Arial" panose="020B0604020202020204" pitchFamily="34" charset="0"/>
              <a:buChar char="•"/>
            </a:pPr>
            <a:r>
              <a:rPr lang="en-US" altLang="en-US">
                <a:solidFill>
                  <a:srgbClr val="004990"/>
                </a:solidFill>
              </a:rPr>
              <a:t>2:30-2:50pm</a:t>
            </a:r>
            <a:r>
              <a:rPr lang="en-US" altLang="en-US"/>
              <a:t> MNO-OB (10 min + 10 min panel questions); 20</a:t>
            </a:r>
            <a:r>
              <a:rPr lang="en-US" altLang="en-US" baseline="0"/>
              <a:t> min</a:t>
            </a:r>
          </a:p>
          <a:p>
            <a:pPr marL="628650" lvl="1" indent="-171450" eaLnBrk="1" hangingPunct="1">
              <a:buFont typeface="Arial" panose="020B0604020202020204" pitchFamily="34" charset="0"/>
              <a:buChar char="•"/>
            </a:pPr>
            <a:r>
              <a:rPr lang="en-US" altLang="en-US" baseline="0"/>
              <a:t>Marilyn &amp; Barbara panel</a:t>
            </a:r>
            <a:endParaRPr lang="en-US" altLang="en-US"/>
          </a:p>
          <a:p>
            <a:pPr marL="171450" indent="-171450" eaLnBrk="1" hangingPunct="1">
              <a:buFont typeface="Arial" panose="020B0604020202020204" pitchFamily="34" charset="0"/>
              <a:buChar char="•"/>
            </a:pPr>
            <a:r>
              <a:rPr lang="en-US" altLang="en-US">
                <a:solidFill>
                  <a:srgbClr val="004990"/>
                </a:solidFill>
              </a:rPr>
              <a:t>2:50-3:20pm</a:t>
            </a:r>
            <a:r>
              <a:rPr lang="en-US" altLang="en-US"/>
              <a:t> PVB (13 min slides + 7 min breakout + 10 min panel questions): 30 min</a:t>
            </a:r>
          </a:p>
          <a:p>
            <a:pPr marL="628650" lvl="1" indent="-171450" eaLnBrk="1" hangingPunct="1">
              <a:buFont typeface="Arial" panose="020B0604020202020204" pitchFamily="34" charset="0"/>
              <a:buChar char="•"/>
            </a:pPr>
            <a:r>
              <a:rPr lang="en-US" altLang="en-US"/>
              <a:t>Neel,</a:t>
            </a:r>
            <a:r>
              <a:rPr lang="en-US" altLang="en-US" baseline="0"/>
              <a:t> Barbara &amp; Emily Panel</a:t>
            </a:r>
            <a:endParaRPr lang="en-US" altLang="en-US"/>
          </a:p>
          <a:p>
            <a:pPr marL="171450" indent="-171450" eaLnBrk="1" hangingPunct="1">
              <a:buFont typeface="Arial" panose="020B0604020202020204" pitchFamily="34" charset="0"/>
              <a:buChar char="•"/>
            </a:pPr>
            <a:r>
              <a:rPr lang="en-US" altLang="en-US">
                <a:solidFill>
                  <a:srgbClr val="004990"/>
                </a:solidFill>
              </a:rPr>
              <a:t>3:20-3:55pm</a:t>
            </a:r>
            <a:r>
              <a:rPr lang="en-US" altLang="en-US"/>
              <a:t> BE (15 min slides + 10 min breakout + 10 min panel):</a:t>
            </a:r>
            <a:r>
              <a:rPr lang="en-US" altLang="en-US" baseline="0"/>
              <a:t> 35 min</a:t>
            </a:r>
          </a:p>
          <a:p>
            <a:pPr marL="628650" lvl="1" indent="-171450" eaLnBrk="1" hangingPunct="1">
              <a:buFont typeface="Arial" panose="020B0604020202020204" pitchFamily="34" charset="0"/>
              <a:buChar char="•"/>
            </a:pPr>
            <a:r>
              <a:rPr lang="en-US" altLang="en-US" baseline="0"/>
              <a:t>Marilyn, Barbara, and Barrett </a:t>
            </a:r>
            <a:endParaRPr lang="en-US" altLang="en-US"/>
          </a:p>
          <a:p>
            <a:pPr marL="171450" indent="-171450" eaLnBrk="1" hangingPunct="1">
              <a:buFont typeface="Arial" panose="020B0604020202020204" pitchFamily="34" charset="0"/>
              <a:buChar char="•"/>
            </a:pPr>
            <a:r>
              <a:rPr lang="en-US" altLang="en-US">
                <a:solidFill>
                  <a:srgbClr val="004990"/>
                </a:solidFill>
              </a:rPr>
              <a:t>3:55- 4:00pm </a:t>
            </a:r>
            <a:r>
              <a:rPr lang="en-US" altLang="en-US"/>
              <a:t>Discussion of future initiatives </a:t>
            </a:r>
          </a:p>
          <a:p>
            <a:pPr marL="171450" indent="-171450">
              <a:buFont typeface="Arial" panose="020B0604020202020204" pitchFamily="34" charset="0"/>
              <a:buChar char="•"/>
            </a:pPr>
            <a:r>
              <a:rPr lang="en-US" altLang="en-US">
                <a:solidFill>
                  <a:srgbClr val="004990"/>
                </a:solidFill>
              </a:rPr>
              <a:t>4:00pm </a:t>
            </a:r>
            <a:r>
              <a:rPr lang="en-US" altLang="en-US"/>
              <a:t>Transition to main Zoom Webinar for 15 min Wrap-Up and Prizes </a:t>
            </a:r>
          </a:p>
          <a:p>
            <a:endParaRPr lang="en-US" altLang="en-US"/>
          </a:p>
        </p:txBody>
      </p:sp>
      <p:sp>
        <p:nvSpPr>
          <p:cNvPr id="4096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fld id="{EE33F94C-C7C4-40F1-8D43-2A90996B2406}" type="slidenum">
              <a:rPr lang="en-US" altLang="en-US">
                <a:latin typeface="Calibri" pitchFamily="34" charset="0"/>
              </a:rPr>
              <a:pPr/>
              <a:t>3</a:t>
            </a:fld>
            <a:endParaRPr lang="en-US" altLang="en-US">
              <a:latin typeface="Calibri" pitchFamily="34" charset="0"/>
            </a:endParaRPr>
          </a:p>
        </p:txBody>
      </p:sp>
    </p:spTree>
    <p:extLst>
      <p:ext uri="{BB962C8B-B14F-4D97-AF65-F5344CB8AC3E}">
        <p14:creationId xmlns:p14="http://schemas.microsoft.com/office/powerpoint/2010/main" val="19562733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D0B1C258-122C-4775-B207-3DE2D949F414}" type="slidenum">
              <a:rPr lang="en-US" smtClean="0"/>
              <a:t>6</a:t>
            </a:fld>
            <a:endParaRPr lang="en-US"/>
          </a:p>
        </p:txBody>
      </p:sp>
    </p:spTree>
    <p:extLst>
      <p:ext uri="{BB962C8B-B14F-4D97-AF65-F5344CB8AC3E}">
        <p14:creationId xmlns:p14="http://schemas.microsoft.com/office/powerpoint/2010/main" val="706334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D0B1C258-122C-4775-B207-3DE2D949F414}" type="slidenum">
              <a:rPr lang="en-US" smtClean="0"/>
              <a:t>7</a:t>
            </a:fld>
            <a:endParaRPr lang="en-US"/>
          </a:p>
        </p:txBody>
      </p:sp>
    </p:spTree>
    <p:extLst>
      <p:ext uri="{BB962C8B-B14F-4D97-AF65-F5344CB8AC3E}">
        <p14:creationId xmlns:p14="http://schemas.microsoft.com/office/powerpoint/2010/main" val="32031791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4269AA-627C-42DE-BD87-07E9A748A053}" type="slidenum">
              <a:rPr lang="en-US" smtClean="0"/>
              <a:t>8</a:t>
            </a:fld>
            <a:endParaRPr lang="en-US"/>
          </a:p>
        </p:txBody>
      </p:sp>
    </p:spTree>
    <p:extLst>
      <p:ext uri="{BB962C8B-B14F-4D97-AF65-F5344CB8AC3E}">
        <p14:creationId xmlns:p14="http://schemas.microsoft.com/office/powerpoint/2010/main" val="5964201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fld id="{D0B1C258-122C-4775-B207-3DE2D949F414}" type="slidenum">
              <a:rPr lang="en-US" smtClean="0"/>
              <a:t>9</a:t>
            </a:fld>
            <a:endParaRPr lang="en-US"/>
          </a:p>
        </p:txBody>
      </p:sp>
    </p:spTree>
    <p:extLst>
      <p:ext uri="{BB962C8B-B14F-4D97-AF65-F5344CB8AC3E}">
        <p14:creationId xmlns:p14="http://schemas.microsoft.com/office/powerpoint/2010/main" val="26768493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5"/>
          </p:nvPr>
        </p:nvSpPr>
        <p:spPr/>
        <p:txBody>
          <a:bodyPr/>
          <a:lstStyle/>
          <a:p>
            <a:fld id="{AE922A58-0D69-484A-A4CA-C818C8C3A90C}" type="slidenum">
              <a:rPr lang="en-US"/>
              <a:t>10</a:t>
            </a:fld>
            <a:endParaRPr lang="en-US"/>
          </a:p>
        </p:txBody>
      </p:sp>
    </p:spTree>
    <p:extLst>
      <p:ext uri="{BB962C8B-B14F-4D97-AF65-F5344CB8AC3E}">
        <p14:creationId xmlns:p14="http://schemas.microsoft.com/office/powerpoint/2010/main" val="26496792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5"/>
          </p:nvPr>
        </p:nvSpPr>
        <p:spPr/>
        <p:txBody>
          <a:bodyPr/>
          <a:lstStyle/>
          <a:p>
            <a:fld id="{AE922A58-0D69-484A-A4CA-C818C8C3A90C}" type="slidenum">
              <a:rPr lang="en-US"/>
              <a:t>11</a:t>
            </a:fld>
            <a:endParaRPr lang="en-US"/>
          </a:p>
        </p:txBody>
      </p:sp>
    </p:spTree>
    <p:extLst>
      <p:ext uri="{BB962C8B-B14F-4D97-AF65-F5344CB8AC3E}">
        <p14:creationId xmlns:p14="http://schemas.microsoft.com/office/powerpoint/2010/main" val="31572049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D0B1C258-122C-4775-B207-3DE2D949F414}" type="slidenum">
              <a:rPr lang="en-US" smtClean="0"/>
              <a:t>12</a:t>
            </a:fld>
            <a:endParaRPr lang="en-US"/>
          </a:p>
        </p:txBody>
      </p:sp>
    </p:spTree>
    <p:extLst>
      <p:ext uri="{BB962C8B-B14F-4D97-AF65-F5344CB8AC3E}">
        <p14:creationId xmlns:p14="http://schemas.microsoft.com/office/powerpoint/2010/main" val="232063093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3.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4.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4.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5.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4.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5.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6.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Layouts/_rels/slideLayout27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0.jpe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3.bin"/><Relationship Id="rId5" Type="http://schemas.openxmlformats.org/officeDocument/2006/relationships/image" Target="../media/image47.emf"/><Relationship Id="rId4" Type="http://schemas.openxmlformats.org/officeDocument/2006/relationships/oleObject" Target="../embeddings/oleObject2.bin"/></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2.jpe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5.bin"/><Relationship Id="rId5" Type="http://schemas.openxmlformats.org/officeDocument/2006/relationships/image" Target="../media/image47.emf"/><Relationship Id="rId4" Type="http://schemas.openxmlformats.org/officeDocument/2006/relationships/oleObject" Target="../embeddings/oleObject4.bin"/></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7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8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8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9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9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4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4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43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4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4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44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4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3.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4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3.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4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6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6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6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4.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6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4.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7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5.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47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7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47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7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7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47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7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8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8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8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8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8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4.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48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9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9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9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9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9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9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5.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50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50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50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50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50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0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1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51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51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51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51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51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51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51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xml"/></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52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52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52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52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52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52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3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53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53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53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xml"/></Relationships>
</file>

<file path=ppt/slideLayouts/_rels/slideLayout53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53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53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53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539.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xml"/></Relationships>
</file>

<file path=ppt/slideLayouts/_rels/slideLayout54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54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4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5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8.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4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5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8.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48.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xml"/></Relationships>
</file>

<file path=ppt/slideLayouts/_rels/slideLayout549.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5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xml"/></Relationships>
</file>

<file path=ppt/slideLayouts/_rels/slideLayout5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8.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5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8.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5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8.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55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8.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xml"/></Relationships>
</file>

<file path=ppt/slideLayouts/_rels/slideLayout557.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xml"/></Relationships>
</file>

<file path=ppt/slideLayouts/_rels/slideLayout558.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xml"/></Relationships>
</file>

<file path=ppt/slideLayouts/_rels/slideLayout559.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6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xml"/></Relationships>
</file>

<file path=ppt/slideLayouts/_rels/slideLayout56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xml"/></Relationships>
</file>

<file path=ppt/slideLayouts/_rels/slideLayout56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56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56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56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56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56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56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56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7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57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57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57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57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7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7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7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6.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57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7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8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8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8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8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8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8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8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8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58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8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9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9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9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9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9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Layouts/_rels/slideLayout59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0.jpe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8.bin"/><Relationship Id="rId5" Type="http://schemas.openxmlformats.org/officeDocument/2006/relationships/image" Target="../media/image47.emf"/><Relationship Id="rId4" Type="http://schemas.openxmlformats.org/officeDocument/2006/relationships/oleObject" Target="../embeddings/oleObject7.bin"/></Relationships>
</file>

<file path=ppt/slideLayouts/_rels/slideLayout59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59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59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Master" Target="../slideMasters/slideMaster1.xml"/></Relationships>
</file>

<file path=ppt/slideLayouts/_rels/slideLayout599.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60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xml"/></Relationships>
</file>

<file path=ppt/slideLayouts/_rels/slideLayout60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xml"/></Relationships>
</file>

<file path=ppt/slideLayouts/_rels/slideLayout60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Master" Target="../slideMasters/slideMaster1.xml"/></Relationships>
</file>

<file path=ppt/slideLayouts/_rels/slideLayout60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6.png"/><Relationship Id="rId1" Type="http://schemas.openxmlformats.org/officeDocument/2006/relationships/slideMaster" Target="../slideMasters/slideMaster1.xml"/></Relationships>
</file>

<file path=ppt/slideLayouts/_rels/slideLayout60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6.png"/><Relationship Id="rId1" Type="http://schemas.openxmlformats.org/officeDocument/2006/relationships/slideMaster" Target="../slideMasters/slideMaster1.xml"/></Relationships>
</file>

<file path=ppt/slideLayouts/_rels/slideLayout605.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1.xml"/></Relationships>
</file>

<file path=ppt/slideLayouts/_rels/slideLayout606.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xml"/></Relationships>
</file>

<file path=ppt/slideLayouts/_rels/slideLayout60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Master" Target="../slideMasters/slideMaster1.xml"/></Relationships>
</file>

<file path=ppt/slideLayouts/_rels/slideLayout60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0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1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66.png"/><Relationship Id="rId1" Type="http://schemas.openxmlformats.org/officeDocument/2006/relationships/slideMaster" Target="../slideMasters/slideMaster1.xml"/></Relationships>
</file>

<file path=ppt/slideLayouts/_rels/slideLayout611.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1.xml"/></Relationships>
</file>

<file path=ppt/slideLayouts/_rels/slideLayout6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3.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Layouts/_rels/slideLayout61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3.jpe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oleObject" Target="../embeddings/oleObject11.bin"/><Relationship Id="rId5" Type="http://schemas.openxmlformats.org/officeDocument/2006/relationships/image" Target="../media/image47.emf"/><Relationship Id="rId4" Type="http://schemas.openxmlformats.org/officeDocument/2006/relationships/oleObject" Target="../embeddings/oleObject10.bin"/></Relationships>
</file>

<file path=ppt/slideLayouts/_rels/slideLayout6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6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25.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626.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627.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62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2.jpe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oleObject" Target="../embeddings/oleObject13.bin"/><Relationship Id="rId5" Type="http://schemas.openxmlformats.org/officeDocument/2006/relationships/image" Target="../media/image47.emf"/><Relationship Id="rId4" Type="http://schemas.openxmlformats.org/officeDocument/2006/relationships/oleObject" Target="../embeddings/oleObject12.bin"/></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6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3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3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63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63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63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63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63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64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4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643.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xml"/></Relationships>
</file>

<file path=ppt/slideLayouts/_rels/slideLayout644.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xml"/></Relationships>
</file>

<file path=ppt/slideLayouts/_rels/slideLayout645.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xml"/></Relationships>
</file>

<file path=ppt/slideLayouts/_rels/slideLayout64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64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64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64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8.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5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6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8.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5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xml"/></Relationships>
</file>

<file path=ppt/slideLayouts/_rels/slideLayout653.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xml"/></Relationships>
</file>

<file path=ppt/slideLayouts/_rels/slideLayout654.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xml"/></Relationships>
</file>

<file path=ppt/slideLayouts/_rels/slideLayout6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8.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6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8.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6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8.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6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8.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659.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6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xml"/></Relationships>
</file>

<file path=ppt/slideLayouts/_rels/slideLayout66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xml"/></Relationships>
</file>

<file path=ppt/slideLayouts/_rels/slideLayout66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xml"/></Relationships>
</file>

<file path=ppt/slideLayouts/_rels/slideLayout663.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xml"/></Relationships>
</file>

<file path=ppt/slideLayouts/_rels/slideLayout664.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xml"/></Relationships>
</file>

<file path=ppt/slideLayouts/_rels/slideLayout66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6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67.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Master" Target="../slideMasters/slideMaster1.xml"/></Relationships>
</file>

<file path=ppt/slideLayouts/_rels/slideLayout668.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1.xml"/></Relationships>
</file>

<file path=ppt/slideLayouts/_rels/slideLayout669.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64.pn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70.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64.png"/><Relationship Id="rId1" Type="http://schemas.openxmlformats.org/officeDocument/2006/relationships/slideMaster" Target="../slideMasters/slideMaster1.xml"/></Relationships>
</file>

<file path=ppt/slideLayouts/_rels/slideLayout671.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1.xml"/></Relationships>
</file>

<file path=ppt/slideLayouts/_rels/slideLayout672.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1.xml"/></Relationships>
</file>

<file path=ppt/slideLayouts/_rels/slideLayout67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81.png"/><Relationship Id="rId1" Type="http://schemas.openxmlformats.org/officeDocument/2006/relationships/slideMaster" Target="../slideMasters/slideMaster1.xml"/></Relationships>
</file>

<file path=ppt/slideLayouts/_rels/slideLayout67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82.png"/><Relationship Id="rId1" Type="http://schemas.openxmlformats.org/officeDocument/2006/relationships/slideMaster" Target="../slideMasters/slideMaster1.xml"/></Relationships>
</file>

<file path=ppt/slideLayouts/_rels/slideLayout675.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83.png"/><Relationship Id="rId1" Type="http://schemas.openxmlformats.org/officeDocument/2006/relationships/slideMaster" Target="../slideMasters/slideMaster1.xml"/></Relationships>
</file>

<file path=ppt/slideLayouts/_rels/slideLayout676.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xml"/></Relationships>
</file>

<file path=ppt/slideLayouts/_rels/slideLayout677.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1.xml"/></Relationships>
</file>

<file path=ppt/slideLayouts/_rels/slideLayout67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66.png"/><Relationship Id="rId1" Type="http://schemas.openxmlformats.org/officeDocument/2006/relationships/slideMaster" Target="../slideMasters/slideMaster1.xml"/></Relationships>
</file>

<file path=ppt/slideLayouts/_rels/slideLayout679.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80.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1.xml"/></Relationships>
</file>

<file path=ppt/slideLayouts/_rels/slideLayout68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87.png"/><Relationship Id="rId1" Type="http://schemas.openxmlformats.org/officeDocument/2006/relationships/slideMaster" Target="../slideMasters/slideMaster1.xml"/></Relationships>
</file>

<file path=ppt/slideLayouts/_rels/slideLayout682.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1.xml"/></Relationships>
</file>

<file path=ppt/slideLayouts/_rels/slideLayout68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22.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Layouts/_rels/slideLayout68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3.jpe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oleObject" Target="../embeddings/oleObject16.bin"/><Relationship Id="rId5" Type="http://schemas.openxmlformats.org/officeDocument/2006/relationships/image" Target="../media/image47.emf"/><Relationship Id="rId4" Type="http://schemas.openxmlformats.org/officeDocument/2006/relationships/oleObject" Target="../embeddings/oleObject15.bin"/></Relationships>
</file>

<file path=ppt/slideLayouts/_rels/slideLayout68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8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8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8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9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69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9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9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69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69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69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9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9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9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700.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0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0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0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0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0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0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70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708.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70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7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7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7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7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7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715.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716.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1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71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7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20.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72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72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72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72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72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72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72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728.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72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30.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73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73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73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73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73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73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7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7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73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74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74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7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7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74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74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74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747.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748.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74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5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75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75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75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75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75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75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757.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75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75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6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76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76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76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76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76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76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767.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76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76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7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77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772.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77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77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77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77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77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77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77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80.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78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78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78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78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78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78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787.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78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78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9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79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792.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79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79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79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79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79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79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79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80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80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802.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80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80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805.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806.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807.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808.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80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81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81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81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81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81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81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81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81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81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81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2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82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82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82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82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82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82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82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82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82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30.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31.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3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35.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36.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8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4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4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84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8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846.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8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84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84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5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85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85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85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85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855.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856.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8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85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60.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2.xml"/></Relationships>
</file>

<file path=ppt/slideLayouts/_rels/slideLayout861.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2.xml"/></Relationships>
</file>

<file path=ppt/slideLayouts/_rels/slideLayout862.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2.xml"/></Relationships>
</file>

<file path=ppt/slideLayouts/_rels/slideLayout86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86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86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86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86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86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86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7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87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87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87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87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87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87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87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2.xml"/></Relationships>
</file>

<file path=ppt/slideLayouts/_rels/slideLayout87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2.xml"/></Relationships>
</file>

<file path=ppt/slideLayouts/_rels/slideLayout87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8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88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88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88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88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88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xml"/></Relationships>
</file>

<file path=ppt/slideLayouts/_rels/slideLayout886.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2.xml"/></Relationships>
</file>

<file path=ppt/slideLayouts/_rels/slideLayout88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2.xml"/></Relationships>
</file>

<file path=ppt/slideLayouts/_rels/slideLayout88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2.xml"/></Relationships>
</file>

<file path=ppt/slideLayouts/_rels/slideLayout88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89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89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892.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89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89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89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89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89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89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89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90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901.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90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90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90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90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90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90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908.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Master" Target="../slideMasters/slideMaster2.xml"/></Relationships>
</file>

<file path=ppt/slideLayouts/_rels/slideLayout909.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9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91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912.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59.png"/><Relationship Id="rId1" Type="http://schemas.openxmlformats.org/officeDocument/2006/relationships/slideMaster" Target="../slideMasters/slideMaster2.xml"/></Relationships>
</file>

<file path=ppt/slideLayouts/_rels/slideLayout913.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2.xml"/></Relationships>
</file>

<file path=ppt/slideLayouts/_rels/slideLayout914.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2.xml"/></Relationships>
</file>

<file path=ppt/slideLayouts/_rels/slideLayout91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6.png"/><Relationship Id="rId1" Type="http://schemas.openxmlformats.org/officeDocument/2006/relationships/slideMaster" Target="../slideMasters/slideMaster2.xml"/></Relationships>
</file>

<file path=ppt/slideLayouts/_rels/slideLayout916.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2.xml"/></Relationships>
</file>

<file path=ppt/slideLayouts/_rels/slideLayout917.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2.xml"/></Relationships>
</file>

<file path=ppt/slideLayouts/_rels/slideLayout91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Master" Target="../slideMasters/slideMaster2.xml"/></Relationships>
</file>

<file path=ppt/slideLayouts/_rels/slideLayout91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92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921.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Master" Target="../slideMasters/slideMaster2.xml"/></Relationships>
</file>

<file path=ppt/slideLayouts/_rels/slideLayout922.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Master" Target="../slideMasters/slideMaster2.xml"/></Relationships>
</file>

<file path=ppt/slideLayouts/_rels/slideLayout923.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66.png"/><Relationship Id="rId1" Type="http://schemas.openxmlformats.org/officeDocument/2006/relationships/slideMaster" Target="../slideMasters/slideMaster2.xml"/></Relationships>
</file>

<file path=ppt/slideLayouts/_rels/slideLayout924.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2.xml"/></Relationships>
</file>

<file path=ppt/slideLayouts/_rels/slideLayout925.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2.xml"/></Relationships>
</file>

<file path=ppt/slideLayouts/_rels/slideLayout92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87.png"/><Relationship Id="rId1" Type="http://schemas.openxmlformats.org/officeDocument/2006/relationships/slideMaster" Target="../slideMasters/slideMaster2.xml"/></Relationships>
</file>

<file path=ppt/slideLayouts/_rels/slideLayout927.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2.xml"/></Relationships>
</file>

<file path=ppt/slideLayouts/_rels/slideLayout928.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2.xml"/></Relationships>
</file>

<file path=ppt/slideLayouts/_rels/slideLayout929.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930.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Master" Target="../slideMasters/slideMaster2.xml"/></Relationships>
</file>

<file path=ppt/slideLayouts/_rels/slideLayout931.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Master" Target="../slideMasters/slideMaster2.xml"/></Relationships>
</file>

<file path=ppt/slideLayouts/_rels/slideLayout9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4.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2.xml"/></Relationships>
</file>

<file path=ppt/slideLayouts/_rels/slideLayout935.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936.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2.xml"/></Relationships>
</file>

<file path=ppt/slideLayouts/_rels/slideLayout93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9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939.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940.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941.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58.png"/><Relationship Id="rId1" Type="http://schemas.openxmlformats.org/officeDocument/2006/relationships/slideMaster" Target="../slideMasters/slideMaster2.xml"/></Relationships>
</file>

<file path=ppt/slideLayouts/_rels/slideLayout942.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94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58.png"/><Relationship Id="rId1" Type="http://schemas.openxmlformats.org/officeDocument/2006/relationships/slideMaster" Target="../slideMasters/slideMaster2.xml"/></Relationships>
</file>

<file path=ppt/slideLayouts/_rels/slideLayout944.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2.xml"/></Relationships>
</file>

<file path=ppt/slideLayouts/_rels/slideLayout945.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2.xml"/></Relationships>
</file>

<file path=ppt/slideLayouts/_rels/slideLayout94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2.xml"/></Relationships>
</file>

<file path=ppt/slideLayouts/_rels/slideLayout947.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58.png"/><Relationship Id="rId1" Type="http://schemas.openxmlformats.org/officeDocument/2006/relationships/slideMaster" Target="../slideMasters/slideMaster2.xml"/></Relationships>
</file>

<file path=ppt/slideLayouts/_rels/slideLayout948.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58.png"/><Relationship Id="rId1" Type="http://schemas.openxmlformats.org/officeDocument/2006/relationships/slideMaster" Target="../slideMasters/slideMaster2.xml"/></Relationships>
</file>

<file path=ppt/slideLayouts/_rels/slideLayout94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58.pn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950.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58.png"/><Relationship Id="rId1" Type="http://schemas.openxmlformats.org/officeDocument/2006/relationships/slideMaster" Target="../slideMasters/slideMaster2.xml"/></Relationships>
</file>

<file path=ppt/slideLayouts/_rels/slideLayout95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2.xml"/></Relationships>
</file>

<file path=ppt/slideLayouts/_rels/slideLayout95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2.xml"/></Relationships>
</file>

<file path=ppt/slideLayouts/_rels/slideLayout953.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2.xml"/></Relationships>
</file>

<file path=ppt/slideLayouts/_rels/slideLayout954.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2.xml"/></Relationships>
</file>

<file path=ppt/slideLayouts/_rels/slideLayout955.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2.xml"/></Relationships>
</file>

<file path=ppt/slideLayouts/_rels/slideLayout95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2.xml"/></Relationships>
</file>

<file path=ppt/slideLayouts/_rels/slideLayout9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9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6915780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18195552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91184010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1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0430006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43648636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67070544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98977965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reserve="1">
  <p:cSld name="1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9104397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8773903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woObj" preserve="1">
  <p:cSld name="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4802035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woTxTwoObj" preserve="1">
  <p:cSld name="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6220884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itleOnly" preserve="1">
  <p:cSld name="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290700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63245373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8964918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blank" preserve="1">
  <p:cSld name="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84862656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57653802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72484767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1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8364941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23493612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reserve="1">
  <p:cSld name="2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7343755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5832855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woObj" preserve="1">
  <p:cSld name="1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2938656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woTxTwoObj" preserve="1">
  <p:cSld name="1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657318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61487423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Only" preserve="1">
  <p:cSld name="1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4318294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3985414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blank" preserve="1">
  <p:cSld name="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21998685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obj" preserve="1">
  <p:cSld name="1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7818642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84478154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98290199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20865857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reserve="1">
  <p:cSld name="2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711101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reserve="1">
  <p:cSld name="2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0000836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obj" preserve="1">
  <p:cSld name="2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3183213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4191405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twoObj" preserve="1">
  <p:cSld name="1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5955519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woTxTwoObj" preserve="1">
  <p:cSld name="1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4152295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itleOnly" preserve="1">
  <p:cSld name="1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866880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801862111"/>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blank" preserve="1">
  <p:cSld name="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95794969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96907520"/>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obj" preserve="1">
  <p:cSld name="2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6277472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62736332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obj" preserve="1">
  <p:cSld name="2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5953275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obj" preserve="1">
  <p:cSld name="1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5946389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8423028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twoObj" preserve="1">
  <p:cSld name="1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2727692"/>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twoTxTwoObj" preserve="1">
  <p:cSld name="1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8664717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22679154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6963227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blank" preserve="1">
  <p:cSld name="1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54324774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titleOnly" preserve="1">
  <p:cSld name="1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47643842"/>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663663494"/>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blank" preserve="1">
  <p:cSld name="1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797839732"/>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obj" preserve="1">
  <p:cSld name="2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102443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obj" preserve="1">
  <p:cSld name="2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055053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82798914"/>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type="obj" preserve="1">
  <p:cSld name="1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0/2023</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86028563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reserve="1">
  <p:cSld name="2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861959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obj" preserve="1">
  <p:cSld name="2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49195588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obj" preserve="1">
  <p:cSld name="1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80582738"/>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twoObj" preserve="1">
  <p:cSld name="1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4587918"/>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984238912"/>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twoTxTwoObj" preserve="1">
  <p:cSld name="1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09084614"/>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itleOnly" preserve="1">
  <p:cSld name="1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1422117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94216092"/>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9329078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stretch>
            <a:fillRect/>
          </a:stretch>
        </p:blipFill>
        <p:spPr>
          <a:xfrm>
            <a:off x="513348" y="136526"/>
            <a:ext cx="1945206" cy="879974"/>
          </a:xfrm>
          <a:prstGeom prst="rect">
            <a:avLst/>
          </a:prstGeom>
        </p:spPr>
      </p:pic>
    </p:spTree>
    <p:extLst>
      <p:ext uri="{BB962C8B-B14F-4D97-AF65-F5344CB8AC3E}">
        <p14:creationId xmlns:p14="http://schemas.microsoft.com/office/powerpoint/2010/main" val="3171771967"/>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069414299"/>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92632230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obj" preserve="1">
  <p:cSld name="3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0339369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reserve="1">
  <p:cSld name="3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9258950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53485271"/>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twoObj" preserve="1">
  <p:cSld name="1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9587065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twoTxTwoObj" preserve="1">
  <p:cSld name="1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2882524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titleOnly" preserve="1">
  <p:cSld name="1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9923806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249862182"/>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blank" preserve="1">
  <p:cSld name="1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3638520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9119921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blank" preserve="1">
  <p:cSld name="1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584184684"/>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obj" preserve="1">
  <p:cSld name="3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99434678"/>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obj" preserve="1">
  <p:cSld name="3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6805659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obj" preserve="1">
  <p:cSld name="3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19438968"/>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obj" preserve="1">
  <p:cSld name="3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387178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obj" preserve="1">
  <p:cSld name="3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65694493"/>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obj" preserve="1">
  <p:cSld name="3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73350505"/>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99849130"/>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81159562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75697272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62951579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obj" preserve="1">
  <p:cSld name="3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09251650"/>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obj" preserve="1">
  <p:cSld name="1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41926387"/>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twoObj" preserve="1">
  <p:cSld name="1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8666927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twoTxTwoObj" preserve="1">
  <p:cSld name="1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10922533"/>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titleOnly" preserve="1">
  <p:cSld name="1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5841725"/>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010596175"/>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blank" preserve="1">
  <p:cSld name="1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316315189"/>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1008025"/>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393792943"/>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1750925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448436128"/>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obj" preserve="1">
  <p:cSld name="3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88716721"/>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obj" preserve="1">
  <p:cSld name="1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45037749"/>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twoObj" preserve="1">
  <p:cSld name="1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86002367"/>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twoTxTwoObj" preserve="1">
  <p:cSld name="1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39855488"/>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titleOnly" preserve="1">
  <p:cSld name="1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21826003"/>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875499530"/>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blank" preserve="1">
  <p:cSld name="1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29141060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obj" preserve="1">
  <p:cSld name="4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3561641"/>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45267698"/>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1752974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69157807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83270214"/>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578663217"/>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obj" preserve="1">
  <p:cSld name="4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2077402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obj" preserve="1">
  <p:cSld name="1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34594192"/>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twoObj" preserve="1">
  <p:cSld name="1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56315279"/>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twoTxTwoObj" preserve="1">
  <p:cSld name="1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01317895"/>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titleOnly" preserve="1">
  <p:cSld name="1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00288109"/>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796376101"/>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blank" preserve="1">
  <p:cSld name="1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892886451"/>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obj" preserve="1">
  <p:cSld name="4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06159376"/>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obj" preserve="1">
  <p:cSld name="4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8861694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14228870"/>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obj" preserve="1">
  <p:cSld name="4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46938417"/>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2483550571"/>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220877040"/>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668574274"/>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35471929"/>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cSld name="1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58278594"/>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89404483"/>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0347842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59098044"/>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cSld name="2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94527636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48015493"/>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18021461"/>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939989584"/>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675864542"/>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978282302"/>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37104982"/>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cSld name="2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795372134"/>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cSld name="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17828020"/>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627648628"/>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326122543"/>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cSld name="2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6205469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964228"/>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cSld name="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9055294"/>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27921214"/>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cSld name="2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41920976"/>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635804420"/>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1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986171260"/>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1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080090535"/>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27921214"/>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cSld name="2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41920976"/>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635804420"/>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12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6058527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03719949"/>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309666298"/>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cSld name="2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656760714"/>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cSld name="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35649411"/>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1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551432267"/>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80461207"/>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cSld name="2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873984959"/>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cSld name="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729066305"/>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22428475"/>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cSld name="2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99805404"/>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cSld name="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54870216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90515151"/>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57713067"/>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cSld name="2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73097338"/>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cSld name="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16179664"/>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1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20493336"/>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1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674977627"/>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1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534355322"/>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obj" preserve="1">
  <p:cSld name="4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9001456"/>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obj" preserve="1">
  <p:cSld name="2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61880748"/>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twoObj" preserve="1">
  <p:cSld name="1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19786099"/>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twoTxTwoObj" preserve="1">
  <p:cSld name="1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6916879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91810783"/>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titleOnly" preserve="1">
  <p:cSld name="1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58112831"/>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1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23635138"/>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blank" preserve="1">
  <p:cSld name="1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972360139"/>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obj" preserve="1">
  <p:cSld name="4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88764591"/>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obj" preserve="1">
  <p:cSld name="2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19800057"/>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type="twoObj" preserve="1">
  <p:cSld name="1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11585504"/>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twoTxTwoObj" preserve="1">
  <p:cSld name="1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22746103"/>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titleOnly" preserve="1">
  <p:cSld name="1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65694009"/>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91810783"/>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blank" preserve="1">
  <p:cSld name="1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6905929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478274380"/>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304868132"/>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0792940"/>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matchingName="Title and Content">
  <p:cSld name="30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9783795"/>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308841809"/>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468296633"/>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220637423"/>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7985431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463854968"/>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11/10/2023</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728347992"/>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1"/>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11/10/2023</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229018680"/>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87509848"/>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87509848"/>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2"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113001559"/>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30117215"/>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301172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78744679"/>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30117215"/>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855494103"/>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86376476"/>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43775063"/>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3420"/>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0/2023</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657904224"/>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2224325"/>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10812348"/>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34956318"/>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37652033"/>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855494103"/>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53572214"/>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402549073"/>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3929533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88786427"/>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8542806"/>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67421487"/>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83143663"/>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03572776"/>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05532739"/>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39690513"/>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32483557"/>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103439267"/>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418415549"/>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7879164"/>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9302691"/>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420318"/>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5852557"/>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26228292"/>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38240366"/>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3521326"/>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171903"/>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0/2023</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2374324019"/>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13231865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03686679"/>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04450066"/>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132318659"/>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65481949"/>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159634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14801019"/>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39295337"/>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0/2023</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657904224"/>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53572214"/>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402549073"/>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0553273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07914573"/>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8542806"/>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67421487"/>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83143663"/>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03572776"/>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37652033"/>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32483557"/>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103439267"/>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1596344"/>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202775852"/>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7879164"/>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9302691"/>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420318"/>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5852557"/>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26228292"/>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38240366"/>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39690513"/>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220637423"/>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747288010"/>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25519462"/>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2670630771"/>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898032396"/>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3420"/>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890419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04125666"/>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88949313"/>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3420"/>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88949313"/>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78365848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25845292"/>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629644005"/>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3756388239"/>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629644005"/>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68412230"/>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707651266"/>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87509848"/>
      </p:ext>
    </p:extLst>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1582254879"/>
      </p:ext>
    </p:extLst>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18896833"/>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82089770"/>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Obj" preserve="1">
  <p:cSld name="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57758517"/>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TxTwoObj" preserve="1">
  <p:cSld name="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23406442"/>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77243743"/>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993753234"/>
      </p:ext>
    </p:extLst>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48463225"/>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988034496"/>
      </p:ext>
    </p:extLst>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888436358"/>
      </p:ext>
    </p:extLst>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56342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8303562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1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65875377"/>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5634235"/>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7289008"/>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680660955"/>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956606"/>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1619806002"/>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565887101"/>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matchingName="Title and Content">
  <p:cSld name="32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764467406"/>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matchingName="Photo Slide">
  <p:cSld name="20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7"/>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4567779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94216092"/>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userDrawn="1">
  <p:cSld name="1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44353" t="41308" r="41308" b="44537"/>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1248361"/>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userDrawn="1">
  <p:cSld name="1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251683148"/>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showMasterSp="0" userDrawn="1">
  <p:cSld name="6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val="0"/>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876612349"/>
      </p:ext>
    </p:extLst>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showMasterSp="0" userDrawn="1">
  <p:cSld name="1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1684694"/>
      </p:ext>
    </p:extLst>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2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22325930"/>
      </p:ext>
    </p:extLst>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2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572981547"/>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2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442479938"/>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type="blank" preserve="1">
  <p:cSld name="1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066296709"/>
      </p:ext>
    </p:extLst>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type="obj" preserve="1">
  <p:cSld name="4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70922304"/>
      </p:ext>
    </p:extLst>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type="obj" preserve="1">
  <p:cSld name="3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5543231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991876091"/>
      </p:ext>
    </p:extLst>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type="twoObj" preserve="1">
  <p:cSld name="2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79056666"/>
      </p:ext>
    </p:extLst>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type="twoTxTwoObj" preserve="1">
  <p:cSld name="2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1967696"/>
      </p:ext>
    </p:extLst>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type="titleOnly" preserve="1">
  <p:cSld name="2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86446465"/>
      </p:ext>
    </p:extLst>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2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910798543"/>
      </p:ext>
    </p:extLst>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type="blank" preserve="1">
  <p:cSld name="2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848675539"/>
      </p:ext>
    </p:extLst>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userDrawn="1">
  <p:cSld name="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023011711"/>
      </p:ext>
    </p:extLst>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p:cSld name="3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336372206"/>
      </p:ext>
    </p:extLst>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p:cSld name="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792031328"/>
      </p:ext>
    </p:extLst>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showMasterSp="0" userDrawn="1">
  <p:cSld name="2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0270537"/>
      </p:ext>
    </p:extLst>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4"/>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4"/>
            <a:ext cx="10363200" cy="1500187"/>
          </a:xfrm>
        </p:spPr>
        <p:txBody>
          <a:bodyPr anchor="b"/>
          <a:lstStyle>
            <a:lvl1pPr marL="0" indent="0">
              <a:buNone/>
              <a:defRPr sz="2000">
                <a:solidFill>
                  <a:schemeClr val="tx1">
                    <a:tint val="75000"/>
                  </a:schemeClr>
                </a:solidFill>
              </a:defRPr>
            </a:lvl1pPr>
            <a:lvl2pPr marL="457223" indent="0">
              <a:buNone/>
              <a:defRPr sz="1800">
                <a:solidFill>
                  <a:schemeClr val="tx1">
                    <a:tint val="75000"/>
                  </a:schemeClr>
                </a:solidFill>
              </a:defRPr>
            </a:lvl2pPr>
            <a:lvl3pPr marL="914446" indent="0">
              <a:buNone/>
              <a:defRPr sz="1600">
                <a:solidFill>
                  <a:schemeClr val="tx1">
                    <a:tint val="75000"/>
                  </a:schemeClr>
                </a:solidFill>
              </a:defRPr>
            </a:lvl3pPr>
            <a:lvl4pPr marL="1371669" indent="0">
              <a:buNone/>
              <a:defRPr sz="1400">
                <a:solidFill>
                  <a:schemeClr val="tx1">
                    <a:tint val="75000"/>
                  </a:schemeClr>
                </a:solidFill>
              </a:defRPr>
            </a:lvl4pPr>
            <a:lvl5pPr marL="1828891" indent="0">
              <a:buNone/>
              <a:defRPr sz="1400">
                <a:solidFill>
                  <a:schemeClr val="tx1">
                    <a:tint val="75000"/>
                  </a:schemeClr>
                </a:solidFill>
              </a:defRPr>
            </a:lvl5pPr>
            <a:lvl6pPr marL="2286114" indent="0">
              <a:buNone/>
              <a:defRPr sz="1400">
                <a:solidFill>
                  <a:schemeClr val="tx1">
                    <a:tint val="75000"/>
                  </a:schemeClr>
                </a:solidFill>
              </a:defRPr>
            </a:lvl6pPr>
            <a:lvl7pPr marL="2743337" indent="0">
              <a:buNone/>
              <a:defRPr sz="1400">
                <a:solidFill>
                  <a:schemeClr val="tx1">
                    <a:tint val="75000"/>
                  </a:schemeClr>
                </a:solidFill>
              </a:defRPr>
            </a:lvl7pPr>
            <a:lvl8pPr marL="3200560" indent="0">
              <a:buNone/>
              <a:defRPr sz="1400">
                <a:solidFill>
                  <a:schemeClr val="tx1">
                    <a:tint val="75000"/>
                  </a:schemeClr>
                </a:solidFill>
              </a:defRPr>
            </a:lvl8pPr>
            <a:lvl9pPr marL="3657783"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11/10/2023</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91461050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981815734"/>
      </p:ext>
    </p:extLst>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2"/>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4" y="273055"/>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4"/>
            <a:ext cx="4011084" cy="4691063"/>
          </a:xfrm>
        </p:spPr>
        <p:txBody>
          <a:bodyPr/>
          <a:lstStyle>
            <a:lvl1pPr marL="0" indent="0">
              <a:buNone/>
              <a:defRPr sz="1400"/>
            </a:lvl1pPr>
            <a:lvl2pPr marL="457223" indent="0">
              <a:buNone/>
              <a:defRPr sz="1200"/>
            </a:lvl2pPr>
            <a:lvl3pPr marL="914446" indent="0">
              <a:buNone/>
              <a:defRPr sz="1000"/>
            </a:lvl3pPr>
            <a:lvl4pPr marL="1371669" indent="0">
              <a:buNone/>
              <a:defRPr sz="900"/>
            </a:lvl4pPr>
            <a:lvl5pPr marL="1828891" indent="0">
              <a:buNone/>
              <a:defRPr sz="900"/>
            </a:lvl5pPr>
            <a:lvl6pPr marL="2286114" indent="0">
              <a:buNone/>
              <a:defRPr sz="900"/>
            </a:lvl6pPr>
            <a:lvl7pPr marL="2743337" indent="0">
              <a:buNone/>
              <a:defRPr sz="900"/>
            </a:lvl7pPr>
            <a:lvl8pPr marL="3200560" indent="0">
              <a:buNone/>
              <a:defRPr sz="900"/>
            </a:lvl8pPr>
            <a:lvl9pPr marL="3657783"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11/10/2023</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650515904"/>
      </p:ext>
    </p:extLst>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1853644344"/>
      </p:ext>
    </p:extLst>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type="obj" preserve="1">
  <p:cSld name="4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30798206"/>
      </p:ext>
    </p:extLst>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3171771967"/>
      </p:ext>
    </p:extLst>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91199215"/>
      </p:ext>
    </p:extLst>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629515799"/>
      </p:ext>
    </p:extLst>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448436128"/>
      </p:ext>
    </p:extLst>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showMasterSp="0" userDrawn="1">
  <p:cSld name="1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1122990995"/>
      </p:ext>
    </p:extLst>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matchingName="Title and Content">
  <p:cSld name="36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3"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38653374"/>
      </p:ext>
    </p:extLst>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22483459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1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5213743"/>
      </p:ext>
    </p:extLst>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543003970"/>
      </p:ext>
    </p:extLst>
  </p:cSld>
  <p:clrMapOvr>
    <a:masterClrMapping/>
  </p:clrMapOvr>
</p:sldLayout>
</file>

<file path=ppt/slideLayouts/slideLayout641.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543003970"/>
      </p:ext>
    </p:extLst>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userDrawn="1">
  <p:cSld name="1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a:srcRect/>
          <a:stretch/>
        </p:blipFill>
        <p:spPr>
          <a:xfrm>
            <a:off x="2829835" y="4178330"/>
            <a:ext cx="4395959" cy="1140163"/>
          </a:xfrm>
          <a:prstGeom prst="rect">
            <a:avLst/>
          </a:prstGeom>
        </p:spPr>
      </p:pic>
    </p:spTree>
    <p:extLst>
      <p:ext uri="{BB962C8B-B14F-4D97-AF65-F5344CB8AC3E}">
        <p14:creationId xmlns:p14="http://schemas.microsoft.com/office/powerpoint/2010/main" val="1817355230"/>
      </p:ext>
    </p:extLst>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userDrawn="1">
  <p:cSld name="1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251400287"/>
      </p:ext>
    </p:extLst>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p:cSld name="3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698946972"/>
      </p:ext>
    </p:extLst>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p:cSld name="1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1751562560"/>
      </p:ext>
    </p:extLst>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showMasterSp="0" userDrawn="1">
  <p:cSld name="2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1126479413"/>
      </p:ext>
    </p:extLst>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showMasterSp="0" userDrawn="1">
  <p:cSld name="3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2489622913"/>
      </p:ext>
    </p:extLst>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type="obj" preserve="1">
  <p:cSld name="4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57336188"/>
      </p:ext>
    </p:extLst>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type="obj" preserve="1">
  <p:cSld name="5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852033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1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1114809"/>
      </p:ext>
    </p:extLst>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type="obj" preserve="1">
  <p:cSld name="5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28489293"/>
      </p:ext>
    </p:extLst>
  </p:cSld>
  <p:clrMapOvr>
    <a:masterClrMapping/>
  </p:clrMapOvr>
</p:sldLayout>
</file>

<file path=ppt/slideLayouts/slideLayout651.xml><?xml version="1.0" encoding="utf-8"?>
<p:sldLayout xmlns:a="http://schemas.openxmlformats.org/drawingml/2006/main" xmlns:r="http://schemas.openxmlformats.org/officeDocument/2006/relationships" xmlns:p="http://schemas.openxmlformats.org/presentationml/2006/main" type="obj" preserve="1">
  <p:cSld name="5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5040569"/>
      </p:ext>
    </p:extLst>
  </p:cSld>
  <p:clrMapOvr>
    <a:masterClrMapping/>
  </p:clrMapOvr>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2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21105823"/>
      </p:ext>
    </p:extLst>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2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15772397"/>
      </p:ext>
    </p:extLst>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2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251901327"/>
      </p:ext>
    </p:extLst>
  </p:cSld>
  <p:clrMapOvr>
    <a:masterClrMapping/>
  </p:clrMapOvr>
</p:sldLayout>
</file>

<file path=ppt/slideLayouts/slideLayout655.xml><?xml version="1.0" encoding="utf-8"?>
<p:sldLayout xmlns:a="http://schemas.openxmlformats.org/drawingml/2006/main" xmlns:r="http://schemas.openxmlformats.org/officeDocument/2006/relationships" xmlns:p="http://schemas.openxmlformats.org/presentationml/2006/main" type="obj" preserve="1">
  <p:cSld name="5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1352467"/>
      </p:ext>
    </p:extLst>
  </p:cSld>
  <p:clrMapOvr>
    <a:masterClrMapping/>
  </p:clrMapOvr>
</p:sldLayout>
</file>

<file path=ppt/slideLayouts/slideLayout656.xml><?xml version="1.0" encoding="utf-8"?>
<p:sldLayout xmlns:a="http://schemas.openxmlformats.org/drawingml/2006/main" xmlns:r="http://schemas.openxmlformats.org/officeDocument/2006/relationships" xmlns:p="http://schemas.openxmlformats.org/presentationml/2006/main" type="obj" preserve="1">
  <p:cSld name="5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2305507"/>
      </p:ext>
    </p:extLst>
  </p:cSld>
  <p:clrMapOvr>
    <a:masterClrMapping/>
  </p:clrMapOvr>
</p:sldLayout>
</file>

<file path=ppt/slideLayouts/slideLayout657.xml><?xml version="1.0" encoding="utf-8"?>
<p:sldLayout xmlns:a="http://schemas.openxmlformats.org/drawingml/2006/main" xmlns:r="http://schemas.openxmlformats.org/officeDocument/2006/relationships" xmlns:p="http://schemas.openxmlformats.org/presentationml/2006/main" type="obj" preserve="1">
  <p:cSld name="5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45177511"/>
      </p:ext>
    </p:extLst>
  </p:cSld>
  <p:clrMapOvr>
    <a:masterClrMapping/>
  </p:clrMapOvr>
</p:sldLayout>
</file>

<file path=ppt/slideLayouts/slideLayout658.xml><?xml version="1.0" encoding="utf-8"?>
<p:sldLayout xmlns:a="http://schemas.openxmlformats.org/drawingml/2006/main" xmlns:r="http://schemas.openxmlformats.org/officeDocument/2006/relationships" xmlns:p="http://schemas.openxmlformats.org/presentationml/2006/main" type="obj" preserve="1">
  <p:cSld name="5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26909929"/>
      </p:ext>
    </p:extLst>
  </p:cSld>
  <p:clrMapOvr>
    <a:masterClrMapping/>
  </p:clrMapOvr>
</p:sldLayout>
</file>

<file path=ppt/slideLayouts/slideLayout659.xml><?xml version="1.0" encoding="utf-8"?>
<p:sldLayout xmlns:a="http://schemas.openxmlformats.org/drawingml/2006/main" xmlns:r="http://schemas.openxmlformats.org/officeDocument/2006/relationships" xmlns:p="http://schemas.openxmlformats.org/presentationml/2006/main" type="obj" preserve="1">
  <p:cSld name="3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3849823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8538390"/>
      </p:ext>
    </p:extLst>
  </p:cSld>
  <p:clrMapOvr>
    <a:masterClrMapping/>
  </p:clrMapOvr>
</p:sldLayout>
</file>

<file path=ppt/slideLayouts/slideLayout660.xml><?xml version="1.0" encoding="utf-8"?>
<p:sldLayout xmlns:a="http://schemas.openxmlformats.org/drawingml/2006/main" xmlns:r="http://schemas.openxmlformats.org/officeDocument/2006/relationships" xmlns:p="http://schemas.openxmlformats.org/presentationml/2006/main" type="twoObj" preserve="1">
  <p:cSld name="2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36365882"/>
      </p:ext>
    </p:extLst>
  </p:cSld>
  <p:clrMapOvr>
    <a:masterClrMapping/>
  </p:clrMapOvr>
</p:sldLayout>
</file>

<file path=ppt/slideLayouts/slideLayout661.xml><?xml version="1.0" encoding="utf-8"?>
<p:sldLayout xmlns:a="http://schemas.openxmlformats.org/drawingml/2006/main" xmlns:r="http://schemas.openxmlformats.org/officeDocument/2006/relationships" xmlns:p="http://schemas.openxmlformats.org/presentationml/2006/main" type="twoTxTwoObj" preserve="1">
  <p:cSld name="2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08656322"/>
      </p:ext>
    </p:extLst>
  </p:cSld>
  <p:clrMapOvr>
    <a:masterClrMapping/>
  </p:clrMapOvr>
</p:sldLayout>
</file>

<file path=ppt/slideLayouts/slideLayout662.xml><?xml version="1.0" encoding="utf-8"?>
<p:sldLayout xmlns:a="http://schemas.openxmlformats.org/drawingml/2006/main" xmlns:r="http://schemas.openxmlformats.org/officeDocument/2006/relationships" xmlns:p="http://schemas.openxmlformats.org/presentationml/2006/main" type="titleOnly" preserve="1">
  <p:cSld name="2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30473943"/>
      </p:ext>
    </p:extLst>
  </p:cSld>
  <p:clrMapOvr>
    <a:masterClrMapping/>
  </p:clrMapOvr>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2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435550117"/>
      </p:ext>
    </p:extLst>
  </p:cSld>
  <p:clrMapOvr>
    <a:masterClrMapping/>
  </p:clrMapOvr>
</p:sldLayout>
</file>

<file path=ppt/slideLayouts/slideLayout664.xml><?xml version="1.0" encoding="utf-8"?>
<p:sldLayout xmlns:a="http://schemas.openxmlformats.org/drawingml/2006/main" xmlns:r="http://schemas.openxmlformats.org/officeDocument/2006/relationships" xmlns:p="http://schemas.openxmlformats.org/presentationml/2006/main" type="blank" preserve="1">
  <p:cSld name="2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905824695"/>
      </p:ext>
    </p:extLst>
  </p:cSld>
  <p:clrMapOvr>
    <a:masterClrMapping/>
  </p:clrMapOvr>
</p:sldLayout>
</file>

<file path=ppt/slideLayouts/slideLayout665.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48463225"/>
      </p:ext>
    </p:extLst>
  </p:cSld>
  <p:clrMapOvr>
    <a:masterClrMapping/>
  </p:clrMapOvr>
</p:sldLayout>
</file>

<file path=ppt/slideLayouts/slideLayout666.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988034496"/>
      </p:ext>
    </p:extLst>
  </p:cSld>
  <p:clrMapOvr>
    <a:masterClrMapping/>
  </p:clrMapOvr>
</p:sldLayout>
</file>

<file path=ppt/slideLayouts/slideLayout667.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888436358"/>
      </p:ext>
    </p:extLst>
  </p:cSld>
  <p:clrMapOvr>
    <a:masterClrMapping/>
  </p:clrMapOvr>
</p:sldLayout>
</file>

<file path=ppt/slideLayouts/slideLayout668.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7289008"/>
      </p:ext>
    </p:extLst>
  </p:cSld>
  <p:clrMapOvr>
    <a:masterClrMapping/>
  </p:clrMapOvr>
</p:sldLayout>
</file>

<file path=ppt/slideLayouts/slideLayout669.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Obj" preserve="1">
  <p:cSld name="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68810016"/>
      </p:ext>
    </p:extLst>
  </p:cSld>
  <p:clrMapOvr>
    <a:masterClrMapping/>
  </p:clrMapOvr>
</p:sldLayout>
</file>

<file path=ppt/slideLayouts/slideLayout670.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44353" t="41308" r="41308" b="44537"/>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671.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2181" r="12170"/>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956606"/>
      </p:ext>
    </p:extLst>
  </p:cSld>
  <p:clrMapOvr>
    <a:masterClrMapping/>
  </p:clrMapOvr>
</p:sldLayout>
</file>

<file path=ppt/slideLayouts/slideLayout672.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1619806002"/>
      </p:ext>
    </p:extLst>
  </p:cSld>
  <p:clrMapOvr>
    <a:masterClrMapping/>
  </p:clrMapOvr>
</p:sldLayout>
</file>

<file path=ppt/slideLayouts/slideLayout673.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565887101"/>
      </p:ext>
    </p:extLst>
  </p:cSld>
  <p:clrMapOvr>
    <a:masterClrMapping/>
  </p:clrMapOvr>
</p:sldLayout>
</file>

<file path=ppt/slideLayouts/slideLayout674.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888436358"/>
      </p:ext>
    </p:extLst>
  </p:cSld>
  <p:clrMapOvr>
    <a:masterClrMapping/>
  </p:clrMapOvr>
</p:sldLayout>
</file>

<file path=ppt/slideLayouts/slideLayout675.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888436358"/>
      </p:ext>
    </p:extLst>
  </p:cSld>
  <p:clrMapOvr>
    <a:masterClrMapping/>
  </p:clrMapOvr>
</p:sldLayout>
</file>

<file path=ppt/slideLayouts/slideLayout67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5634235"/>
      </p:ext>
    </p:extLst>
  </p:cSld>
  <p:clrMapOvr>
    <a:masterClrMapping/>
  </p:clrMapOvr>
</p:sldLayout>
</file>

<file path=ppt/slideLayouts/slideLayout677.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7289008"/>
      </p:ext>
    </p:extLst>
  </p:cSld>
  <p:clrMapOvr>
    <a:masterClrMapping/>
  </p:clrMapOvr>
</p:sldLayout>
</file>

<file path=ppt/slideLayouts/slideLayout678.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44353" t="41308" r="41308" b="44537"/>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679.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2181" r="12170"/>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95660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woTxTwoObj" preserve="1">
  <p:cSld name="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47740735"/>
      </p:ext>
    </p:extLst>
  </p:cSld>
  <p:clrMapOvr>
    <a:masterClrMapping/>
  </p:clrMapOvr>
</p:sldLayout>
</file>

<file path=ppt/slideLayouts/slideLayout680.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1619806002"/>
      </p:ext>
    </p:extLst>
  </p:cSld>
  <p:clrMapOvr>
    <a:masterClrMapping/>
  </p:clrMapOvr>
</p:sldLayout>
</file>

<file path=ppt/slideLayouts/slideLayout681.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565887101"/>
      </p:ext>
    </p:extLst>
  </p:cSld>
  <p:clrMapOvr>
    <a:masterClrMapping/>
  </p:clrMapOvr>
</p:sldLayout>
</file>

<file path=ppt/slideLayouts/slideLayout682.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683.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val="0"/>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993753234"/>
      </p:ext>
    </p:extLst>
  </p:cSld>
  <p:clrMapOvr>
    <a:masterClrMapping/>
  </p:clrMapOvr>
</p:sldLayout>
</file>

<file path=ppt/slideLayouts/slideLayout684.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685.xml><?xml version="1.0" encoding="utf-8"?>
<p:sldLayout xmlns:a="http://schemas.openxmlformats.org/drawingml/2006/main" xmlns:r="http://schemas.openxmlformats.org/officeDocument/2006/relationships" xmlns:p="http://schemas.openxmlformats.org/presentationml/2006/main" matchingName="Cover">
  <p:cSld name="Cover">
    <p:spTree>
      <p:nvGrpSpPr>
        <p:cNvPr id="1" name="Shape 14"/>
        <p:cNvGrpSpPr/>
        <p:nvPr/>
      </p:nvGrpSpPr>
      <p:grpSpPr>
        <a:xfrm>
          <a:off x="0" y="0"/>
          <a:ext cx="0" cy="0"/>
          <a:chOff x="0" y="0"/>
          <a:chExt cx="0" cy="0"/>
        </a:xfrm>
      </p:grpSpPr>
      <p:sp>
        <p:nvSpPr>
          <p:cNvPr id="15" name="Google Shape;15;p45"/>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6" name="Google Shape;16;p45"/>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 name="Google Shape;17;p45"/>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 name="Google Shape;18;p45"/>
          <p:cNvSpPr>
            <a:spLocks noGrp="1"/>
          </p:cNvSpPr>
          <p:nvPr>
            <p:ph type="pic" idx="2"/>
          </p:nvPr>
        </p:nvSpPr>
        <p:spPr>
          <a:xfrm>
            <a:off x="7118684" y="233915"/>
            <a:ext cx="5073316" cy="5943600"/>
          </a:xfrm>
          <a:prstGeom prst="rect">
            <a:avLst/>
          </a:prstGeom>
          <a:noFill/>
          <a:ln>
            <a:noFill/>
          </a:ln>
        </p:spPr>
      </p:sp>
      <p:grpSp>
        <p:nvGrpSpPr>
          <p:cNvPr id="19" name="Google Shape;19;p45"/>
          <p:cNvGrpSpPr/>
          <p:nvPr/>
        </p:nvGrpSpPr>
        <p:grpSpPr>
          <a:xfrm>
            <a:off x="0" y="5020348"/>
            <a:ext cx="12192000" cy="1837653"/>
            <a:chOff x="0" y="5020348"/>
            <a:chExt cx="12192000" cy="1837653"/>
          </a:xfrm>
        </p:grpSpPr>
        <p:sp>
          <p:nvSpPr>
            <p:cNvPr id="20" name="Google Shape;20;p4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1" name="Google Shape;21;p4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pic>
          <p:nvPicPr>
            <p:cNvPr id="22" name="Google Shape;22;p4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686.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23"/>
        <p:cNvGrpSpPr/>
        <p:nvPr/>
      </p:nvGrpSpPr>
      <p:grpSpPr>
        <a:xfrm>
          <a:off x="0" y="0"/>
          <a:ext cx="0" cy="0"/>
          <a:chOff x="0" y="0"/>
          <a:chExt cx="0" cy="0"/>
        </a:xfrm>
      </p:grpSpPr>
      <p:sp>
        <p:nvSpPr>
          <p:cNvPr id="24" name="Google Shape;24;p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5" name="Google Shape;25;p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 name="Google Shape;26;p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7" name="Google Shape;27;p48"/>
          <p:cNvGrpSpPr/>
          <p:nvPr/>
        </p:nvGrpSpPr>
        <p:grpSpPr>
          <a:xfrm>
            <a:off x="7191542" y="1"/>
            <a:ext cx="5000459" cy="1425992"/>
            <a:chOff x="7191542" y="1"/>
            <a:chExt cx="5000459" cy="1425992"/>
          </a:xfrm>
        </p:grpSpPr>
        <p:pic>
          <p:nvPicPr>
            <p:cNvPr id="28" name="Google Shape;28;p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9" name="Google Shape;29;p48"/>
            <p:cNvGrpSpPr/>
            <p:nvPr/>
          </p:nvGrpSpPr>
          <p:grpSpPr>
            <a:xfrm>
              <a:off x="7191542" y="1"/>
              <a:ext cx="5000459" cy="1425992"/>
              <a:chOff x="7186272" y="0"/>
              <a:chExt cx="5005729" cy="1427495"/>
            </a:xfrm>
          </p:grpSpPr>
          <p:sp>
            <p:nvSpPr>
              <p:cNvPr id="30" name="Google Shape;30;p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 name="Google Shape;31;p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687.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32"/>
        <p:cNvGrpSpPr/>
        <p:nvPr/>
      </p:nvGrpSpPr>
      <p:grpSpPr>
        <a:xfrm>
          <a:off x="0" y="0"/>
          <a:ext cx="0" cy="0"/>
          <a:chOff x="0" y="0"/>
          <a:chExt cx="0" cy="0"/>
        </a:xfrm>
      </p:grpSpPr>
      <p:grpSp>
        <p:nvGrpSpPr>
          <p:cNvPr id="33" name="Google Shape;33;p49"/>
          <p:cNvGrpSpPr/>
          <p:nvPr/>
        </p:nvGrpSpPr>
        <p:grpSpPr>
          <a:xfrm>
            <a:off x="7191542" y="1"/>
            <a:ext cx="5000459" cy="1425992"/>
            <a:chOff x="7191542" y="1"/>
            <a:chExt cx="5000459" cy="1425992"/>
          </a:xfrm>
        </p:grpSpPr>
        <p:pic>
          <p:nvPicPr>
            <p:cNvPr id="34" name="Google Shape;34;p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5" name="Google Shape;35;p49"/>
            <p:cNvGrpSpPr/>
            <p:nvPr/>
          </p:nvGrpSpPr>
          <p:grpSpPr>
            <a:xfrm>
              <a:off x="7191542" y="1"/>
              <a:ext cx="5000459" cy="1425992"/>
              <a:chOff x="7186272" y="0"/>
              <a:chExt cx="5005729" cy="1427495"/>
            </a:xfrm>
          </p:grpSpPr>
          <p:sp>
            <p:nvSpPr>
              <p:cNvPr id="36" name="Google Shape;36;p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 name="Google Shape;37;p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8" name="Google Shape;38;p4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 name="Google Shape;39;p49"/>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 name="Google Shape;40;p4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1" name="Google Shape;41;p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2" name="Google Shape;42;p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688.xml><?xml version="1.0" encoding="utf-8"?>
<p:sldLayout xmlns:a="http://schemas.openxmlformats.org/drawingml/2006/main" xmlns:r="http://schemas.openxmlformats.org/officeDocument/2006/relationships" xmlns:p="http://schemas.openxmlformats.org/presentationml/2006/main" matchingName="Divider">
  <p:cSld name="Divider">
    <p:bg>
      <p:bgPr>
        <a:solidFill>
          <a:schemeClr val="lt2"/>
        </a:solidFill>
        <a:effectLst/>
      </p:bgPr>
    </p:bg>
    <p:spTree>
      <p:nvGrpSpPr>
        <p:cNvPr id="1" name="Shape 43"/>
        <p:cNvGrpSpPr/>
        <p:nvPr/>
      </p:nvGrpSpPr>
      <p:grpSpPr>
        <a:xfrm>
          <a:off x="0" y="0"/>
          <a:ext cx="0" cy="0"/>
          <a:chOff x="0" y="0"/>
          <a:chExt cx="0" cy="0"/>
        </a:xfrm>
      </p:grpSpPr>
      <p:grpSp>
        <p:nvGrpSpPr>
          <p:cNvPr id="44" name="Google Shape;44;p50"/>
          <p:cNvGrpSpPr/>
          <p:nvPr/>
        </p:nvGrpSpPr>
        <p:grpSpPr>
          <a:xfrm>
            <a:off x="0" y="5020347"/>
            <a:ext cx="12192000" cy="1837653"/>
            <a:chOff x="0" y="5020347"/>
            <a:chExt cx="12192000" cy="1837653"/>
          </a:xfrm>
        </p:grpSpPr>
        <p:sp>
          <p:nvSpPr>
            <p:cNvPr id="45" name="Google Shape;45;p5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 name="Google Shape;46;p5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 name="Google Shape;47;p5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8" name="Google Shape;48;p5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9" name="Google Shape;49;p5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 name="Google Shape;50;p5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689.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51"/>
        <p:cNvGrpSpPr/>
        <p:nvPr/>
      </p:nvGrpSpPr>
      <p:grpSpPr>
        <a:xfrm>
          <a:off x="0" y="0"/>
          <a:ext cx="0" cy="0"/>
          <a:chOff x="0" y="0"/>
          <a:chExt cx="0" cy="0"/>
        </a:xfrm>
      </p:grpSpPr>
      <p:grpSp>
        <p:nvGrpSpPr>
          <p:cNvPr id="52" name="Google Shape;52;p54"/>
          <p:cNvGrpSpPr/>
          <p:nvPr/>
        </p:nvGrpSpPr>
        <p:grpSpPr>
          <a:xfrm>
            <a:off x="7191542" y="1"/>
            <a:ext cx="5000459" cy="1425992"/>
            <a:chOff x="7191542" y="1"/>
            <a:chExt cx="5000459" cy="1425992"/>
          </a:xfrm>
        </p:grpSpPr>
        <p:pic>
          <p:nvPicPr>
            <p:cNvPr id="53" name="Google Shape;53;p5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4" name="Google Shape;54;p54"/>
            <p:cNvGrpSpPr/>
            <p:nvPr/>
          </p:nvGrpSpPr>
          <p:grpSpPr>
            <a:xfrm>
              <a:off x="7191542" y="1"/>
              <a:ext cx="5000459" cy="1425992"/>
              <a:chOff x="7186272" y="0"/>
              <a:chExt cx="5005729" cy="1427495"/>
            </a:xfrm>
          </p:grpSpPr>
          <p:sp>
            <p:nvSpPr>
              <p:cNvPr id="55" name="Google Shape;55;p5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6" name="Google Shape;56;p5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7" name="Google Shape;57;p5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 name="Google Shape;58;p5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9" name="Google Shape;59;p5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0" name="Google Shape;60;p5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1" name="Google Shape;61;p5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95849402"/>
      </p:ext>
    </p:extLst>
  </p:cSld>
  <p:clrMapOvr>
    <a:masterClrMapping/>
  </p:clrMapOvr>
</p:sldLayout>
</file>

<file path=ppt/slideLayouts/slideLayout690.xml><?xml version="1.0" encoding="utf-8"?>
<p:sldLayout xmlns:a="http://schemas.openxmlformats.org/drawingml/2006/main" xmlns:r="http://schemas.openxmlformats.org/officeDocument/2006/relationships" xmlns:p="http://schemas.openxmlformats.org/presentationml/2006/main" matchingName="Divider">
  <p:cSld name="Divider 2">
    <p:bg>
      <p:bgPr>
        <a:solidFill>
          <a:schemeClr val="lt2"/>
        </a:solidFill>
        <a:effectLst/>
      </p:bgPr>
    </p:bg>
    <p:spTree>
      <p:nvGrpSpPr>
        <p:cNvPr id="1" name="Shape 62"/>
        <p:cNvGrpSpPr/>
        <p:nvPr/>
      </p:nvGrpSpPr>
      <p:grpSpPr>
        <a:xfrm>
          <a:off x="0" y="0"/>
          <a:ext cx="0" cy="0"/>
          <a:chOff x="0" y="0"/>
          <a:chExt cx="0" cy="0"/>
        </a:xfrm>
      </p:grpSpPr>
      <p:grpSp>
        <p:nvGrpSpPr>
          <p:cNvPr id="63" name="Google Shape;63;p56"/>
          <p:cNvGrpSpPr/>
          <p:nvPr/>
        </p:nvGrpSpPr>
        <p:grpSpPr>
          <a:xfrm>
            <a:off x="0" y="5020347"/>
            <a:ext cx="12192000" cy="1837653"/>
            <a:chOff x="0" y="5020347"/>
            <a:chExt cx="12192000" cy="1837653"/>
          </a:xfrm>
        </p:grpSpPr>
        <p:sp>
          <p:nvSpPr>
            <p:cNvPr id="64" name="Google Shape;64;p5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5" name="Google Shape;65;p5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6" name="Google Shape;66;p5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7" name="Google Shape;67;p5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8" name="Google Shape;68;p56"/>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 name="Google Shape;69;p56"/>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691.xml><?xml version="1.0" encoding="utf-8"?>
<p:sldLayout xmlns:a="http://schemas.openxmlformats.org/drawingml/2006/main" xmlns:r="http://schemas.openxmlformats.org/officeDocument/2006/relationships" xmlns:p="http://schemas.openxmlformats.org/presentationml/2006/main" matchingName="Title and Content">
  <p:cSld name="Title and Content 2">
    <p:spTree>
      <p:nvGrpSpPr>
        <p:cNvPr id="1" name="Shape 70"/>
        <p:cNvGrpSpPr/>
        <p:nvPr/>
      </p:nvGrpSpPr>
      <p:grpSpPr>
        <a:xfrm>
          <a:off x="0" y="0"/>
          <a:ext cx="0" cy="0"/>
          <a:chOff x="0" y="0"/>
          <a:chExt cx="0" cy="0"/>
        </a:xfrm>
      </p:grpSpPr>
      <p:grpSp>
        <p:nvGrpSpPr>
          <p:cNvPr id="71" name="Google Shape;71;p58"/>
          <p:cNvGrpSpPr/>
          <p:nvPr/>
        </p:nvGrpSpPr>
        <p:grpSpPr>
          <a:xfrm>
            <a:off x="7191542" y="1"/>
            <a:ext cx="5000459" cy="1425992"/>
            <a:chOff x="7191542" y="1"/>
            <a:chExt cx="5000459" cy="1425992"/>
          </a:xfrm>
        </p:grpSpPr>
        <p:pic>
          <p:nvPicPr>
            <p:cNvPr id="72" name="Google Shape;72;p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 name="Google Shape;73;p58"/>
            <p:cNvGrpSpPr/>
            <p:nvPr/>
          </p:nvGrpSpPr>
          <p:grpSpPr>
            <a:xfrm>
              <a:off x="7191542" y="1"/>
              <a:ext cx="5000459" cy="1425992"/>
              <a:chOff x="7186272" y="0"/>
              <a:chExt cx="5005729" cy="1427495"/>
            </a:xfrm>
          </p:grpSpPr>
          <p:sp>
            <p:nvSpPr>
              <p:cNvPr id="74" name="Google Shape;74;p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 name="Google Shape;75;p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 name="Google Shape;76;p5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7" name="Google Shape;77;p5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8" name="Google Shape;78;p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9" name="Google Shape;79;p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0" name="Google Shape;80;p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692.xml><?xml version="1.0" encoding="utf-8"?>
<p:sldLayout xmlns:a="http://schemas.openxmlformats.org/drawingml/2006/main" xmlns:r="http://schemas.openxmlformats.org/officeDocument/2006/relationships" xmlns:p="http://schemas.openxmlformats.org/presentationml/2006/main" matchingName="Title and Content">
  <p:cSld name="Title and Content 3">
    <p:spTree>
      <p:nvGrpSpPr>
        <p:cNvPr id="1" name="Shape 81"/>
        <p:cNvGrpSpPr/>
        <p:nvPr/>
      </p:nvGrpSpPr>
      <p:grpSpPr>
        <a:xfrm>
          <a:off x="0" y="0"/>
          <a:ext cx="0" cy="0"/>
          <a:chOff x="0" y="0"/>
          <a:chExt cx="0" cy="0"/>
        </a:xfrm>
      </p:grpSpPr>
      <p:grpSp>
        <p:nvGrpSpPr>
          <p:cNvPr id="82" name="Google Shape;82;p59"/>
          <p:cNvGrpSpPr/>
          <p:nvPr/>
        </p:nvGrpSpPr>
        <p:grpSpPr>
          <a:xfrm>
            <a:off x="7191542" y="1"/>
            <a:ext cx="5000459" cy="1425992"/>
            <a:chOff x="7191542" y="1"/>
            <a:chExt cx="5000459" cy="1425992"/>
          </a:xfrm>
        </p:grpSpPr>
        <p:pic>
          <p:nvPicPr>
            <p:cNvPr id="83" name="Google Shape;83;p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4" name="Google Shape;84;p59"/>
            <p:cNvGrpSpPr/>
            <p:nvPr/>
          </p:nvGrpSpPr>
          <p:grpSpPr>
            <a:xfrm>
              <a:off x="7191542" y="1"/>
              <a:ext cx="5000459" cy="1425992"/>
              <a:chOff x="7186272" y="0"/>
              <a:chExt cx="5005729" cy="1427495"/>
            </a:xfrm>
          </p:grpSpPr>
          <p:sp>
            <p:nvSpPr>
              <p:cNvPr id="85" name="Google Shape;85;p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6" name="Google Shape;86;p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7" name="Google Shape;87;p5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8" name="Google Shape;88;p59"/>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 name="Google Shape;89;p5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0" name="Google Shape;90;p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1" name="Google Shape;91;p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693.xml><?xml version="1.0" encoding="utf-8"?>
<p:sldLayout xmlns:a="http://schemas.openxmlformats.org/drawingml/2006/main" xmlns:r="http://schemas.openxmlformats.org/officeDocument/2006/relationships" xmlns:p="http://schemas.openxmlformats.org/presentationml/2006/main" matchingName="Divider">
  <p:cSld name="Divider 3">
    <p:bg>
      <p:bgPr>
        <a:solidFill>
          <a:schemeClr val="lt2"/>
        </a:solidFill>
        <a:effectLst/>
      </p:bgPr>
    </p:bg>
    <p:spTree>
      <p:nvGrpSpPr>
        <p:cNvPr id="1" name="Shape 92"/>
        <p:cNvGrpSpPr/>
        <p:nvPr/>
      </p:nvGrpSpPr>
      <p:grpSpPr>
        <a:xfrm>
          <a:off x="0" y="0"/>
          <a:ext cx="0" cy="0"/>
          <a:chOff x="0" y="0"/>
          <a:chExt cx="0" cy="0"/>
        </a:xfrm>
      </p:grpSpPr>
      <p:grpSp>
        <p:nvGrpSpPr>
          <p:cNvPr id="93" name="Google Shape;93;p60"/>
          <p:cNvGrpSpPr/>
          <p:nvPr/>
        </p:nvGrpSpPr>
        <p:grpSpPr>
          <a:xfrm>
            <a:off x="0" y="5020347"/>
            <a:ext cx="12192000" cy="1837653"/>
            <a:chOff x="0" y="5020347"/>
            <a:chExt cx="12192000" cy="1837653"/>
          </a:xfrm>
        </p:grpSpPr>
        <p:sp>
          <p:nvSpPr>
            <p:cNvPr id="94" name="Google Shape;94;p6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5" name="Google Shape;95;p6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6" name="Google Shape;96;p6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7" name="Google Shape;97;p6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98" name="Google Shape;98;p6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9" name="Google Shape;99;p6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694.xml><?xml version="1.0" encoding="utf-8"?>
<p:sldLayout xmlns:a="http://schemas.openxmlformats.org/drawingml/2006/main" xmlns:r="http://schemas.openxmlformats.org/officeDocument/2006/relationships" xmlns:p="http://schemas.openxmlformats.org/presentationml/2006/main" matchingName="Title and Content">
  <p:cSld name="Title and Content 4">
    <p:spTree>
      <p:nvGrpSpPr>
        <p:cNvPr id="1" name="Shape 100"/>
        <p:cNvGrpSpPr/>
        <p:nvPr/>
      </p:nvGrpSpPr>
      <p:grpSpPr>
        <a:xfrm>
          <a:off x="0" y="0"/>
          <a:ext cx="0" cy="0"/>
          <a:chOff x="0" y="0"/>
          <a:chExt cx="0" cy="0"/>
        </a:xfrm>
      </p:grpSpPr>
      <p:grpSp>
        <p:nvGrpSpPr>
          <p:cNvPr id="101" name="Google Shape;101;p61"/>
          <p:cNvGrpSpPr/>
          <p:nvPr/>
        </p:nvGrpSpPr>
        <p:grpSpPr>
          <a:xfrm>
            <a:off x="7191542" y="1"/>
            <a:ext cx="5000459" cy="1425992"/>
            <a:chOff x="7191542" y="1"/>
            <a:chExt cx="5000459" cy="1425992"/>
          </a:xfrm>
        </p:grpSpPr>
        <p:pic>
          <p:nvPicPr>
            <p:cNvPr id="102" name="Google Shape;102;p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3" name="Google Shape;103;p61"/>
            <p:cNvGrpSpPr/>
            <p:nvPr/>
          </p:nvGrpSpPr>
          <p:grpSpPr>
            <a:xfrm>
              <a:off x="7191542" y="1"/>
              <a:ext cx="5000459" cy="1425992"/>
              <a:chOff x="7186272" y="0"/>
              <a:chExt cx="5005729" cy="1427495"/>
            </a:xfrm>
          </p:grpSpPr>
          <p:sp>
            <p:nvSpPr>
              <p:cNvPr id="104" name="Google Shape;104;p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5" name="Google Shape;105;p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6" name="Google Shape;106;p6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 name="Google Shape;107;p6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8" name="Google Shape;108;p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9" name="Google Shape;109;p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0" name="Google Shape;110;p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695.xml><?xml version="1.0" encoding="utf-8"?>
<p:sldLayout xmlns:a="http://schemas.openxmlformats.org/drawingml/2006/main" xmlns:r="http://schemas.openxmlformats.org/officeDocument/2006/relationships" xmlns:p="http://schemas.openxmlformats.org/presentationml/2006/main" matchingName="Title and Content">
  <p:cSld name="Title and Content 5">
    <p:spTree>
      <p:nvGrpSpPr>
        <p:cNvPr id="1" name="Shape 111"/>
        <p:cNvGrpSpPr/>
        <p:nvPr/>
      </p:nvGrpSpPr>
      <p:grpSpPr>
        <a:xfrm>
          <a:off x="0" y="0"/>
          <a:ext cx="0" cy="0"/>
          <a:chOff x="0" y="0"/>
          <a:chExt cx="0" cy="0"/>
        </a:xfrm>
      </p:grpSpPr>
      <p:grpSp>
        <p:nvGrpSpPr>
          <p:cNvPr id="112" name="Google Shape;112;p62"/>
          <p:cNvGrpSpPr/>
          <p:nvPr/>
        </p:nvGrpSpPr>
        <p:grpSpPr>
          <a:xfrm>
            <a:off x="7191542" y="1"/>
            <a:ext cx="5000459" cy="1425992"/>
            <a:chOff x="7191542" y="1"/>
            <a:chExt cx="5000459" cy="1425992"/>
          </a:xfrm>
        </p:grpSpPr>
        <p:pic>
          <p:nvPicPr>
            <p:cNvPr id="113" name="Google Shape;113;p6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4" name="Google Shape;114;p62"/>
            <p:cNvGrpSpPr/>
            <p:nvPr/>
          </p:nvGrpSpPr>
          <p:grpSpPr>
            <a:xfrm>
              <a:off x="7191542" y="1"/>
              <a:ext cx="5000459" cy="1425992"/>
              <a:chOff x="7186272" y="0"/>
              <a:chExt cx="5005729" cy="1427495"/>
            </a:xfrm>
          </p:grpSpPr>
          <p:sp>
            <p:nvSpPr>
              <p:cNvPr id="115" name="Google Shape;115;p6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6" name="Google Shape;116;p6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7" name="Google Shape;117;p6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8" name="Google Shape;118;p6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9" name="Google Shape;119;p6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0" name="Google Shape;120;p6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1" name="Google Shape;121;p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696.xml><?xml version="1.0" encoding="utf-8"?>
<p:sldLayout xmlns:a="http://schemas.openxmlformats.org/drawingml/2006/main" xmlns:r="http://schemas.openxmlformats.org/officeDocument/2006/relationships" xmlns:p="http://schemas.openxmlformats.org/presentationml/2006/main" matchingName="Title and Content">
  <p:cSld name="Title and Content 6">
    <p:spTree>
      <p:nvGrpSpPr>
        <p:cNvPr id="1" name="Shape 122"/>
        <p:cNvGrpSpPr/>
        <p:nvPr/>
      </p:nvGrpSpPr>
      <p:grpSpPr>
        <a:xfrm>
          <a:off x="0" y="0"/>
          <a:ext cx="0" cy="0"/>
          <a:chOff x="0" y="0"/>
          <a:chExt cx="0" cy="0"/>
        </a:xfrm>
      </p:grpSpPr>
      <p:grpSp>
        <p:nvGrpSpPr>
          <p:cNvPr id="123" name="Google Shape;123;p65"/>
          <p:cNvGrpSpPr/>
          <p:nvPr/>
        </p:nvGrpSpPr>
        <p:grpSpPr>
          <a:xfrm>
            <a:off x="7191542" y="1"/>
            <a:ext cx="5000459" cy="1425992"/>
            <a:chOff x="7191542" y="1"/>
            <a:chExt cx="5000459" cy="1425992"/>
          </a:xfrm>
        </p:grpSpPr>
        <p:pic>
          <p:nvPicPr>
            <p:cNvPr id="124" name="Google Shape;124;p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5" name="Google Shape;125;p65"/>
            <p:cNvGrpSpPr/>
            <p:nvPr/>
          </p:nvGrpSpPr>
          <p:grpSpPr>
            <a:xfrm>
              <a:off x="7191542" y="1"/>
              <a:ext cx="5000459" cy="1425992"/>
              <a:chOff x="7186272" y="0"/>
              <a:chExt cx="5005729" cy="1427495"/>
            </a:xfrm>
          </p:grpSpPr>
          <p:sp>
            <p:nvSpPr>
              <p:cNvPr id="126" name="Google Shape;126;p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7" name="Google Shape;127;p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28" name="Google Shape;128;p6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 name="Google Shape;129;p6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 name="Google Shape;130;p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1" name="Google Shape;131;p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2" name="Google Shape;132;p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697.xml><?xml version="1.0" encoding="utf-8"?>
<p:sldLayout xmlns:a="http://schemas.openxmlformats.org/drawingml/2006/main" xmlns:r="http://schemas.openxmlformats.org/officeDocument/2006/relationships" xmlns:p="http://schemas.openxmlformats.org/presentationml/2006/main" matchingName="Cover">
  <p:cSld name="Cover 2">
    <p:spTree>
      <p:nvGrpSpPr>
        <p:cNvPr id="1" name="Shape 133"/>
        <p:cNvGrpSpPr/>
        <p:nvPr/>
      </p:nvGrpSpPr>
      <p:grpSpPr>
        <a:xfrm>
          <a:off x="0" y="0"/>
          <a:ext cx="0" cy="0"/>
          <a:chOff x="0" y="0"/>
          <a:chExt cx="0" cy="0"/>
        </a:xfrm>
      </p:grpSpPr>
      <p:sp>
        <p:nvSpPr>
          <p:cNvPr id="134" name="Google Shape;134;p6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5" name="Google Shape;135;p6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6" name="Google Shape;136;p6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37" name="Google Shape;137;p68"/>
          <p:cNvSpPr>
            <a:spLocks noGrp="1"/>
          </p:cNvSpPr>
          <p:nvPr>
            <p:ph type="pic" idx="2"/>
          </p:nvPr>
        </p:nvSpPr>
        <p:spPr>
          <a:xfrm>
            <a:off x="7118684" y="233915"/>
            <a:ext cx="5073316" cy="5943600"/>
          </a:xfrm>
          <a:prstGeom prst="rect">
            <a:avLst/>
          </a:prstGeom>
          <a:noFill/>
          <a:ln>
            <a:noFill/>
          </a:ln>
        </p:spPr>
      </p:sp>
      <p:grpSp>
        <p:nvGrpSpPr>
          <p:cNvPr id="138" name="Google Shape;138;p68"/>
          <p:cNvGrpSpPr/>
          <p:nvPr/>
        </p:nvGrpSpPr>
        <p:grpSpPr>
          <a:xfrm>
            <a:off x="0" y="5020348"/>
            <a:ext cx="12192000" cy="1837653"/>
            <a:chOff x="0" y="5020348"/>
            <a:chExt cx="12192000" cy="1837653"/>
          </a:xfrm>
        </p:grpSpPr>
        <p:sp>
          <p:nvSpPr>
            <p:cNvPr id="139" name="Google Shape;139;p6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0" name="Google Shape;140;p6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41" name="Google Shape;141;p6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698.xml><?xml version="1.0" encoding="utf-8"?>
<p:sldLayout xmlns:a="http://schemas.openxmlformats.org/drawingml/2006/main" xmlns:r="http://schemas.openxmlformats.org/officeDocument/2006/relationships" xmlns:p="http://schemas.openxmlformats.org/presentationml/2006/main" matchingName="Divider">
  <p:cSld name="Divider 4">
    <p:bg>
      <p:bgPr>
        <a:solidFill>
          <a:schemeClr val="lt2"/>
        </a:solidFill>
        <a:effectLst/>
      </p:bgPr>
    </p:bg>
    <p:spTree>
      <p:nvGrpSpPr>
        <p:cNvPr id="1" name="Shape 142"/>
        <p:cNvGrpSpPr/>
        <p:nvPr/>
      </p:nvGrpSpPr>
      <p:grpSpPr>
        <a:xfrm>
          <a:off x="0" y="0"/>
          <a:ext cx="0" cy="0"/>
          <a:chOff x="0" y="0"/>
          <a:chExt cx="0" cy="0"/>
        </a:xfrm>
      </p:grpSpPr>
      <p:grpSp>
        <p:nvGrpSpPr>
          <p:cNvPr id="143" name="Google Shape;143;p69"/>
          <p:cNvGrpSpPr/>
          <p:nvPr/>
        </p:nvGrpSpPr>
        <p:grpSpPr>
          <a:xfrm>
            <a:off x="0" y="5020347"/>
            <a:ext cx="12192000" cy="1837653"/>
            <a:chOff x="0" y="5020347"/>
            <a:chExt cx="12192000" cy="1837653"/>
          </a:xfrm>
        </p:grpSpPr>
        <p:sp>
          <p:nvSpPr>
            <p:cNvPr id="144" name="Google Shape;144;p6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5" name="Google Shape;145;p6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6" name="Google Shape;146;p6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47" name="Google Shape;147;p6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48" name="Google Shape;148;p6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9" name="Google Shape;149;p6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699.xml><?xml version="1.0" encoding="utf-8"?>
<p:sldLayout xmlns:a="http://schemas.openxmlformats.org/drawingml/2006/main" xmlns:r="http://schemas.openxmlformats.org/officeDocument/2006/relationships" xmlns:p="http://schemas.openxmlformats.org/presentationml/2006/main" matchingName="Photo Slide">
  <p:cSld name="Photo Slide">
    <p:spTree>
      <p:nvGrpSpPr>
        <p:cNvPr id="1" name="Shape 150"/>
        <p:cNvGrpSpPr/>
        <p:nvPr/>
      </p:nvGrpSpPr>
      <p:grpSpPr>
        <a:xfrm>
          <a:off x="0" y="0"/>
          <a:ext cx="0" cy="0"/>
          <a:chOff x="0" y="0"/>
          <a:chExt cx="0" cy="0"/>
        </a:xfrm>
      </p:grpSpPr>
      <p:sp>
        <p:nvSpPr>
          <p:cNvPr id="151" name="Google Shape;151;p7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52" name="Google Shape;152;p7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53" name="Google Shape;153;p70"/>
          <p:cNvGrpSpPr/>
          <p:nvPr/>
        </p:nvGrpSpPr>
        <p:grpSpPr>
          <a:xfrm>
            <a:off x="0" y="5379426"/>
            <a:ext cx="2807368" cy="753891"/>
            <a:chOff x="0" y="5379426"/>
            <a:chExt cx="2807368" cy="753891"/>
          </a:xfrm>
        </p:grpSpPr>
        <p:sp>
          <p:nvSpPr>
            <p:cNvPr id="154" name="Google Shape;154;p7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5" name="Google Shape;155;p7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56" name="Google Shape;156;p70"/>
          <p:cNvSpPr>
            <a:spLocks noGrp="1"/>
          </p:cNvSpPr>
          <p:nvPr>
            <p:ph type="pic" idx="2"/>
          </p:nvPr>
        </p:nvSpPr>
        <p:spPr>
          <a:xfrm>
            <a:off x="2807368" y="457202"/>
            <a:ext cx="8915400" cy="5943598"/>
          </a:xfrm>
          <a:prstGeom prst="rect">
            <a:avLst/>
          </a:prstGeom>
          <a:noFill/>
          <a:ln>
            <a:noFill/>
          </a:ln>
        </p:spPr>
      </p:sp>
      <p:pic>
        <p:nvPicPr>
          <p:cNvPr id="157" name="Google Shape;157;p7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3448866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662217939"/>
      </p:ext>
    </p:extLst>
  </p:cSld>
  <p:clrMapOvr>
    <a:masterClrMapping/>
  </p:clrMapOvr>
</p:sldLayout>
</file>

<file path=ppt/slideLayouts/slideLayout700.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158"/>
        <p:cNvGrpSpPr/>
        <p:nvPr/>
      </p:nvGrpSpPr>
      <p:grpSpPr>
        <a:xfrm>
          <a:off x="0" y="0"/>
          <a:ext cx="0" cy="0"/>
          <a:chOff x="0" y="0"/>
          <a:chExt cx="0" cy="0"/>
        </a:xfrm>
      </p:grpSpPr>
      <p:sp>
        <p:nvSpPr>
          <p:cNvPr id="159" name="Google Shape;159;p7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0" name="Google Shape;160;p7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1" name="Google Shape;161;p7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 name="Google Shape;162;p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3" name="Google Shape;163;p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4" name="Google Shape;164;p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65" name="Google Shape;165;p71"/>
          <p:cNvGrpSpPr/>
          <p:nvPr/>
        </p:nvGrpSpPr>
        <p:grpSpPr>
          <a:xfrm>
            <a:off x="7191542" y="1"/>
            <a:ext cx="5000459" cy="1425992"/>
            <a:chOff x="7191542" y="1"/>
            <a:chExt cx="5000459" cy="1425992"/>
          </a:xfrm>
        </p:grpSpPr>
        <p:pic>
          <p:nvPicPr>
            <p:cNvPr id="166" name="Google Shape;166;p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7" name="Google Shape;167;p71"/>
            <p:cNvGrpSpPr/>
            <p:nvPr/>
          </p:nvGrpSpPr>
          <p:grpSpPr>
            <a:xfrm>
              <a:off x="7191542" y="1"/>
              <a:ext cx="5000459" cy="1425992"/>
              <a:chOff x="7186272" y="0"/>
              <a:chExt cx="5005729" cy="1427495"/>
            </a:xfrm>
          </p:grpSpPr>
          <p:sp>
            <p:nvSpPr>
              <p:cNvPr id="168" name="Google Shape;168;p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9" name="Google Shape;169;p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70" name="Google Shape;170;p7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701.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171"/>
        <p:cNvGrpSpPr/>
        <p:nvPr/>
      </p:nvGrpSpPr>
      <p:grpSpPr>
        <a:xfrm>
          <a:off x="0" y="0"/>
          <a:ext cx="0" cy="0"/>
          <a:chOff x="0" y="0"/>
          <a:chExt cx="0" cy="0"/>
        </a:xfrm>
      </p:grpSpPr>
      <p:sp>
        <p:nvSpPr>
          <p:cNvPr id="172" name="Google Shape;172;p7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3" name="Google Shape;173;p7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74" name="Google Shape;174;p72"/>
          <p:cNvGrpSpPr/>
          <p:nvPr/>
        </p:nvGrpSpPr>
        <p:grpSpPr>
          <a:xfrm>
            <a:off x="7191542" y="1"/>
            <a:ext cx="5000459" cy="1425992"/>
            <a:chOff x="7191542" y="1"/>
            <a:chExt cx="5000459" cy="1425992"/>
          </a:xfrm>
        </p:grpSpPr>
        <p:pic>
          <p:nvPicPr>
            <p:cNvPr id="175" name="Google Shape;175;p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6" name="Google Shape;176;p72"/>
            <p:cNvGrpSpPr/>
            <p:nvPr/>
          </p:nvGrpSpPr>
          <p:grpSpPr>
            <a:xfrm>
              <a:off x="7191542" y="1"/>
              <a:ext cx="5000459" cy="1425992"/>
              <a:chOff x="7186272" y="0"/>
              <a:chExt cx="5005729" cy="1427495"/>
            </a:xfrm>
          </p:grpSpPr>
          <p:sp>
            <p:nvSpPr>
              <p:cNvPr id="177" name="Google Shape;177;p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8" name="Google Shape;178;p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9" name="Google Shape;179;p7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0" name="Google Shape;180;p7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81" name="Google Shape;181;p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2" name="Google Shape;182;p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02.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183"/>
        <p:cNvGrpSpPr/>
        <p:nvPr/>
      </p:nvGrpSpPr>
      <p:grpSpPr>
        <a:xfrm>
          <a:off x="0" y="0"/>
          <a:ext cx="0" cy="0"/>
          <a:chOff x="0" y="0"/>
          <a:chExt cx="0" cy="0"/>
        </a:xfrm>
      </p:grpSpPr>
      <p:grpSp>
        <p:nvGrpSpPr>
          <p:cNvPr id="184" name="Google Shape;184;p73"/>
          <p:cNvGrpSpPr/>
          <p:nvPr/>
        </p:nvGrpSpPr>
        <p:grpSpPr>
          <a:xfrm>
            <a:off x="7191542" y="1"/>
            <a:ext cx="5000459" cy="1425992"/>
            <a:chOff x="7191542" y="1"/>
            <a:chExt cx="5000459" cy="1425992"/>
          </a:xfrm>
        </p:grpSpPr>
        <p:pic>
          <p:nvPicPr>
            <p:cNvPr id="185" name="Google Shape;185;p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6" name="Google Shape;186;p73"/>
            <p:cNvGrpSpPr/>
            <p:nvPr/>
          </p:nvGrpSpPr>
          <p:grpSpPr>
            <a:xfrm>
              <a:off x="7191542" y="1"/>
              <a:ext cx="5000459" cy="1425992"/>
              <a:chOff x="7186272" y="0"/>
              <a:chExt cx="5005729" cy="1427495"/>
            </a:xfrm>
          </p:grpSpPr>
          <p:sp>
            <p:nvSpPr>
              <p:cNvPr id="187" name="Google Shape;187;p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8" name="Google Shape;188;p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89" name="Google Shape;189;p7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0" name="Google Shape;190;p7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1" name="Google Shape;191;p7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2" name="Google Shape;192;p7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3" name="Google Shape;193;p7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4" name="Google Shape;194;p7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5" name="Google Shape;195;p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6" name="Google Shape;196;p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03.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197"/>
        <p:cNvGrpSpPr/>
        <p:nvPr/>
      </p:nvGrpSpPr>
      <p:grpSpPr>
        <a:xfrm>
          <a:off x="0" y="0"/>
          <a:ext cx="0" cy="0"/>
          <a:chOff x="0" y="0"/>
          <a:chExt cx="0" cy="0"/>
        </a:xfrm>
      </p:grpSpPr>
      <p:grpSp>
        <p:nvGrpSpPr>
          <p:cNvPr id="198" name="Google Shape;198;p74"/>
          <p:cNvGrpSpPr/>
          <p:nvPr/>
        </p:nvGrpSpPr>
        <p:grpSpPr>
          <a:xfrm>
            <a:off x="7191542" y="1"/>
            <a:ext cx="5000459" cy="1425992"/>
            <a:chOff x="7191542" y="1"/>
            <a:chExt cx="5000459" cy="1425992"/>
          </a:xfrm>
        </p:grpSpPr>
        <p:pic>
          <p:nvPicPr>
            <p:cNvPr id="199" name="Google Shape;199;p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0" name="Google Shape;200;p74"/>
            <p:cNvGrpSpPr/>
            <p:nvPr/>
          </p:nvGrpSpPr>
          <p:grpSpPr>
            <a:xfrm>
              <a:off x="7191542" y="1"/>
              <a:ext cx="5000459" cy="1425992"/>
              <a:chOff x="7186272" y="0"/>
              <a:chExt cx="5005729" cy="1427495"/>
            </a:xfrm>
          </p:grpSpPr>
          <p:sp>
            <p:nvSpPr>
              <p:cNvPr id="201" name="Google Shape;201;p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2" name="Google Shape;202;p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3" name="Google Shape;203;p7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4" name="Google Shape;204;p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05" name="Google Shape;205;p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6" name="Google Shape;206;p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04.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207"/>
        <p:cNvGrpSpPr/>
        <p:nvPr/>
      </p:nvGrpSpPr>
      <p:grpSpPr>
        <a:xfrm>
          <a:off x="0" y="0"/>
          <a:ext cx="0" cy="0"/>
          <a:chOff x="0" y="0"/>
          <a:chExt cx="0" cy="0"/>
        </a:xfrm>
      </p:grpSpPr>
      <p:grpSp>
        <p:nvGrpSpPr>
          <p:cNvPr id="208" name="Google Shape;208;p75"/>
          <p:cNvGrpSpPr/>
          <p:nvPr/>
        </p:nvGrpSpPr>
        <p:grpSpPr>
          <a:xfrm>
            <a:off x="0" y="0"/>
            <a:ext cx="12192000" cy="2148830"/>
            <a:chOff x="0" y="0"/>
            <a:chExt cx="12192000" cy="2148830"/>
          </a:xfrm>
        </p:grpSpPr>
        <p:sp>
          <p:nvSpPr>
            <p:cNvPr id="209" name="Google Shape;209;p7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0" name="Google Shape;210;p7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11" name="Google Shape;211;p7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2" name="Google Shape;212;p7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3" name="Google Shape;213;p7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14" name="Google Shape;214;p7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15" name="Google Shape;215;p7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05.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216"/>
        <p:cNvGrpSpPr/>
        <p:nvPr/>
      </p:nvGrpSpPr>
      <p:grpSpPr>
        <a:xfrm>
          <a:off x="0" y="0"/>
          <a:ext cx="0" cy="0"/>
          <a:chOff x="0" y="0"/>
          <a:chExt cx="0" cy="0"/>
        </a:xfrm>
      </p:grpSpPr>
      <p:sp>
        <p:nvSpPr>
          <p:cNvPr id="217" name="Google Shape;217;p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18" name="Google Shape;218;p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9" name="Google Shape;219;p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0" name="Google Shape;220;p76"/>
          <p:cNvGrpSpPr/>
          <p:nvPr/>
        </p:nvGrpSpPr>
        <p:grpSpPr>
          <a:xfrm>
            <a:off x="7191542" y="1"/>
            <a:ext cx="5000459" cy="1425992"/>
            <a:chOff x="7191542" y="1"/>
            <a:chExt cx="5000459" cy="1425992"/>
          </a:xfrm>
        </p:grpSpPr>
        <p:pic>
          <p:nvPicPr>
            <p:cNvPr id="221" name="Google Shape;221;p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2" name="Google Shape;222;p76"/>
            <p:cNvGrpSpPr/>
            <p:nvPr/>
          </p:nvGrpSpPr>
          <p:grpSpPr>
            <a:xfrm>
              <a:off x="7191542" y="1"/>
              <a:ext cx="5000459" cy="1425992"/>
              <a:chOff x="7186272" y="0"/>
              <a:chExt cx="5005729" cy="1427495"/>
            </a:xfrm>
          </p:grpSpPr>
          <p:sp>
            <p:nvSpPr>
              <p:cNvPr id="223" name="Google Shape;223;p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4" name="Google Shape;224;p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706.xml><?xml version="1.0" encoding="utf-8"?>
<p:sldLayout xmlns:a="http://schemas.openxmlformats.org/drawingml/2006/main" xmlns:r="http://schemas.openxmlformats.org/officeDocument/2006/relationships" xmlns:p="http://schemas.openxmlformats.org/presentationml/2006/main" matchingName="Cover">
  <p:cSld name="Cover 3">
    <p:spTree>
      <p:nvGrpSpPr>
        <p:cNvPr id="1" name="Shape 225"/>
        <p:cNvGrpSpPr/>
        <p:nvPr/>
      </p:nvGrpSpPr>
      <p:grpSpPr>
        <a:xfrm>
          <a:off x="0" y="0"/>
          <a:ext cx="0" cy="0"/>
          <a:chOff x="0" y="0"/>
          <a:chExt cx="0" cy="0"/>
        </a:xfrm>
      </p:grpSpPr>
      <p:sp>
        <p:nvSpPr>
          <p:cNvPr id="226" name="Google Shape;226;p7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7" name="Google Shape;227;p7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8" name="Google Shape;228;p7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29" name="Google Shape;229;p77"/>
          <p:cNvSpPr>
            <a:spLocks noGrp="1"/>
          </p:cNvSpPr>
          <p:nvPr>
            <p:ph type="pic" idx="2"/>
          </p:nvPr>
        </p:nvSpPr>
        <p:spPr>
          <a:xfrm>
            <a:off x="7118684" y="233915"/>
            <a:ext cx="5073316" cy="5943600"/>
          </a:xfrm>
          <a:prstGeom prst="rect">
            <a:avLst/>
          </a:prstGeom>
          <a:noFill/>
          <a:ln>
            <a:noFill/>
          </a:ln>
        </p:spPr>
      </p:sp>
      <p:grpSp>
        <p:nvGrpSpPr>
          <p:cNvPr id="230" name="Google Shape;230;p77"/>
          <p:cNvGrpSpPr/>
          <p:nvPr/>
        </p:nvGrpSpPr>
        <p:grpSpPr>
          <a:xfrm>
            <a:off x="0" y="5020348"/>
            <a:ext cx="12192000" cy="1837653"/>
            <a:chOff x="0" y="5020348"/>
            <a:chExt cx="12192000" cy="1837653"/>
          </a:xfrm>
        </p:grpSpPr>
        <p:sp>
          <p:nvSpPr>
            <p:cNvPr id="231" name="Google Shape;231;p7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2" name="Google Shape;232;p7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33" name="Google Shape;233;p7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07.xml><?xml version="1.0" encoding="utf-8"?>
<p:sldLayout xmlns:a="http://schemas.openxmlformats.org/drawingml/2006/main" xmlns:r="http://schemas.openxmlformats.org/officeDocument/2006/relationships" xmlns:p="http://schemas.openxmlformats.org/presentationml/2006/main" matchingName="Photo Slide">
  <p:cSld name="Photo Slide 2">
    <p:spTree>
      <p:nvGrpSpPr>
        <p:cNvPr id="1" name="Shape 234"/>
        <p:cNvGrpSpPr/>
        <p:nvPr/>
      </p:nvGrpSpPr>
      <p:grpSpPr>
        <a:xfrm>
          <a:off x="0" y="0"/>
          <a:ext cx="0" cy="0"/>
          <a:chOff x="0" y="0"/>
          <a:chExt cx="0" cy="0"/>
        </a:xfrm>
      </p:grpSpPr>
      <p:sp>
        <p:nvSpPr>
          <p:cNvPr id="235" name="Google Shape;235;p7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36" name="Google Shape;236;p7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37" name="Google Shape;237;p78"/>
          <p:cNvGrpSpPr/>
          <p:nvPr/>
        </p:nvGrpSpPr>
        <p:grpSpPr>
          <a:xfrm>
            <a:off x="0" y="5379426"/>
            <a:ext cx="2807368" cy="753891"/>
            <a:chOff x="0" y="5379426"/>
            <a:chExt cx="2807368" cy="753891"/>
          </a:xfrm>
        </p:grpSpPr>
        <p:sp>
          <p:nvSpPr>
            <p:cNvPr id="238" name="Google Shape;238;p7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39" name="Google Shape;239;p7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40" name="Google Shape;240;p78"/>
          <p:cNvSpPr>
            <a:spLocks noGrp="1"/>
          </p:cNvSpPr>
          <p:nvPr>
            <p:ph type="pic" idx="2"/>
          </p:nvPr>
        </p:nvSpPr>
        <p:spPr>
          <a:xfrm>
            <a:off x="2807368" y="457202"/>
            <a:ext cx="8915400" cy="5943598"/>
          </a:xfrm>
          <a:prstGeom prst="rect">
            <a:avLst/>
          </a:prstGeom>
          <a:noFill/>
          <a:ln>
            <a:noFill/>
          </a:ln>
        </p:spPr>
      </p:sp>
      <p:pic>
        <p:nvPicPr>
          <p:cNvPr id="241" name="Google Shape;241;p7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08.xml><?xml version="1.0" encoding="utf-8"?>
<p:sldLayout xmlns:a="http://schemas.openxmlformats.org/drawingml/2006/main" xmlns:r="http://schemas.openxmlformats.org/officeDocument/2006/relationships" xmlns:p="http://schemas.openxmlformats.org/presentationml/2006/main" matchingName="Quotation">
  <p:cSld name="Quotation 2">
    <p:spTree>
      <p:nvGrpSpPr>
        <p:cNvPr id="1" name="Shape 242"/>
        <p:cNvGrpSpPr/>
        <p:nvPr/>
      </p:nvGrpSpPr>
      <p:grpSpPr>
        <a:xfrm>
          <a:off x="0" y="0"/>
          <a:ext cx="0" cy="0"/>
          <a:chOff x="0" y="0"/>
          <a:chExt cx="0" cy="0"/>
        </a:xfrm>
      </p:grpSpPr>
      <p:sp>
        <p:nvSpPr>
          <p:cNvPr id="243" name="Google Shape;243;p7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4" name="Google Shape;244;p7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5" name="Google Shape;245;p7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6" name="Google Shape;246;p7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47" name="Google Shape;247;p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8" name="Google Shape;248;p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9" name="Google Shape;249;p79"/>
          <p:cNvGrpSpPr/>
          <p:nvPr/>
        </p:nvGrpSpPr>
        <p:grpSpPr>
          <a:xfrm>
            <a:off x="7191542" y="1"/>
            <a:ext cx="5000459" cy="1425992"/>
            <a:chOff x="7191542" y="1"/>
            <a:chExt cx="5000459" cy="1425992"/>
          </a:xfrm>
        </p:grpSpPr>
        <p:pic>
          <p:nvPicPr>
            <p:cNvPr id="250" name="Google Shape;250;p7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1" name="Google Shape;251;p79"/>
            <p:cNvGrpSpPr/>
            <p:nvPr/>
          </p:nvGrpSpPr>
          <p:grpSpPr>
            <a:xfrm>
              <a:off x="7191542" y="1"/>
              <a:ext cx="5000459" cy="1425992"/>
              <a:chOff x="7186272" y="0"/>
              <a:chExt cx="5005729" cy="1427495"/>
            </a:xfrm>
          </p:grpSpPr>
          <p:sp>
            <p:nvSpPr>
              <p:cNvPr id="252" name="Google Shape;252;p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 name="Google Shape;253;p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54" name="Google Shape;254;p7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709.xml><?xml version="1.0" encoding="utf-8"?>
<p:sldLayout xmlns:a="http://schemas.openxmlformats.org/drawingml/2006/main" xmlns:r="http://schemas.openxmlformats.org/officeDocument/2006/relationships" xmlns:p="http://schemas.openxmlformats.org/presentationml/2006/main" matchingName="Title and Content">
  <p:cSld name="Title and Content 7">
    <p:spTree>
      <p:nvGrpSpPr>
        <p:cNvPr id="1" name="Shape 255"/>
        <p:cNvGrpSpPr/>
        <p:nvPr/>
      </p:nvGrpSpPr>
      <p:grpSpPr>
        <a:xfrm>
          <a:off x="0" y="0"/>
          <a:ext cx="0" cy="0"/>
          <a:chOff x="0" y="0"/>
          <a:chExt cx="0" cy="0"/>
        </a:xfrm>
      </p:grpSpPr>
      <p:grpSp>
        <p:nvGrpSpPr>
          <p:cNvPr id="256" name="Google Shape;256;p80"/>
          <p:cNvGrpSpPr/>
          <p:nvPr/>
        </p:nvGrpSpPr>
        <p:grpSpPr>
          <a:xfrm>
            <a:off x="7191542" y="1"/>
            <a:ext cx="5000459" cy="1425992"/>
            <a:chOff x="7191542" y="1"/>
            <a:chExt cx="5000459" cy="1425992"/>
          </a:xfrm>
        </p:grpSpPr>
        <p:pic>
          <p:nvPicPr>
            <p:cNvPr id="257" name="Google Shape;257;p8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8" name="Google Shape;258;p80"/>
            <p:cNvGrpSpPr/>
            <p:nvPr/>
          </p:nvGrpSpPr>
          <p:grpSpPr>
            <a:xfrm>
              <a:off x="7191542" y="1"/>
              <a:ext cx="5000459" cy="1425992"/>
              <a:chOff x="7186272" y="0"/>
              <a:chExt cx="5005729" cy="1427495"/>
            </a:xfrm>
          </p:grpSpPr>
          <p:sp>
            <p:nvSpPr>
              <p:cNvPr id="259" name="Google Shape;259;p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0" name="Google Shape;260;p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61" name="Google Shape;261;p8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2" name="Google Shape;262;p8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3" name="Google Shape;263;p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4" name="Google Shape;264;p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5" name="Google Shape;265;p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0629127"/>
      </p:ext>
    </p:extLst>
  </p:cSld>
  <p:clrMapOvr>
    <a:masterClrMapping/>
  </p:clrMapOvr>
</p:sldLayout>
</file>

<file path=ppt/slideLayouts/slideLayout710.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266"/>
        <p:cNvGrpSpPr/>
        <p:nvPr/>
      </p:nvGrpSpPr>
      <p:grpSpPr>
        <a:xfrm>
          <a:off x="0" y="0"/>
          <a:ext cx="0" cy="0"/>
          <a:chOff x="0" y="0"/>
          <a:chExt cx="0" cy="0"/>
        </a:xfrm>
      </p:grpSpPr>
      <p:sp>
        <p:nvSpPr>
          <p:cNvPr id="267" name="Google Shape;267;p8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8" name="Google Shape;268;p81"/>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69" name="Google Shape;269;p81"/>
          <p:cNvGrpSpPr/>
          <p:nvPr/>
        </p:nvGrpSpPr>
        <p:grpSpPr>
          <a:xfrm>
            <a:off x="7191542" y="1"/>
            <a:ext cx="5000459" cy="1425992"/>
            <a:chOff x="7191542" y="1"/>
            <a:chExt cx="5000459" cy="1425992"/>
          </a:xfrm>
        </p:grpSpPr>
        <p:pic>
          <p:nvPicPr>
            <p:cNvPr id="270" name="Google Shape;270;p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71" name="Google Shape;271;p81"/>
            <p:cNvGrpSpPr/>
            <p:nvPr/>
          </p:nvGrpSpPr>
          <p:grpSpPr>
            <a:xfrm>
              <a:off x="7191542" y="1"/>
              <a:ext cx="5000459" cy="1425992"/>
              <a:chOff x="7186272" y="0"/>
              <a:chExt cx="5005729" cy="1427495"/>
            </a:xfrm>
          </p:grpSpPr>
          <p:sp>
            <p:nvSpPr>
              <p:cNvPr id="272" name="Google Shape;272;p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3" name="Google Shape;273;p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74" name="Google Shape;274;p81"/>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5" name="Google Shape;275;p81"/>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76" name="Google Shape;276;p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7" name="Google Shape;277;p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11.xml><?xml version="1.0" encoding="utf-8"?>
<p:sldLayout xmlns:a="http://schemas.openxmlformats.org/drawingml/2006/main" xmlns:r="http://schemas.openxmlformats.org/officeDocument/2006/relationships" xmlns:p="http://schemas.openxmlformats.org/presentationml/2006/main" matchingName="Comparison">
  <p:cSld name="Comparison">
    <p:spTree>
      <p:nvGrpSpPr>
        <p:cNvPr id="1" name="Shape 278"/>
        <p:cNvGrpSpPr/>
        <p:nvPr/>
      </p:nvGrpSpPr>
      <p:grpSpPr>
        <a:xfrm>
          <a:off x="0" y="0"/>
          <a:ext cx="0" cy="0"/>
          <a:chOff x="0" y="0"/>
          <a:chExt cx="0" cy="0"/>
        </a:xfrm>
      </p:grpSpPr>
      <p:grpSp>
        <p:nvGrpSpPr>
          <p:cNvPr id="279" name="Google Shape;279;p82"/>
          <p:cNvGrpSpPr/>
          <p:nvPr/>
        </p:nvGrpSpPr>
        <p:grpSpPr>
          <a:xfrm>
            <a:off x="7191542" y="1"/>
            <a:ext cx="5000459" cy="1425992"/>
            <a:chOff x="7191542" y="1"/>
            <a:chExt cx="5000459" cy="1425992"/>
          </a:xfrm>
        </p:grpSpPr>
        <p:pic>
          <p:nvPicPr>
            <p:cNvPr id="280" name="Google Shape;280;p8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1" name="Google Shape;281;p82"/>
            <p:cNvGrpSpPr/>
            <p:nvPr/>
          </p:nvGrpSpPr>
          <p:grpSpPr>
            <a:xfrm>
              <a:off x="7191542" y="1"/>
              <a:ext cx="5000459" cy="1425992"/>
              <a:chOff x="7186272" y="0"/>
              <a:chExt cx="5005729" cy="1427495"/>
            </a:xfrm>
          </p:grpSpPr>
          <p:sp>
            <p:nvSpPr>
              <p:cNvPr id="282" name="Google Shape;282;p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3" name="Google Shape;283;p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84" name="Google Shape;284;p8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5" name="Google Shape;285;p82"/>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86" name="Google Shape;286;p82"/>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7" name="Google Shape;287;p8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88" name="Google Shape;288;p8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9" name="Google Shape;289;p8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90" name="Google Shape;290;p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1" name="Google Shape;291;p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1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92"/>
        <p:cNvGrpSpPr/>
        <p:nvPr/>
      </p:nvGrpSpPr>
      <p:grpSpPr>
        <a:xfrm>
          <a:off x="0" y="0"/>
          <a:ext cx="0" cy="0"/>
          <a:chOff x="0" y="0"/>
          <a:chExt cx="0" cy="0"/>
        </a:xfrm>
      </p:grpSpPr>
      <p:grpSp>
        <p:nvGrpSpPr>
          <p:cNvPr id="293" name="Google Shape;293;p83"/>
          <p:cNvGrpSpPr/>
          <p:nvPr/>
        </p:nvGrpSpPr>
        <p:grpSpPr>
          <a:xfrm>
            <a:off x="7191542" y="1"/>
            <a:ext cx="5000459" cy="1425992"/>
            <a:chOff x="7191542" y="1"/>
            <a:chExt cx="5000459" cy="1425992"/>
          </a:xfrm>
        </p:grpSpPr>
        <p:pic>
          <p:nvPicPr>
            <p:cNvPr id="294" name="Google Shape;294;p8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95" name="Google Shape;295;p83"/>
            <p:cNvGrpSpPr/>
            <p:nvPr/>
          </p:nvGrpSpPr>
          <p:grpSpPr>
            <a:xfrm>
              <a:off x="7191542" y="1"/>
              <a:ext cx="5000459" cy="1425992"/>
              <a:chOff x="7186272" y="0"/>
              <a:chExt cx="5005729" cy="1427495"/>
            </a:xfrm>
          </p:grpSpPr>
          <p:sp>
            <p:nvSpPr>
              <p:cNvPr id="296" name="Google Shape;296;p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97" name="Google Shape;297;p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98" name="Google Shape;298;p8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9" name="Google Shape;299;p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00" name="Google Shape;300;p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1" name="Google Shape;301;p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13.xml><?xml version="1.0" encoding="utf-8"?>
<p:sldLayout xmlns:a="http://schemas.openxmlformats.org/drawingml/2006/main" xmlns:r="http://schemas.openxmlformats.org/officeDocument/2006/relationships" xmlns:p="http://schemas.openxmlformats.org/presentationml/2006/main" matchingName="End">
  <p:cSld name="End 2">
    <p:spTree>
      <p:nvGrpSpPr>
        <p:cNvPr id="1" name="Shape 302"/>
        <p:cNvGrpSpPr/>
        <p:nvPr/>
      </p:nvGrpSpPr>
      <p:grpSpPr>
        <a:xfrm>
          <a:off x="0" y="0"/>
          <a:ext cx="0" cy="0"/>
          <a:chOff x="0" y="0"/>
          <a:chExt cx="0" cy="0"/>
        </a:xfrm>
      </p:grpSpPr>
      <p:grpSp>
        <p:nvGrpSpPr>
          <p:cNvPr id="303" name="Google Shape;303;p84"/>
          <p:cNvGrpSpPr/>
          <p:nvPr/>
        </p:nvGrpSpPr>
        <p:grpSpPr>
          <a:xfrm>
            <a:off x="0" y="0"/>
            <a:ext cx="12192000" cy="2148830"/>
            <a:chOff x="0" y="0"/>
            <a:chExt cx="12192000" cy="2148830"/>
          </a:xfrm>
        </p:grpSpPr>
        <p:sp>
          <p:nvSpPr>
            <p:cNvPr id="304" name="Google Shape;304;p8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5" name="Google Shape;305;p8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306" name="Google Shape;306;p84"/>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07" name="Google Shape;307;p84"/>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8" name="Google Shape;308;p8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09" name="Google Shape;309;p84"/>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310" name="Google Shape;310;p84"/>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14.xml><?xml version="1.0" encoding="utf-8"?>
<p:sldLayout xmlns:a="http://schemas.openxmlformats.org/drawingml/2006/main" xmlns:r="http://schemas.openxmlformats.org/officeDocument/2006/relationships" xmlns:p="http://schemas.openxmlformats.org/presentationml/2006/main" matchingName="Blank">
  <p:cSld name="Blank 2">
    <p:spTree>
      <p:nvGrpSpPr>
        <p:cNvPr id="1" name="Shape 311"/>
        <p:cNvGrpSpPr/>
        <p:nvPr/>
      </p:nvGrpSpPr>
      <p:grpSpPr>
        <a:xfrm>
          <a:off x="0" y="0"/>
          <a:ext cx="0" cy="0"/>
          <a:chOff x="0" y="0"/>
          <a:chExt cx="0" cy="0"/>
        </a:xfrm>
      </p:grpSpPr>
      <p:sp>
        <p:nvSpPr>
          <p:cNvPr id="312" name="Google Shape;312;p8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13" name="Google Shape;313;p8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4" name="Google Shape;314;p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15" name="Google Shape;315;p85"/>
          <p:cNvGrpSpPr/>
          <p:nvPr/>
        </p:nvGrpSpPr>
        <p:grpSpPr>
          <a:xfrm>
            <a:off x="7191542" y="1"/>
            <a:ext cx="5000459" cy="1425992"/>
            <a:chOff x="7191542" y="1"/>
            <a:chExt cx="5000459" cy="1425992"/>
          </a:xfrm>
        </p:grpSpPr>
        <p:pic>
          <p:nvPicPr>
            <p:cNvPr id="316" name="Google Shape;316;p8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17" name="Google Shape;317;p85"/>
            <p:cNvGrpSpPr/>
            <p:nvPr/>
          </p:nvGrpSpPr>
          <p:grpSpPr>
            <a:xfrm>
              <a:off x="7191542" y="1"/>
              <a:ext cx="5000459" cy="1425992"/>
              <a:chOff x="7186272" y="0"/>
              <a:chExt cx="5005729" cy="1427495"/>
            </a:xfrm>
          </p:grpSpPr>
          <p:sp>
            <p:nvSpPr>
              <p:cNvPr id="318" name="Google Shape;318;p8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9" name="Google Shape;319;p8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715.xml><?xml version="1.0" encoding="utf-8"?>
<p:sldLayout xmlns:a="http://schemas.openxmlformats.org/drawingml/2006/main" xmlns:r="http://schemas.openxmlformats.org/officeDocument/2006/relationships" xmlns:p="http://schemas.openxmlformats.org/presentationml/2006/main" matchingName="Quotation">
  <p:cSld name="Quotation 3">
    <p:spTree>
      <p:nvGrpSpPr>
        <p:cNvPr id="1" name="Shape 320"/>
        <p:cNvGrpSpPr/>
        <p:nvPr/>
      </p:nvGrpSpPr>
      <p:grpSpPr>
        <a:xfrm>
          <a:off x="0" y="0"/>
          <a:ext cx="0" cy="0"/>
          <a:chOff x="0" y="0"/>
          <a:chExt cx="0" cy="0"/>
        </a:xfrm>
      </p:grpSpPr>
      <p:sp>
        <p:nvSpPr>
          <p:cNvPr id="321" name="Google Shape;321;p8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22" name="Google Shape;322;p8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3" name="Google Shape;323;p8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4" name="Google Shape;324;p8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25" name="Google Shape;325;p8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6" name="Google Shape;326;p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27" name="Google Shape;327;p86"/>
          <p:cNvGrpSpPr/>
          <p:nvPr/>
        </p:nvGrpSpPr>
        <p:grpSpPr>
          <a:xfrm>
            <a:off x="7191542" y="1"/>
            <a:ext cx="5000459" cy="1425992"/>
            <a:chOff x="7191542" y="1"/>
            <a:chExt cx="5000459" cy="1425992"/>
          </a:xfrm>
        </p:grpSpPr>
        <p:pic>
          <p:nvPicPr>
            <p:cNvPr id="328" name="Google Shape;328;p8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9" name="Google Shape;329;p86"/>
            <p:cNvGrpSpPr/>
            <p:nvPr/>
          </p:nvGrpSpPr>
          <p:grpSpPr>
            <a:xfrm>
              <a:off x="7191542" y="1"/>
              <a:ext cx="5000459" cy="1425992"/>
              <a:chOff x="7186272" y="0"/>
              <a:chExt cx="5005729" cy="1427495"/>
            </a:xfrm>
          </p:grpSpPr>
          <p:sp>
            <p:nvSpPr>
              <p:cNvPr id="330" name="Google Shape;330;p8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1" name="Google Shape;331;p8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32" name="Google Shape;332;p8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716.xml><?xml version="1.0" encoding="utf-8"?>
<p:sldLayout xmlns:a="http://schemas.openxmlformats.org/drawingml/2006/main" xmlns:r="http://schemas.openxmlformats.org/officeDocument/2006/relationships" xmlns:p="http://schemas.openxmlformats.org/presentationml/2006/main" matchingName="Quotation">
  <p:cSld name="Quotation 4">
    <p:spTree>
      <p:nvGrpSpPr>
        <p:cNvPr id="1" name="Shape 333"/>
        <p:cNvGrpSpPr/>
        <p:nvPr/>
      </p:nvGrpSpPr>
      <p:grpSpPr>
        <a:xfrm>
          <a:off x="0" y="0"/>
          <a:ext cx="0" cy="0"/>
          <a:chOff x="0" y="0"/>
          <a:chExt cx="0" cy="0"/>
        </a:xfrm>
      </p:grpSpPr>
      <p:sp>
        <p:nvSpPr>
          <p:cNvPr id="334" name="Google Shape;334;p8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35" name="Google Shape;335;p8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6" name="Google Shape;336;p8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7" name="Google Shape;337;p8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38" name="Google Shape;338;p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9" name="Google Shape;339;p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40" name="Google Shape;340;p87"/>
          <p:cNvGrpSpPr/>
          <p:nvPr/>
        </p:nvGrpSpPr>
        <p:grpSpPr>
          <a:xfrm>
            <a:off x="7191542" y="1"/>
            <a:ext cx="5000459" cy="1425992"/>
            <a:chOff x="7191542" y="1"/>
            <a:chExt cx="5000459" cy="1425992"/>
          </a:xfrm>
        </p:grpSpPr>
        <p:pic>
          <p:nvPicPr>
            <p:cNvPr id="341" name="Google Shape;341;p8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42" name="Google Shape;342;p87"/>
            <p:cNvGrpSpPr/>
            <p:nvPr/>
          </p:nvGrpSpPr>
          <p:grpSpPr>
            <a:xfrm>
              <a:off x="7191542" y="1"/>
              <a:ext cx="5000459" cy="1425992"/>
              <a:chOff x="7186272" y="0"/>
              <a:chExt cx="5005729" cy="1427495"/>
            </a:xfrm>
          </p:grpSpPr>
          <p:sp>
            <p:nvSpPr>
              <p:cNvPr id="343" name="Google Shape;343;p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44" name="Google Shape;344;p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45" name="Google Shape;345;p8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matchingName="Cover">
  <p:cSld name="Cover 4">
    <p:spTree>
      <p:nvGrpSpPr>
        <p:cNvPr id="1" name="Shape 346"/>
        <p:cNvGrpSpPr/>
        <p:nvPr/>
      </p:nvGrpSpPr>
      <p:grpSpPr>
        <a:xfrm>
          <a:off x="0" y="0"/>
          <a:ext cx="0" cy="0"/>
          <a:chOff x="0" y="0"/>
          <a:chExt cx="0" cy="0"/>
        </a:xfrm>
      </p:grpSpPr>
      <p:sp>
        <p:nvSpPr>
          <p:cNvPr id="347" name="Google Shape;347;p8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48" name="Google Shape;348;p8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9" name="Google Shape;349;p8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50" name="Google Shape;350;p88"/>
          <p:cNvSpPr>
            <a:spLocks noGrp="1"/>
          </p:cNvSpPr>
          <p:nvPr>
            <p:ph type="pic" idx="2"/>
          </p:nvPr>
        </p:nvSpPr>
        <p:spPr>
          <a:xfrm>
            <a:off x="7118684" y="233915"/>
            <a:ext cx="5073316" cy="5943600"/>
          </a:xfrm>
          <a:prstGeom prst="rect">
            <a:avLst/>
          </a:prstGeom>
          <a:noFill/>
          <a:ln>
            <a:noFill/>
          </a:ln>
        </p:spPr>
      </p:sp>
      <p:grpSp>
        <p:nvGrpSpPr>
          <p:cNvPr id="351" name="Google Shape;351;p88"/>
          <p:cNvGrpSpPr/>
          <p:nvPr/>
        </p:nvGrpSpPr>
        <p:grpSpPr>
          <a:xfrm>
            <a:off x="0" y="5020348"/>
            <a:ext cx="12192000" cy="1837653"/>
            <a:chOff x="0" y="5020348"/>
            <a:chExt cx="12192000" cy="1837653"/>
          </a:xfrm>
        </p:grpSpPr>
        <p:sp>
          <p:nvSpPr>
            <p:cNvPr id="352" name="Google Shape;352;p8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3" name="Google Shape;353;p8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54" name="Google Shape;354;p8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18.xml><?xml version="1.0" encoding="utf-8"?>
<p:sldLayout xmlns:a="http://schemas.openxmlformats.org/drawingml/2006/main" xmlns:r="http://schemas.openxmlformats.org/officeDocument/2006/relationships" xmlns:p="http://schemas.openxmlformats.org/presentationml/2006/main" matchingName="Divider">
  <p:cSld name="Divider 5">
    <p:bg>
      <p:bgPr>
        <a:solidFill>
          <a:schemeClr val="lt2"/>
        </a:solidFill>
        <a:effectLst/>
      </p:bgPr>
    </p:bg>
    <p:spTree>
      <p:nvGrpSpPr>
        <p:cNvPr id="1" name="Shape 355"/>
        <p:cNvGrpSpPr/>
        <p:nvPr/>
      </p:nvGrpSpPr>
      <p:grpSpPr>
        <a:xfrm>
          <a:off x="0" y="0"/>
          <a:ext cx="0" cy="0"/>
          <a:chOff x="0" y="0"/>
          <a:chExt cx="0" cy="0"/>
        </a:xfrm>
      </p:grpSpPr>
      <p:grpSp>
        <p:nvGrpSpPr>
          <p:cNvPr id="356" name="Google Shape;356;p89"/>
          <p:cNvGrpSpPr/>
          <p:nvPr/>
        </p:nvGrpSpPr>
        <p:grpSpPr>
          <a:xfrm>
            <a:off x="0" y="5020347"/>
            <a:ext cx="12192000" cy="1837653"/>
            <a:chOff x="0" y="5020347"/>
            <a:chExt cx="12192000" cy="1837653"/>
          </a:xfrm>
        </p:grpSpPr>
        <p:sp>
          <p:nvSpPr>
            <p:cNvPr id="357" name="Google Shape;357;p8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8" name="Google Shape;358;p8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9" name="Google Shape;359;p8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60" name="Google Shape;360;p8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61" name="Google Shape;361;p8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2" name="Google Shape;362;p8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matchingName="Photo Slide">
  <p:cSld name="Photo Slide 3">
    <p:spTree>
      <p:nvGrpSpPr>
        <p:cNvPr id="1" name="Shape 363"/>
        <p:cNvGrpSpPr/>
        <p:nvPr/>
      </p:nvGrpSpPr>
      <p:grpSpPr>
        <a:xfrm>
          <a:off x="0" y="0"/>
          <a:ext cx="0" cy="0"/>
          <a:chOff x="0" y="0"/>
          <a:chExt cx="0" cy="0"/>
        </a:xfrm>
      </p:grpSpPr>
      <p:sp>
        <p:nvSpPr>
          <p:cNvPr id="364" name="Google Shape;364;p9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65" name="Google Shape;365;p9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66" name="Google Shape;366;p90"/>
          <p:cNvGrpSpPr/>
          <p:nvPr/>
        </p:nvGrpSpPr>
        <p:grpSpPr>
          <a:xfrm>
            <a:off x="0" y="5379426"/>
            <a:ext cx="2807368" cy="753891"/>
            <a:chOff x="0" y="5379426"/>
            <a:chExt cx="2807368" cy="753891"/>
          </a:xfrm>
        </p:grpSpPr>
        <p:sp>
          <p:nvSpPr>
            <p:cNvPr id="367" name="Google Shape;367;p9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8" name="Google Shape;368;p9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369" name="Google Shape;369;p90"/>
          <p:cNvSpPr>
            <a:spLocks noGrp="1"/>
          </p:cNvSpPr>
          <p:nvPr>
            <p:ph type="pic" idx="2"/>
          </p:nvPr>
        </p:nvSpPr>
        <p:spPr>
          <a:xfrm>
            <a:off x="2807368" y="457202"/>
            <a:ext cx="8915400" cy="5943598"/>
          </a:xfrm>
          <a:prstGeom prst="rect">
            <a:avLst/>
          </a:prstGeom>
          <a:noFill/>
          <a:ln>
            <a:noFill/>
          </a:ln>
        </p:spPr>
      </p:sp>
      <p:pic>
        <p:nvPicPr>
          <p:cNvPr id="370" name="Google Shape;370;p9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732741348"/>
      </p:ext>
    </p:extLst>
  </p:cSld>
  <p:clrMapOvr>
    <a:masterClrMapping/>
  </p:clrMapOvr>
</p:sldLayout>
</file>

<file path=ppt/slideLayouts/slideLayout720.xml><?xml version="1.0" encoding="utf-8"?>
<p:sldLayout xmlns:a="http://schemas.openxmlformats.org/drawingml/2006/main" xmlns:r="http://schemas.openxmlformats.org/officeDocument/2006/relationships" xmlns:p="http://schemas.openxmlformats.org/presentationml/2006/main" matchingName="Quotation">
  <p:cSld name="Quotation 5">
    <p:spTree>
      <p:nvGrpSpPr>
        <p:cNvPr id="1" name="Shape 371"/>
        <p:cNvGrpSpPr/>
        <p:nvPr/>
      </p:nvGrpSpPr>
      <p:grpSpPr>
        <a:xfrm>
          <a:off x="0" y="0"/>
          <a:ext cx="0" cy="0"/>
          <a:chOff x="0" y="0"/>
          <a:chExt cx="0" cy="0"/>
        </a:xfrm>
      </p:grpSpPr>
      <p:sp>
        <p:nvSpPr>
          <p:cNvPr id="372" name="Google Shape;372;p9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73" name="Google Shape;373;p9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4" name="Google Shape;374;p9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5" name="Google Shape;375;p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76" name="Google Shape;376;p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7" name="Google Shape;377;p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78" name="Google Shape;378;p91"/>
          <p:cNvGrpSpPr/>
          <p:nvPr/>
        </p:nvGrpSpPr>
        <p:grpSpPr>
          <a:xfrm>
            <a:off x="7191542" y="1"/>
            <a:ext cx="5000459" cy="1425992"/>
            <a:chOff x="7191542" y="1"/>
            <a:chExt cx="5000459" cy="1425992"/>
          </a:xfrm>
        </p:grpSpPr>
        <p:pic>
          <p:nvPicPr>
            <p:cNvPr id="379" name="Google Shape;379;p9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80" name="Google Shape;380;p91"/>
            <p:cNvGrpSpPr/>
            <p:nvPr/>
          </p:nvGrpSpPr>
          <p:grpSpPr>
            <a:xfrm>
              <a:off x="7191542" y="1"/>
              <a:ext cx="5000459" cy="1425992"/>
              <a:chOff x="7186272" y="0"/>
              <a:chExt cx="5005729" cy="1427495"/>
            </a:xfrm>
          </p:grpSpPr>
          <p:sp>
            <p:nvSpPr>
              <p:cNvPr id="381" name="Google Shape;381;p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82" name="Google Shape;382;p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83" name="Google Shape;383;p9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721.xml><?xml version="1.0" encoding="utf-8"?>
<p:sldLayout xmlns:a="http://schemas.openxmlformats.org/drawingml/2006/main" xmlns:r="http://schemas.openxmlformats.org/officeDocument/2006/relationships" xmlns:p="http://schemas.openxmlformats.org/presentationml/2006/main" matchingName="Two Content">
  <p:cSld name="Two Content 2">
    <p:spTree>
      <p:nvGrpSpPr>
        <p:cNvPr id="1" name="Shape 384"/>
        <p:cNvGrpSpPr/>
        <p:nvPr/>
      </p:nvGrpSpPr>
      <p:grpSpPr>
        <a:xfrm>
          <a:off x="0" y="0"/>
          <a:ext cx="0" cy="0"/>
          <a:chOff x="0" y="0"/>
          <a:chExt cx="0" cy="0"/>
        </a:xfrm>
      </p:grpSpPr>
      <p:sp>
        <p:nvSpPr>
          <p:cNvPr id="385" name="Google Shape;385;p9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6" name="Google Shape;386;p9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87" name="Google Shape;387;p92"/>
          <p:cNvGrpSpPr/>
          <p:nvPr/>
        </p:nvGrpSpPr>
        <p:grpSpPr>
          <a:xfrm>
            <a:off x="7191542" y="1"/>
            <a:ext cx="5000459" cy="1425992"/>
            <a:chOff x="7191542" y="1"/>
            <a:chExt cx="5000459" cy="1425992"/>
          </a:xfrm>
        </p:grpSpPr>
        <p:pic>
          <p:nvPicPr>
            <p:cNvPr id="388" name="Google Shape;388;p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89" name="Google Shape;389;p92"/>
            <p:cNvGrpSpPr/>
            <p:nvPr/>
          </p:nvGrpSpPr>
          <p:grpSpPr>
            <a:xfrm>
              <a:off x="7191542" y="1"/>
              <a:ext cx="5000459" cy="1425992"/>
              <a:chOff x="7186272" y="0"/>
              <a:chExt cx="5005729" cy="1427495"/>
            </a:xfrm>
          </p:grpSpPr>
          <p:sp>
            <p:nvSpPr>
              <p:cNvPr id="390" name="Google Shape;390;p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91" name="Google Shape;391;p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92" name="Google Shape;392;p9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3" name="Google Shape;393;p9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94" name="Google Shape;394;p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95" name="Google Shape;395;p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22.xml><?xml version="1.0" encoding="utf-8"?>
<p:sldLayout xmlns:a="http://schemas.openxmlformats.org/drawingml/2006/main" xmlns:r="http://schemas.openxmlformats.org/officeDocument/2006/relationships" xmlns:p="http://schemas.openxmlformats.org/presentationml/2006/main" matchingName="Comparison">
  <p:cSld name="Comparison 2">
    <p:spTree>
      <p:nvGrpSpPr>
        <p:cNvPr id="1" name="Shape 396"/>
        <p:cNvGrpSpPr/>
        <p:nvPr/>
      </p:nvGrpSpPr>
      <p:grpSpPr>
        <a:xfrm>
          <a:off x="0" y="0"/>
          <a:ext cx="0" cy="0"/>
          <a:chOff x="0" y="0"/>
          <a:chExt cx="0" cy="0"/>
        </a:xfrm>
      </p:grpSpPr>
      <p:grpSp>
        <p:nvGrpSpPr>
          <p:cNvPr id="397" name="Google Shape;397;p93"/>
          <p:cNvGrpSpPr/>
          <p:nvPr/>
        </p:nvGrpSpPr>
        <p:grpSpPr>
          <a:xfrm>
            <a:off x="7191542" y="1"/>
            <a:ext cx="5000459" cy="1425992"/>
            <a:chOff x="7191542" y="1"/>
            <a:chExt cx="5000459" cy="1425992"/>
          </a:xfrm>
        </p:grpSpPr>
        <p:pic>
          <p:nvPicPr>
            <p:cNvPr id="398" name="Google Shape;398;p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99" name="Google Shape;399;p93"/>
            <p:cNvGrpSpPr/>
            <p:nvPr/>
          </p:nvGrpSpPr>
          <p:grpSpPr>
            <a:xfrm>
              <a:off x="7191542" y="1"/>
              <a:ext cx="5000459" cy="1425992"/>
              <a:chOff x="7186272" y="0"/>
              <a:chExt cx="5005729" cy="1427495"/>
            </a:xfrm>
          </p:grpSpPr>
          <p:sp>
            <p:nvSpPr>
              <p:cNvPr id="400" name="Google Shape;400;p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01" name="Google Shape;401;p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02" name="Google Shape;402;p9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3" name="Google Shape;403;p9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04" name="Google Shape;404;p9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5" name="Google Shape;405;p9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06" name="Google Shape;406;p9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7" name="Google Shape;407;p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08" name="Google Shape;408;p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09" name="Google Shape;409;p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23.xml><?xml version="1.0" encoding="utf-8"?>
<p:sldLayout xmlns:a="http://schemas.openxmlformats.org/drawingml/2006/main" xmlns:r="http://schemas.openxmlformats.org/officeDocument/2006/relationships" xmlns:p="http://schemas.openxmlformats.org/presentationml/2006/main" matchingName="Title Only">
  <p:cSld name="Title Only 2">
    <p:spTree>
      <p:nvGrpSpPr>
        <p:cNvPr id="1" name="Shape 410"/>
        <p:cNvGrpSpPr/>
        <p:nvPr/>
      </p:nvGrpSpPr>
      <p:grpSpPr>
        <a:xfrm>
          <a:off x="0" y="0"/>
          <a:ext cx="0" cy="0"/>
          <a:chOff x="0" y="0"/>
          <a:chExt cx="0" cy="0"/>
        </a:xfrm>
      </p:grpSpPr>
      <p:grpSp>
        <p:nvGrpSpPr>
          <p:cNvPr id="411" name="Google Shape;411;p94"/>
          <p:cNvGrpSpPr/>
          <p:nvPr/>
        </p:nvGrpSpPr>
        <p:grpSpPr>
          <a:xfrm>
            <a:off x="7191542" y="1"/>
            <a:ext cx="5000459" cy="1425992"/>
            <a:chOff x="7191542" y="1"/>
            <a:chExt cx="5000459" cy="1425992"/>
          </a:xfrm>
        </p:grpSpPr>
        <p:pic>
          <p:nvPicPr>
            <p:cNvPr id="412" name="Google Shape;412;p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13" name="Google Shape;413;p94"/>
            <p:cNvGrpSpPr/>
            <p:nvPr/>
          </p:nvGrpSpPr>
          <p:grpSpPr>
            <a:xfrm>
              <a:off x="7191542" y="1"/>
              <a:ext cx="5000459" cy="1425992"/>
              <a:chOff x="7186272" y="0"/>
              <a:chExt cx="5005729" cy="1427495"/>
            </a:xfrm>
          </p:grpSpPr>
          <p:sp>
            <p:nvSpPr>
              <p:cNvPr id="414" name="Google Shape;414;p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15" name="Google Shape;415;p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16" name="Google Shape;416;p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7" name="Google Shape;417;p9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18" name="Google Shape;418;p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19" name="Google Shape;419;p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matchingName="End">
  <p:cSld name="End 3">
    <p:spTree>
      <p:nvGrpSpPr>
        <p:cNvPr id="1" name="Shape 420"/>
        <p:cNvGrpSpPr/>
        <p:nvPr/>
      </p:nvGrpSpPr>
      <p:grpSpPr>
        <a:xfrm>
          <a:off x="0" y="0"/>
          <a:ext cx="0" cy="0"/>
          <a:chOff x="0" y="0"/>
          <a:chExt cx="0" cy="0"/>
        </a:xfrm>
      </p:grpSpPr>
      <p:grpSp>
        <p:nvGrpSpPr>
          <p:cNvPr id="421" name="Google Shape;421;p95"/>
          <p:cNvGrpSpPr/>
          <p:nvPr/>
        </p:nvGrpSpPr>
        <p:grpSpPr>
          <a:xfrm>
            <a:off x="0" y="0"/>
            <a:ext cx="12192000" cy="2148830"/>
            <a:chOff x="0" y="0"/>
            <a:chExt cx="12192000" cy="2148830"/>
          </a:xfrm>
        </p:grpSpPr>
        <p:sp>
          <p:nvSpPr>
            <p:cNvPr id="422" name="Google Shape;422;p9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23" name="Google Shape;423;p9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424" name="Google Shape;424;p9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25" name="Google Shape;425;p9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6" name="Google Shape;426;p9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27" name="Google Shape;427;p9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428" name="Google Shape;428;p9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matchingName="Blank">
  <p:cSld name="Blank 3">
    <p:spTree>
      <p:nvGrpSpPr>
        <p:cNvPr id="1" name="Shape 429"/>
        <p:cNvGrpSpPr/>
        <p:nvPr/>
      </p:nvGrpSpPr>
      <p:grpSpPr>
        <a:xfrm>
          <a:off x="0" y="0"/>
          <a:ext cx="0" cy="0"/>
          <a:chOff x="0" y="0"/>
          <a:chExt cx="0" cy="0"/>
        </a:xfrm>
      </p:grpSpPr>
      <p:sp>
        <p:nvSpPr>
          <p:cNvPr id="430" name="Google Shape;430;p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31" name="Google Shape;431;p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32" name="Google Shape;432;p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33" name="Google Shape;433;p96"/>
          <p:cNvGrpSpPr/>
          <p:nvPr/>
        </p:nvGrpSpPr>
        <p:grpSpPr>
          <a:xfrm>
            <a:off x="7191542" y="1"/>
            <a:ext cx="5000459" cy="1425992"/>
            <a:chOff x="7191542" y="1"/>
            <a:chExt cx="5000459" cy="1425992"/>
          </a:xfrm>
        </p:grpSpPr>
        <p:pic>
          <p:nvPicPr>
            <p:cNvPr id="434" name="Google Shape;434;p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35" name="Google Shape;435;p96"/>
            <p:cNvGrpSpPr/>
            <p:nvPr/>
          </p:nvGrpSpPr>
          <p:grpSpPr>
            <a:xfrm>
              <a:off x="7191542" y="1"/>
              <a:ext cx="5000459" cy="1425992"/>
              <a:chOff x="7186272" y="0"/>
              <a:chExt cx="5005729" cy="1427495"/>
            </a:xfrm>
          </p:grpSpPr>
          <p:sp>
            <p:nvSpPr>
              <p:cNvPr id="436" name="Google Shape;436;p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37" name="Google Shape;437;p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matchingName="Cover">
  <p:cSld name="Cover 5">
    <p:spTree>
      <p:nvGrpSpPr>
        <p:cNvPr id="1" name="Shape 438"/>
        <p:cNvGrpSpPr/>
        <p:nvPr/>
      </p:nvGrpSpPr>
      <p:grpSpPr>
        <a:xfrm>
          <a:off x="0" y="0"/>
          <a:ext cx="0" cy="0"/>
          <a:chOff x="0" y="0"/>
          <a:chExt cx="0" cy="0"/>
        </a:xfrm>
      </p:grpSpPr>
      <p:sp>
        <p:nvSpPr>
          <p:cNvPr id="439" name="Google Shape;439;p9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40" name="Google Shape;440;p9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1" name="Google Shape;441;p9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42" name="Google Shape;442;p97"/>
          <p:cNvSpPr>
            <a:spLocks noGrp="1"/>
          </p:cNvSpPr>
          <p:nvPr>
            <p:ph type="pic" idx="2"/>
          </p:nvPr>
        </p:nvSpPr>
        <p:spPr>
          <a:xfrm>
            <a:off x="7118684" y="233915"/>
            <a:ext cx="5073316" cy="5943600"/>
          </a:xfrm>
          <a:prstGeom prst="rect">
            <a:avLst/>
          </a:prstGeom>
          <a:noFill/>
          <a:ln>
            <a:noFill/>
          </a:ln>
        </p:spPr>
      </p:sp>
      <p:grpSp>
        <p:nvGrpSpPr>
          <p:cNvPr id="443" name="Google Shape;443;p97"/>
          <p:cNvGrpSpPr/>
          <p:nvPr/>
        </p:nvGrpSpPr>
        <p:grpSpPr>
          <a:xfrm>
            <a:off x="0" y="5020348"/>
            <a:ext cx="12192000" cy="1837653"/>
            <a:chOff x="0" y="5020348"/>
            <a:chExt cx="12192000" cy="1837653"/>
          </a:xfrm>
        </p:grpSpPr>
        <p:sp>
          <p:nvSpPr>
            <p:cNvPr id="444" name="Google Shape;444;p9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45" name="Google Shape;445;p9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46" name="Google Shape;446;p9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matchingName="Divider">
  <p:cSld name="Divider 6">
    <p:bg>
      <p:bgPr>
        <a:solidFill>
          <a:schemeClr val="lt2"/>
        </a:solidFill>
        <a:effectLst/>
      </p:bgPr>
    </p:bg>
    <p:spTree>
      <p:nvGrpSpPr>
        <p:cNvPr id="1" name="Shape 447"/>
        <p:cNvGrpSpPr/>
        <p:nvPr/>
      </p:nvGrpSpPr>
      <p:grpSpPr>
        <a:xfrm>
          <a:off x="0" y="0"/>
          <a:ext cx="0" cy="0"/>
          <a:chOff x="0" y="0"/>
          <a:chExt cx="0" cy="0"/>
        </a:xfrm>
      </p:grpSpPr>
      <p:grpSp>
        <p:nvGrpSpPr>
          <p:cNvPr id="448" name="Google Shape;448;p98"/>
          <p:cNvGrpSpPr/>
          <p:nvPr/>
        </p:nvGrpSpPr>
        <p:grpSpPr>
          <a:xfrm>
            <a:off x="0" y="5020347"/>
            <a:ext cx="12192000" cy="1837653"/>
            <a:chOff x="0" y="5020347"/>
            <a:chExt cx="12192000" cy="1837653"/>
          </a:xfrm>
        </p:grpSpPr>
        <p:sp>
          <p:nvSpPr>
            <p:cNvPr id="449" name="Google Shape;449;p9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50" name="Google Shape;450;p9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51" name="Google Shape;451;p9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52" name="Google Shape;452;p9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53" name="Google Shape;453;p9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4" name="Google Shape;454;p9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matchingName="Quotation">
  <p:cSld name="Quotation 6">
    <p:spTree>
      <p:nvGrpSpPr>
        <p:cNvPr id="1" name="Shape 455"/>
        <p:cNvGrpSpPr/>
        <p:nvPr/>
      </p:nvGrpSpPr>
      <p:grpSpPr>
        <a:xfrm>
          <a:off x="0" y="0"/>
          <a:ext cx="0" cy="0"/>
          <a:chOff x="0" y="0"/>
          <a:chExt cx="0" cy="0"/>
        </a:xfrm>
      </p:grpSpPr>
      <p:sp>
        <p:nvSpPr>
          <p:cNvPr id="456" name="Google Shape;456;p9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57" name="Google Shape;457;p9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8" name="Google Shape;458;p9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9" name="Google Shape;459;p9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60" name="Google Shape;460;p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61" name="Google Shape;461;p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62" name="Google Shape;462;p99"/>
          <p:cNvGrpSpPr/>
          <p:nvPr/>
        </p:nvGrpSpPr>
        <p:grpSpPr>
          <a:xfrm>
            <a:off x="7191542" y="1"/>
            <a:ext cx="5000459" cy="1425992"/>
            <a:chOff x="7191542" y="1"/>
            <a:chExt cx="5000459" cy="1425992"/>
          </a:xfrm>
        </p:grpSpPr>
        <p:pic>
          <p:nvPicPr>
            <p:cNvPr id="463" name="Google Shape;463;p9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64" name="Google Shape;464;p99"/>
            <p:cNvGrpSpPr/>
            <p:nvPr/>
          </p:nvGrpSpPr>
          <p:grpSpPr>
            <a:xfrm>
              <a:off x="7191542" y="1"/>
              <a:ext cx="5000459" cy="1425992"/>
              <a:chOff x="7186272" y="0"/>
              <a:chExt cx="5005729" cy="1427495"/>
            </a:xfrm>
          </p:grpSpPr>
          <p:sp>
            <p:nvSpPr>
              <p:cNvPr id="465" name="Google Shape;465;p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66" name="Google Shape;466;p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67" name="Google Shape;467;p9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matchingName="Photo Slide">
  <p:cSld name="Photo Slide 4">
    <p:spTree>
      <p:nvGrpSpPr>
        <p:cNvPr id="1" name="Shape 468"/>
        <p:cNvGrpSpPr/>
        <p:nvPr/>
      </p:nvGrpSpPr>
      <p:grpSpPr>
        <a:xfrm>
          <a:off x="0" y="0"/>
          <a:ext cx="0" cy="0"/>
          <a:chOff x="0" y="0"/>
          <a:chExt cx="0" cy="0"/>
        </a:xfrm>
      </p:grpSpPr>
      <p:sp>
        <p:nvSpPr>
          <p:cNvPr id="469" name="Google Shape;469;p10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70" name="Google Shape;470;p10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71" name="Google Shape;471;p100"/>
          <p:cNvGrpSpPr/>
          <p:nvPr/>
        </p:nvGrpSpPr>
        <p:grpSpPr>
          <a:xfrm>
            <a:off x="0" y="5379426"/>
            <a:ext cx="2807368" cy="753891"/>
            <a:chOff x="0" y="5379426"/>
            <a:chExt cx="2807368" cy="753891"/>
          </a:xfrm>
        </p:grpSpPr>
        <p:sp>
          <p:nvSpPr>
            <p:cNvPr id="472" name="Google Shape;472;p10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3" name="Google Shape;473;p10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74" name="Google Shape;474;p100"/>
          <p:cNvSpPr>
            <a:spLocks noGrp="1"/>
          </p:cNvSpPr>
          <p:nvPr>
            <p:ph type="pic" idx="2"/>
          </p:nvPr>
        </p:nvSpPr>
        <p:spPr>
          <a:xfrm>
            <a:off x="2807368" y="457202"/>
            <a:ext cx="8915400" cy="5943598"/>
          </a:xfrm>
          <a:prstGeom prst="rect">
            <a:avLst/>
          </a:prstGeom>
          <a:noFill/>
          <a:ln>
            <a:noFill/>
          </a:ln>
        </p:spPr>
      </p:sp>
      <p:pic>
        <p:nvPicPr>
          <p:cNvPr id="475" name="Google Shape;475;p10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042047047"/>
      </p:ext>
    </p:extLst>
  </p:cSld>
  <p:clrMapOvr>
    <a:masterClrMapping/>
  </p:clrMapOvr>
</p:sldLayout>
</file>

<file path=ppt/slideLayouts/slideLayout730.xml><?xml version="1.0" encoding="utf-8"?>
<p:sldLayout xmlns:a="http://schemas.openxmlformats.org/drawingml/2006/main" xmlns:r="http://schemas.openxmlformats.org/officeDocument/2006/relationships" xmlns:p="http://schemas.openxmlformats.org/presentationml/2006/main" matchingName="Quotation">
  <p:cSld name="Quotation 7">
    <p:spTree>
      <p:nvGrpSpPr>
        <p:cNvPr id="1" name="Shape 476"/>
        <p:cNvGrpSpPr/>
        <p:nvPr/>
      </p:nvGrpSpPr>
      <p:grpSpPr>
        <a:xfrm>
          <a:off x="0" y="0"/>
          <a:ext cx="0" cy="0"/>
          <a:chOff x="0" y="0"/>
          <a:chExt cx="0" cy="0"/>
        </a:xfrm>
      </p:grpSpPr>
      <p:sp>
        <p:nvSpPr>
          <p:cNvPr id="477" name="Google Shape;477;p10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8" name="Google Shape;478;p10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9" name="Google Shape;479;p10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0" name="Google Shape;480;p10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81" name="Google Shape;481;p1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2" name="Google Shape;482;p1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83" name="Google Shape;483;p101"/>
          <p:cNvGrpSpPr/>
          <p:nvPr/>
        </p:nvGrpSpPr>
        <p:grpSpPr>
          <a:xfrm>
            <a:off x="7191542" y="1"/>
            <a:ext cx="5000459" cy="1425992"/>
            <a:chOff x="7191542" y="1"/>
            <a:chExt cx="5000459" cy="1425992"/>
          </a:xfrm>
        </p:grpSpPr>
        <p:pic>
          <p:nvPicPr>
            <p:cNvPr id="484" name="Google Shape;484;p10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85" name="Google Shape;485;p101"/>
            <p:cNvGrpSpPr/>
            <p:nvPr/>
          </p:nvGrpSpPr>
          <p:grpSpPr>
            <a:xfrm>
              <a:off x="7191542" y="1"/>
              <a:ext cx="5000459" cy="1425992"/>
              <a:chOff x="7186272" y="0"/>
              <a:chExt cx="5005729" cy="1427495"/>
            </a:xfrm>
          </p:grpSpPr>
          <p:sp>
            <p:nvSpPr>
              <p:cNvPr id="486" name="Google Shape;486;p1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87" name="Google Shape;487;p1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88" name="Google Shape;488;p10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matchingName="Two Content">
  <p:cSld name="Two Content 3">
    <p:spTree>
      <p:nvGrpSpPr>
        <p:cNvPr id="1" name="Shape 489"/>
        <p:cNvGrpSpPr/>
        <p:nvPr/>
      </p:nvGrpSpPr>
      <p:grpSpPr>
        <a:xfrm>
          <a:off x="0" y="0"/>
          <a:ext cx="0" cy="0"/>
          <a:chOff x="0" y="0"/>
          <a:chExt cx="0" cy="0"/>
        </a:xfrm>
      </p:grpSpPr>
      <p:sp>
        <p:nvSpPr>
          <p:cNvPr id="490" name="Google Shape;490;p10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1" name="Google Shape;491;p10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492" name="Google Shape;492;p102"/>
          <p:cNvGrpSpPr/>
          <p:nvPr/>
        </p:nvGrpSpPr>
        <p:grpSpPr>
          <a:xfrm>
            <a:off x="7191542" y="1"/>
            <a:ext cx="5000459" cy="1425992"/>
            <a:chOff x="7191542" y="1"/>
            <a:chExt cx="5000459" cy="1425992"/>
          </a:xfrm>
        </p:grpSpPr>
        <p:pic>
          <p:nvPicPr>
            <p:cNvPr id="493" name="Google Shape;493;p10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94" name="Google Shape;494;p102"/>
            <p:cNvGrpSpPr/>
            <p:nvPr/>
          </p:nvGrpSpPr>
          <p:grpSpPr>
            <a:xfrm>
              <a:off x="7191542" y="1"/>
              <a:ext cx="5000459" cy="1425992"/>
              <a:chOff x="7186272" y="0"/>
              <a:chExt cx="5005729" cy="1427495"/>
            </a:xfrm>
          </p:grpSpPr>
          <p:sp>
            <p:nvSpPr>
              <p:cNvPr id="495" name="Google Shape;495;p1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96" name="Google Shape;496;p1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97" name="Google Shape;497;p10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8" name="Google Shape;498;p10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99" name="Google Shape;499;p1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00" name="Google Shape;500;p1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matchingName="Comparison">
  <p:cSld name="Comparison 3">
    <p:spTree>
      <p:nvGrpSpPr>
        <p:cNvPr id="1" name="Shape 501"/>
        <p:cNvGrpSpPr/>
        <p:nvPr/>
      </p:nvGrpSpPr>
      <p:grpSpPr>
        <a:xfrm>
          <a:off x="0" y="0"/>
          <a:ext cx="0" cy="0"/>
          <a:chOff x="0" y="0"/>
          <a:chExt cx="0" cy="0"/>
        </a:xfrm>
      </p:grpSpPr>
      <p:grpSp>
        <p:nvGrpSpPr>
          <p:cNvPr id="502" name="Google Shape;502;p103"/>
          <p:cNvGrpSpPr/>
          <p:nvPr/>
        </p:nvGrpSpPr>
        <p:grpSpPr>
          <a:xfrm>
            <a:off x="7191542" y="1"/>
            <a:ext cx="5000459" cy="1425992"/>
            <a:chOff x="7191542" y="1"/>
            <a:chExt cx="5000459" cy="1425992"/>
          </a:xfrm>
        </p:grpSpPr>
        <p:pic>
          <p:nvPicPr>
            <p:cNvPr id="503" name="Google Shape;503;p10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04" name="Google Shape;504;p103"/>
            <p:cNvGrpSpPr/>
            <p:nvPr/>
          </p:nvGrpSpPr>
          <p:grpSpPr>
            <a:xfrm>
              <a:off x="7191542" y="1"/>
              <a:ext cx="5000459" cy="1425992"/>
              <a:chOff x="7186272" y="0"/>
              <a:chExt cx="5005729" cy="1427495"/>
            </a:xfrm>
          </p:grpSpPr>
          <p:sp>
            <p:nvSpPr>
              <p:cNvPr id="505" name="Google Shape;505;p1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06" name="Google Shape;506;p1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07" name="Google Shape;507;p10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8" name="Google Shape;508;p10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09" name="Google Shape;509;p10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0" name="Google Shape;510;p10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11" name="Google Shape;511;p10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2" name="Google Shape;512;p10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13" name="Google Shape;513;p1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14" name="Google Shape;514;p1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matchingName="Title Only">
  <p:cSld name="Title Only 3">
    <p:spTree>
      <p:nvGrpSpPr>
        <p:cNvPr id="1" name="Shape 515"/>
        <p:cNvGrpSpPr/>
        <p:nvPr/>
      </p:nvGrpSpPr>
      <p:grpSpPr>
        <a:xfrm>
          <a:off x="0" y="0"/>
          <a:ext cx="0" cy="0"/>
          <a:chOff x="0" y="0"/>
          <a:chExt cx="0" cy="0"/>
        </a:xfrm>
      </p:grpSpPr>
      <p:grpSp>
        <p:nvGrpSpPr>
          <p:cNvPr id="516" name="Google Shape;516;p104"/>
          <p:cNvGrpSpPr/>
          <p:nvPr/>
        </p:nvGrpSpPr>
        <p:grpSpPr>
          <a:xfrm>
            <a:off x="7191542" y="1"/>
            <a:ext cx="5000459" cy="1425992"/>
            <a:chOff x="7191542" y="1"/>
            <a:chExt cx="5000459" cy="1425992"/>
          </a:xfrm>
        </p:grpSpPr>
        <p:pic>
          <p:nvPicPr>
            <p:cNvPr id="517" name="Google Shape;517;p10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18" name="Google Shape;518;p104"/>
            <p:cNvGrpSpPr/>
            <p:nvPr/>
          </p:nvGrpSpPr>
          <p:grpSpPr>
            <a:xfrm>
              <a:off x="7191542" y="1"/>
              <a:ext cx="5000459" cy="1425992"/>
              <a:chOff x="7186272" y="0"/>
              <a:chExt cx="5005729" cy="1427495"/>
            </a:xfrm>
          </p:grpSpPr>
          <p:sp>
            <p:nvSpPr>
              <p:cNvPr id="519" name="Google Shape;519;p10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0" name="Google Shape;520;p10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21" name="Google Shape;521;p10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2" name="Google Shape;522;p10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23" name="Google Shape;523;p10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4" name="Google Shape;524;p1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matchingName="End">
  <p:cSld name="End 4">
    <p:spTree>
      <p:nvGrpSpPr>
        <p:cNvPr id="1" name="Shape 525"/>
        <p:cNvGrpSpPr/>
        <p:nvPr/>
      </p:nvGrpSpPr>
      <p:grpSpPr>
        <a:xfrm>
          <a:off x="0" y="0"/>
          <a:ext cx="0" cy="0"/>
          <a:chOff x="0" y="0"/>
          <a:chExt cx="0" cy="0"/>
        </a:xfrm>
      </p:grpSpPr>
      <p:grpSp>
        <p:nvGrpSpPr>
          <p:cNvPr id="526" name="Google Shape;526;p105"/>
          <p:cNvGrpSpPr/>
          <p:nvPr/>
        </p:nvGrpSpPr>
        <p:grpSpPr>
          <a:xfrm>
            <a:off x="0" y="0"/>
            <a:ext cx="12192000" cy="2148830"/>
            <a:chOff x="0" y="0"/>
            <a:chExt cx="12192000" cy="2148830"/>
          </a:xfrm>
        </p:grpSpPr>
        <p:sp>
          <p:nvSpPr>
            <p:cNvPr id="527" name="Google Shape;527;p10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8" name="Google Shape;528;p10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529" name="Google Shape;529;p10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30" name="Google Shape;530;p10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31" name="Google Shape;531;p10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32" name="Google Shape;532;p10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533" name="Google Shape;533;p10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35.xml><?xml version="1.0" encoding="utf-8"?>
<p:sldLayout xmlns:a="http://schemas.openxmlformats.org/drawingml/2006/main" xmlns:r="http://schemas.openxmlformats.org/officeDocument/2006/relationships" xmlns:p="http://schemas.openxmlformats.org/presentationml/2006/main" matchingName="Blank">
  <p:cSld name="Blank 4">
    <p:spTree>
      <p:nvGrpSpPr>
        <p:cNvPr id="1" name="Shape 534"/>
        <p:cNvGrpSpPr/>
        <p:nvPr/>
      </p:nvGrpSpPr>
      <p:grpSpPr>
        <a:xfrm>
          <a:off x="0" y="0"/>
          <a:ext cx="0" cy="0"/>
          <a:chOff x="0" y="0"/>
          <a:chExt cx="0" cy="0"/>
        </a:xfrm>
      </p:grpSpPr>
      <p:sp>
        <p:nvSpPr>
          <p:cNvPr id="535" name="Google Shape;535;p10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36" name="Google Shape;536;p1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7" name="Google Shape;537;p1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38" name="Google Shape;538;p106"/>
          <p:cNvGrpSpPr/>
          <p:nvPr/>
        </p:nvGrpSpPr>
        <p:grpSpPr>
          <a:xfrm>
            <a:off x="7191542" y="1"/>
            <a:ext cx="5000459" cy="1425992"/>
            <a:chOff x="7191542" y="1"/>
            <a:chExt cx="5000459" cy="1425992"/>
          </a:xfrm>
        </p:grpSpPr>
        <p:pic>
          <p:nvPicPr>
            <p:cNvPr id="539" name="Google Shape;539;p1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40" name="Google Shape;540;p106"/>
            <p:cNvGrpSpPr/>
            <p:nvPr/>
          </p:nvGrpSpPr>
          <p:grpSpPr>
            <a:xfrm>
              <a:off x="7191542" y="1"/>
              <a:ext cx="5000459" cy="1425992"/>
              <a:chOff x="7186272" y="0"/>
              <a:chExt cx="5005729" cy="1427495"/>
            </a:xfrm>
          </p:grpSpPr>
          <p:sp>
            <p:nvSpPr>
              <p:cNvPr id="541" name="Google Shape;541;p1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42" name="Google Shape;542;p1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736.xml><?xml version="1.0" encoding="utf-8"?>
<p:sldLayout xmlns:a="http://schemas.openxmlformats.org/drawingml/2006/main" xmlns:r="http://schemas.openxmlformats.org/officeDocument/2006/relationships" xmlns:p="http://schemas.openxmlformats.org/presentationml/2006/main" matchingName="Cover B">
  <p:cSld name="Cover B">
    <p:spTree>
      <p:nvGrpSpPr>
        <p:cNvPr id="1" name="Shape 543"/>
        <p:cNvGrpSpPr/>
        <p:nvPr/>
      </p:nvGrpSpPr>
      <p:grpSpPr>
        <a:xfrm>
          <a:off x="0" y="0"/>
          <a:ext cx="0" cy="0"/>
          <a:chOff x="0" y="0"/>
          <a:chExt cx="0" cy="0"/>
        </a:xfrm>
      </p:grpSpPr>
      <p:sp>
        <p:nvSpPr>
          <p:cNvPr id="544" name="Google Shape;544;p107"/>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5" name="Google Shape;545;p107"/>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546" name="Google Shape;546;p107"/>
          <p:cNvGrpSpPr/>
          <p:nvPr/>
        </p:nvGrpSpPr>
        <p:grpSpPr>
          <a:xfrm flipH="1">
            <a:off x="-1" y="1"/>
            <a:ext cx="6418725" cy="1509822"/>
            <a:chOff x="7522541" y="1"/>
            <a:chExt cx="4669459" cy="1098357"/>
          </a:xfrm>
        </p:grpSpPr>
        <p:sp>
          <p:nvSpPr>
            <p:cNvPr id="547" name="Google Shape;547;p107"/>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48" name="Google Shape;548;p107"/>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549" name="Google Shape;549;p107"/>
          <p:cNvPicPr preferRelativeResize="0"/>
          <p:nvPr/>
        </p:nvPicPr>
        <p:blipFill rotWithShape="1">
          <a:blip r:embed="rId2">
            <a:alphaModFix/>
          </a:blip>
          <a:srcRect/>
          <a:stretch/>
        </p:blipFill>
        <p:spPr>
          <a:xfrm>
            <a:off x="513348" y="136525"/>
            <a:ext cx="1945206" cy="879974"/>
          </a:xfrm>
          <a:prstGeom prst="rect">
            <a:avLst/>
          </a:prstGeom>
          <a:noFill/>
          <a:ln>
            <a:noFill/>
          </a:ln>
        </p:spPr>
      </p:pic>
    </p:spTree>
  </p:cSld>
  <p:clrMapOvr>
    <a:masterClrMapping/>
  </p:clrMapOvr>
</p:sldLayout>
</file>

<file path=ppt/slideLayouts/slideLayout737.xml><?xml version="1.0" encoding="utf-8"?>
<p:sldLayout xmlns:a="http://schemas.openxmlformats.org/drawingml/2006/main" xmlns:r="http://schemas.openxmlformats.org/officeDocument/2006/relationships" xmlns:p="http://schemas.openxmlformats.org/presentationml/2006/main" matchingName="Divider">
  <p:cSld name="Divider 7">
    <p:bg>
      <p:bgPr>
        <a:solidFill>
          <a:schemeClr val="lt2"/>
        </a:solidFill>
        <a:effectLst/>
      </p:bgPr>
    </p:bg>
    <p:spTree>
      <p:nvGrpSpPr>
        <p:cNvPr id="1" name="Shape 550"/>
        <p:cNvGrpSpPr/>
        <p:nvPr/>
      </p:nvGrpSpPr>
      <p:grpSpPr>
        <a:xfrm>
          <a:off x="0" y="0"/>
          <a:ext cx="0" cy="0"/>
          <a:chOff x="0" y="0"/>
          <a:chExt cx="0" cy="0"/>
        </a:xfrm>
      </p:grpSpPr>
      <p:grpSp>
        <p:nvGrpSpPr>
          <p:cNvPr id="551" name="Google Shape;551;p108"/>
          <p:cNvGrpSpPr/>
          <p:nvPr/>
        </p:nvGrpSpPr>
        <p:grpSpPr>
          <a:xfrm>
            <a:off x="0" y="5020347"/>
            <a:ext cx="12192000" cy="1837653"/>
            <a:chOff x="0" y="5020347"/>
            <a:chExt cx="12192000" cy="1837653"/>
          </a:xfrm>
        </p:grpSpPr>
        <p:sp>
          <p:nvSpPr>
            <p:cNvPr id="552" name="Google Shape;552;p10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53" name="Google Shape;553;p10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54" name="Google Shape;554;p10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55" name="Google Shape;555;p10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56" name="Google Shape;556;p10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7" name="Google Shape;557;p10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38.xml><?xml version="1.0" encoding="utf-8"?>
<p:sldLayout xmlns:a="http://schemas.openxmlformats.org/drawingml/2006/main" xmlns:r="http://schemas.openxmlformats.org/officeDocument/2006/relationships" xmlns:p="http://schemas.openxmlformats.org/presentationml/2006/main" matchingName="Photo Slide">
  <p:cSld name="Photo Slide 5">
    <p:spTree>
      <p:nvGrpSpPr>
        <p:cNvPr id="1" name="Shape 558"/>
        <p:cNvGrpSpPr/>
        <p:nvPr/>
      </p:nvGrpSpPr>
      <p:grpSpPr>
        <a:xfrm>
          <a:off x="0" y="0"/>
          <a:ext cx="0" cy="0"/>
          <a:chOff x="0" y="0"/>
          <a:chExt cx="0" cy="0"/>
        </a:xfrm>
      </p:grpSpPr>
      <p:sp>
        <p:nvSpPr>
          <p:cNvPr id="559" name="Google Shape;559;p10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60" name="Google Shape;560;p10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61" name="Google Shape;561;p109"/>
          <p:cNvGrpSpPr/>
          <p:nvPr/>
        </p:nvGrpSpPr>
        <p:grpSpPr>
          <a:xfrm>
            <a:off x="0" y="5379426"/>
            <a:ext cx="2807368" cy="753891"/>
            <a:chOff x="0" y="5379426"/>
            <a:chExt cx="2807368" cy="753891"/>
          </a:xfrm>
        </p:grpSpPr>
        <p:sp>
          <p:nvSpPr>
            <p:cNvPr id="562" name="Google Shape;562;p10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63" name="Google Shape;563;p10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564" name="Google Shape;564;p109"/>
          <p:cNvSpPr>
            <a:spLocks noGrp="1"/>
          </p:cNvSpPr>
          <p:nvPr>
            <p:ph type="pic" idx="2"/>
          </p:nvPr>
        </p:nvSpPr>
        <p:spPr>
          <a:xfrm>
            <a:off x="2807368" y="457202"/>
            <a:ext cx="8915400" cy="5943598"/>
          </a:xfrm>
          <a:prstGeom prst="rect">
            <a:avLst/>
          </a:prstGeom>
          <a:noFill/>
          <a:ln>
            <a:noFill/>
          </a:ln>
        </p:spPr>
      </p:sp>
      <p:pic>
        <p:nvPicPr>
          <p:cNvPr id="565" name="Google Shape;565;p109"/>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39.xml><?xml version="1.0" encoding="utf-8"?>
<p:sldLayout xmlns:a="http://schemas.openxmlformats.org/drawingml/2006/main" xmlns:r="http://schemas.openxmlformats.org/officeDocument/2006/relationships" xmlns:p="http://schemas.openxmlformats.org/presentationml/2006/main" matchingName="Cover">
  <p:cSld name="Cover 6">
    <p:spTree>
      <p:nvGrpSpPr>
        <p:cNvPr id="1" name="Shape 566"/>
        <p:cNvGrpSpPr/>
        <p:nvPr/>
      </p:nvGrpSpPr>
      <p:grpSpPr>
        <a:xfrm>
          <a:off x="0" y="0"/>
          <a:ext cx="0" cy="0"/>
          <a:chOff x="0" y="0"/>
          <a:chExt cx="0" cy="0"/>
        </a:xfrm>
      </p:grpSpPr>
      <p:sp>
        <p:nvSpPr>
          <p:cNvPr id="567" name="Google Shape;567;p11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68" name="Google Shape;568;p11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9" name="Google Shape;569;p11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70" name="Google Shape;570;p110"/>
          <p:cNvSpPr>
            <a:spLocks noGrp="1"/>
          </p:cNvSpPr>
          <p:nvPr>
            <p:ph type="pic" idx="2"/>
          </p:nvPr>
        </p:nvSpPr>
        <p:spPr>
          <a:xfrm>
            <a:off x="7118684" y="233915"/>
            <a:ext cx="5073316" cy="5943600"/>
          </a:xfrm>
          <a:prstGeom prst="rect">
            <a:avLst/>
          </a:prstGeom>
          <a:noFill/>
          <a:ln>
            <a:noFill/>
          </a:ln>
        </p:spPr>
      </p:sp>
      <p:grpSp>
        <p:nvGrpSpPr>
          <p:cNvPr id="571" name="Google Shape;571;p110"/>
          <p:cNvGrpSpPr/>
          <p:nvPr/>
        </p:nvGrpSpPr>
        <p:grpSpPr>
          <a:xfrm>
            <a:off x="0" y="5020348"/>
            <a:ext cx="12192000" cy="1837653"/>
            <a:chOff x="0" y="5020348"/>
            <a:chExt cx="12192000" cy="1837653"/>
          </a:xfrm>
        </p:grpSpPr>
        <p:sp>
          <p:nvSpPr>
            <p:cNvPr id="572" name="Google Shape;572;p11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73" name="Google Shape;573;p11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74" name="Google Shape;574;p11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1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51446120"/>
      </p:ext>
    </p:extLst>
  </p:cSld>
  <p:clrMapOvr>
    <a:masterClrMapping/>
  </p:clrMapOvr>
</p:sldLayout>
</file>

<file path=ppt/slideLayouts/slideLayout740.xml><?xml version="1.0" encoding="utf-8"?>
<p:sldLayout xmlns:a="http://schemas.openxmlformats.org/drawingml/2006/main" xmlns:r="http://schemas.openxmlformats.org/officeDocument/2006/relationships" xmlns:p="http://schemas.openxmlformats.org/presentationml/2006/main" matchingName="Title and Content">
  <p:cSld name="Title and Content 8">
    <p:spTree>
      <p:nvGrpSpPr>
        <p:cNvPr id="1" name="Shape 575"/>
        <p:cNvGrpSpPr/>
        <p:nvPr/>
      </p:nvGrpSpPr>
      <p:grpSpPr>
        <a:xfrm>
          <a:off x="0" y="0"/>
          <a:ext cx="0" cy="0"/>
          <a:chOff x="0" y="0"/>
          <a:chExt cx="0" cy="0"/>
        </a:xfrm>
      </p:grpSpPr>
      <p:grpSp>
        <p:nvGrpSpPr>
          <p:cNvPr id="576" name="Google Shape;576;p111"/>
          <p:cNvGrpSpPr/>
          <p:nvPr/>
        </p:nvGrpSpPr>
        <p:grpSpPr>
          <a:xfrm>
            <a:off x="7191542" y="1"/>
            <a:ext cx="5000459" cy="1425992"/>
            <a:chOff x="7191542" y="1"/>
            <a:chExt cx="5000459" cy="1425992"/>
          </a:xfrm>
        </p:grpSpPr>
        <p:pic>
          <p:nvPicPr>
            <p:cNvPr id="577" name="Google Shape;577;p11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78" name="Google Shape;578;p111"/>
            <p:cNvGrpSpPr/>
            <p:nvPr/>
          </p:nvGrpSpPr>
          <p:grpSpPr>
            <a:xfrm>
              <a:off x="7191542" y="1"/>
              <a:ext cx="5000459" cy="1425992"/>
              <a:chOff x="7186272" y="0"/>
              <a:chExt cx="5005729" cy="1427495"/>
            </a:xfrm>
          </p:grpSpPr>
          <p:sp>
            <p:nvSpPr>
              <p:cNvPr id="579" name="Google Shape;579;p1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80" name="Google Shape;580;p1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81" name="Google Shape;581;p11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2" name="Google Shape;582;p11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3" name="Google Shape;583;p1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84" name="Google Shape;584;p1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5" name="Google Shape;585;p1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41.xml><?xml version="1.0" encoding="utf-8"?>
<p:sldLayout xmlns:a="http://schemas.openxmlformats.org/drawingml/2006/main" xmlns:r="http://schemas.openxmlformats.org/officeDocument/2006/relationships" xmlns:p="http://schemas.openxmlformats.org/presentationml/2006/main" matchingName="Two Content">
  <p:cSld name="Two Content 4">
    <p:spTree>
      <p:nvGrpSpPr>
        <p:cNvPr id="1" name="Shape 586"/>
        <p:cNvGrpSpPr/>
        <p:nvPr/>
      </p:nvGrpSpPr>
      <p:grpSpPr>
        <a:xfrm>
          <a:off x="0" y="0"/>
          <a:ext cx="0" cy="0"/>
          <a:chOff x="0" y="0"/>
          <a:chExt cx="0" cy="0"/>
        </a:xfrm>
      </p:grpSpPr>
      <p:sp>
        <p:nvSpPr>
          <p:cNvPr id="587" name="Google Shape;587;p11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8" name="Google Shape;588;p11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589" name="Google Shape;589;p112"/>
          <p:cNvGrpSpPr/>
          <p:nvPr/>
        </p:nvGrpSpPr>
        <p:grpSpPr>
          <a:xfrm>
            <a:off x="7191542" y="1"/>
            <a:ext cx="5000459" cy="1425992"/>
            <a:chOff x="7191542" y="1"/>
            <a:chExt cx="5000459" cy="1425992"/>
          </a:xfrm>
        </p:grpSpPr>
        <p:pic>
          <p:nvPicPr>
            <p:cNvPr id="590" name="Google Shape;590;p1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91" name="Google Shape;591;p112"/>
            <p:cNvGrpSpPr/>
            <p:nvPr/>
          </p:nvGrpSpPr>
          <p:grpSpPr>
            <a:xfrm>
              <a:off x="7191542" y="1"/>
              <a:ext cx="5000459" cy="1425992"/>
              <a:chOff x="7186272" y="0"/>
              <a:chExt cx="5005729" cy="1427495"/>
            </a:xfrm>
          </p:grpSpPr>
          <p:sp>
            <p:nvSpPr>
              <p:cNvPr id="592" name="Google Shape;592;p1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93" name="Google Shape;593;p1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94" name="Google Shape;594;p11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95" name="Google Shape;595;p11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96" name="Google Shape;596;p1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97" name="Google Shape;597;p1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42.xml><?xml version="1.0" encoding="utf-8"?>
<p:sldLayout xmlns:a="http://schemas.openxmlformats.org/drawingml/2006/main" xmlns:r="http://schemas.openxmlformats.org/officeDocument/2006/relationships" xmlns:p="http://schemas.openxmlformats.org/presentationml/2006/main" matchingName="Comparison">
  <p:cSld name="Comparison 4">
    <p:spTree>
      <p:nvGrpSpPr>
        <p:cNvPr id="1" name="Shape 598"/>
        <p:cNvGrpSpPr/>
        <p:nvPr/>
      </p:nvGrpSpPr>
      <p:grpSpPr>
        <a:xfrm>
          <a:off x="0" y="0"/>
          <a:ext cx="0" cy="0"/>
          <a:chOff x="0" y="0"/>
          <a:chExt cx="0" cy="0"/>
        </a:xfrm>
      </p:grpSpPr>
      <p:grpSp>
        <p:nvGrpSpPr>
          <p:cNvPr id="599" name="Google Shape;599;p113"/>
          <p:cNvGrpSpPr/>
          <p:nvPr/>
        </p:nvGrpSpPr>
        <p:grpSpPr>
          <a:xfrm>
            <a:off x="7191542" y="1"/>
            <a:ext cx="5000459" cy="1425992"/>
            <a:chOff x="7191542" y="1"/>
            <a:chExt cx="5000459" cy="1425992"/>
          </a:xfrm>
        </p:grpSpPr>
        <p:pic>
          <p:nvPicPr>
            <p:cNvPr id="600" name="Google Shape;600;p1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1" name="Google Shape;601;p113"/>
            <p:cNvGrpSpPr/>
            <p:nvPr/>
          </p:nvGrpSpPr>
          <p:grpSpPr>
            <a:xfrm>
              <a:off x="7191542" y="1"/>
              <a:ext cx="5000459" cy="1425992"/>
              <a:chOff x="7186272" y="0"/>
              <a:chExt cx="5005729" cy="1427495"/>
            </a:xfrm>
          </p:grpSpPr>
          <p:sp>
            <p:nvSpPr>
              <p:cNvPr id="602" name="Google Shape;602;p1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03" name="Google Shape;603;p1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04" name="Google Shape;604;p11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5" name="Google Shape;605;p11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06" name="Google Shape;606;p11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7" name="Google Shape;607;p11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08" name="Google Shape;608;p11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9" name="Google Shape;609;p1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10" name="Google Shape;610;p1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11" name="Google Shape;611;p1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43.xml><?xml version="1.0" encoding="utf-8"?>
<p:sldLayout xmlns:a="http://schemas.openxmlformats.org/drawingml/2006/main" xmlns:r="http://schemas.openxmlformats.org/officeDocument/2006/relationships" xmlns:p="http://schemas.openxmlformats.org/presentationml/2006/main" matchingName="Title Only">
  <p:cSld name="Title Only 4">
    <p:spTree>
      <p:nvGrpSpPr>
        <p:cNvPr id="1" name="Shape 612"/>
        <p:cNvGrpSpPr/>
        <p:nvPr/>
      </p:nvGrpSpPr>
      <p:grpSpPr>
        <a:xfrm>
          <a:off x="0" y="0"/>
          <a:ext cx="0" cy="0"/>
          <a:chOff x="0" y="0"/>
          <a:chExt cx="0" cy="0"/>
        </a:xfrm>
      </p:grpSpPr>
      <p:grpSp>
        <p:nvGrpSpPr>
          <p:cNvPr id="613" name="Google Shape;613;p114"/>
          <p:cNvGrpSpPr/>
          <p:nvPr/>
        </p:nvGrpSpPr>
        <p:grpSpPr>
          <a:xfrm>
            <a:off x="7191542" y="1"/>
            <a:ext cx="5000459" cy="1425992"/>
            <a:chOff x="7191542" y="1"/>
            <a:chExt cx="5000459" cy="1425992"/>
          </a:xfrm>
        </p:grpSpPr>
        <p:pic>
          <p:nvPicPr>
            <p:cNvPr id="614" name="Google Shape;614;p1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15" name="Google Shape;615;p114"/>
            <p:cNvGrpSpPr/>
            <p:nvPr/>
          </p:nvGrpSpPr>
          <p:grpSpPr>
            <a:xfrm>
              <a:off x="7191542" y="1"/>
              <a:ext cx="5000459" cy="1425992"/>
              <a:chOff x="7186272" y="0"/>
              <a:chExt cx="5005729" cy="1427495"/>
            </a:xfrm>
          </p:grpSpPr>
          <p:sp>
            <p:nvSpPr>
              <p:cNvPr id="616" name="Google Shape;616;p1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17" name="Google Shape;617;p1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18" name="Google Shape;618;p11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19" name="Google Shape;619;p1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20" name="Google Shape;620;p1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1" name="Google Shape;621;p1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matchingName="Cover">
  <p:cSld name="Cover 7">
    <p:spTree>
      <p:nvGrpSpPr>
        <p:cNvPr id="1" name="Shape 622"/>
        <p:cNvGrpSpPr/>
        <p:nvPr/>
      </p:nvGrpSpPr>
      <p:grpSpPr>
        <a:xfrm>
          <a:off x="0" y="0"/>
          <a:ext cx="0" cy="0"/>
          <a:chOff x="0" y="0"/>
          <a:chExt cx="0" cy="0"/>
        </a:xfrm>
      </p:grpSpPr>
      <p:sp>
        <p:nvSpPr>
          <p:cNvPr id="623" name="Google Shape;623;p115"/>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24" name="Google Shape;624;p115"/>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5" name="Google Shape;625;p115"/>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26" name="Google Shape;626;p115"/>
          <p:cNvSpPr>
            <a:spLocks noGrp="1"/>
          </p:cNvSpPr>
          <p:nvPr>
            <p:ph type="pic" idx="2"/>
          </p:nvPr>
        </p:nvSpPr>
        <p:spPr>
          <a:xfrm>
            <a:off x="7118684" y="233915"/>
            <a:ext cx="5073316" cy="5943600"/>
          </a:xfrm>
          <a:prstGeom prst="rect">
            <a:avLst/>
          </a:prstGeom>
          <a:noFill/>
          <a:ln>
            <a:noFill/>
          </a:ln>
        </p:spPr>
      </p:sp>
      <p:grpSp>
        <p:nvGrpSpPr>
          <p:cNvPr id="627" name="Google Shape;627;p115"/>
          <p:cNvGrpSpPr/>
          <p:nvPr/>
        </p:nvGrpSpPr>
        <p:grpSpPr>
          <a:xfrm>
            <a:off x="0" y="5020348"/>
            <a:ext cx="12192000" cy="1837653"/>
            <a:chOff x="0" y="5020348"/>
            <a:chExt cx="12192000" cy="1837653"/>
          </a:xfrm>
        </p:grpSpPr>
        <p:sp>
          <p:nvSpPr>
            <p:cNvPr id="628" name="Google Shape;628;p11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29" name="Google Shape;629;p11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30" name="Google Shape;630;p11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matchingName="Divider">
  <p:cSld name="Divider 8">
    <p:bg>
      <p:bgPr>
        <a:solidFill>
          <a:schemeClr val="lt2"/>
        </a:solidFill>
        <a:effectLst/>
      </p:bgPr>
    </p:bg>
    <p:spTree>
      <p:nvGrpSpPr>
        <p:cNvPr id="1" name="Shape 631"/>
        <p:cNvGrpSpPr/>
        <p:nvPr/>
      </p:nvGrpSpPr>
      <p:grpSpPr>
        <a:xfrm>
          <a:off x="0" y="0"/>
          <a:ext cx="0" cy="0"/>
          <a:chOff x="0" y="0"/>
          <a:chExt cx="0" cy="0"/>
        </a:xfrm>
      </p:grpSpPr>
      <p:grpSp>
        <p:nvGrpSpPr>
          <p:cNvPr id="632" name="Google Shape;632;p116"/>
          <p:cNvGrpSpPr/>
          <p:nvPr/>
        </p:nvGrpSpPr>
        <p:grpSpPr>
          <a:xfrm>
            <a:off x="0" y="5020347"/>
            <a:ext cx="12192000" cy="1837653"/>
            <a:chOff x="0" y="5020347"/>
            <a:chExt cx="12192000" cy="1837653"/>
          </a:xfrm>
        </p:grpSpPr>
        <p:sp>
          <p:nvSpPr>
            <p:cNvPr id="633" name="Google Shape;633;p11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4" name="Google Shape;634;p11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5" name="Google Shape;635;p11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36" name="Google Shape;636;p11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37" name="Google Shape;637;p116"/>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8" name="Google Shape;638;p116"/>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46.xml><?xml version="1.0" encoding="utf-8"?>
<p:sldLayout xmlns:a="http://schemas.openxmlformats.org/drawingml/2006/main" xmlns:r="http://schemas.openxmlformats.org/officeDocument/2006/relationships" xmlns:p="http://schemas.openxmlformats.org/presentationml/2006/main" matchingName="Photo Slide">
  <p:cSld name="Photo Slide 6">
    <p:spTree>
      <p:nvGrpSpPr>
        <p:cNvPr id="1" name="Shape 639"/>
        <p:cNvGrpSpPr/>
        <p:nvPr/>
      </p:nvGrpSpPr>
      <p:grpSpPr>
        <a:xfrm>
          <a:off x="0" y="0"/>
          <a:ext cx="0" cy="0"/>
          <a:chOff x="0" y="0"/>
          <a:chExt cx="0" cy="0"/>
        </a:xfrm>
      </p:grpSpPr>
      <p:sp>
        <p:nvSpPr>
          <p:cNvPr id="640" name="Google Shape;640;p117"/>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41" name="Google Shape;641;p11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42" name="Google Shape;642;p117"/>
          <p:cNvGrpSpPr/>
          <p:nvPr/>
        </p:nvGrpSpPr>
        <p:grpSpPr>
          <a:xfrm>
            <a:off x="0" y="5379426"/>
            <a:ext cx="2807368" cy="753891"/>
            <a:chOff x="0" y="5379426"/>
            <a:chExt cx="2807368" cy="753891"/>
          </a:xfrm>
        </p:grpSpPr>
        <p:sp>
          <p:nvSpPr>
            <p:cNvPr id="643" name="Google Shape;643;p11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44" name="Google Shape;644;p11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645" name="Google Shape;645;p117"/>
          <p:cNvSpPr>
            <a:spLocks noGrp="1"/>
          </p:cNvSpPr>
          <p:nvPr>
            <p:ph type="pic" idx="2"/>
          </p:nvPr>
        </p:nvSpPr>
        <p:spPr>
          <a:xfrm>
            <a:off x="2807368" y="457202"/>
            <a:ext cx="8915400" cy="5943598"/>
          </a:xfrm>
          <a:prstGeom prst="rect">
            <a:avLst/>
          </a:prstGeom>
          <a:noFill/>
          <a:ln>
            <a:noFill/>
          </a:ln>
        </p:spPr>
      </p:sp>
      <p:pic>
        <p:nvPicPr>
          <p:cNvPr id="646" name="Google Shape;646;p117"/>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47.xml><?xml version="1.0" encoding="utf-8"?>
<p:sldLayout xmlns:a="http://schemas.openxmlformats.org/drawingml/2006/main" xmlns:r="http://schemas.openxmlformats.org/officeDocument/2006/relationships" xmlns:p="http://schemas.openxmlformats.org/presentationml/2006/main" matchingName="Quotation">
  <p:cSld name="Quotation 8">
    <p:spTree>
      <p:nvGrpSpPr>
        <p:cNvPr id="1" name="Shape 647"/>
        <p:cNvGrpSpPr/>
        <p:nvPr/>
      </p:nvGrpSpPr>
      <p:grpSpPr>
        <a:xfrm>
          <a:off x="0" y="0"/>
          <a:ext cx="0" cy="0"/>
          <a:chOff x="0" y="0"/>
          <a:chExt cx="0" cy="0"/>
        </a:xfrm>
      </p:grpSpPr>
      <p:sp>
        <p:nvSpPr>
          <p:cNvPr id="648" name="Google Shape;648;p11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49" name="Google Shape;649;p11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0" name="Google Shape;650;p11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1" name="Google Shape;651;p11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52" name="Google Shape;652;p1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3" name="Google Shape;653;p1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54" name="Google Shape;654;p118"/>
          <p:cNvGrpSpPr/>
          <p:nvPr/>
        </p:nvGrpSpPr>
        <p:grpSpPr>
          <a:xfrm>
            <a:off x="7191542" y="1"/>
            <a:ext cx="5000459" cy="1425992"/>
            <a:chOff x="7191542" y="1"/>
            <a:chExt cx="5000459" cy="1425992"/>
          </a:xfrm>
        </p:grpSpPr>
        <p:pic>
          <p:nvPicPr>
            <p:cNvPr id="655" name="Google Shape;655;p1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56" name="Google Shape;656;p118"/>
            <p:cNvGrpSpPr/>
            <p:nvPr/>
          </p:nvGrpSpPr>
          <p:grpSpPr>
            <a:xfrm>
              <a:off x="7191542" y="1"/>
              <a:ext cx="5000459" cy="1425992"/>
              <a:chOff x="7186272" y="0"/>
              <a:chExt cx="5005729" cy="1427495"/>
            </a:xfrm>
          </p:grpSpPr>
          <p:sp>
            <p:nvSpPr>
              <p:cNvPr id="657" name="Google Shape;657;p1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8" name="Google Shape;658;p1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59" name="Google Shape;659;p11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748.xml><?xml version="1.0" encoding="utf-8"?>
<p:sldLayout xmlns:a="http://schemas.openxmlformats.org/drawingml/2006/main" xmlns:r="http://schemas.openxmlformats.org/officeDocument/2006/relationships" xmlns:p="http://schemas.openxmlformats.org/presentationml/2006/main" matchingName="Quotation">
  <p:cSld name="Quotation 9">
    <p:spTree>
      <p:nvGrpSpPr>
        <p:cNvPr id="1" name="Shape 660"/>
        <p:cNvGrpSpPr/>
        <p:nvPr/>
      </p:nvGrpSpPr>
      <p:grpSpPr>
        <a:xfrm>
          <a:off x="0" y="0"/>
          <a:ext cx="0" cy="0"/>
          <a:chOff x="0" y="0"/>
          <a:chExt cx="0" cy="0"/>
        </a:xfrm>
      </p:grpSpPr>
      <p:sp>
        <p:nvSpPr>
          <p:cNvPr id="661" name="Google Shape;661;p11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62" name="Google Shape;662;p11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63" name="Google Shape;663;p11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4" name="Google Shape;664;p11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5" name="Google Shape;665;p1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6" name="Google Shape;666;p1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67" name="Google Shape;667;p119"/>
          <p:cNvGrpSpPr/>
          <p:nvPr/>
        </p:nvGrpSpPr>
        <p:grpSpPr>
          <a:xfrm>
            <a:off x="7191542" y="1"/>
            <a:ext cx="5000459" cy="1425992"/>
            <a:chOff x="7191542" y="1"/>
            <a:chExt cx="5000459" cy="1425992"/>
          </a:xfrm>
        </p:grpSpPr>
        <p:pic>
          <p:nvPicPr>
            <p:cNvPr id="668" name="Google Shape;668;p11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69" name="Google Shape;669;p119"/>
            <p:cNvGrpSpPr/>
            <p:nvPr/>
          </p:nvGrpSpPr>
          <p:grpSpPr>
            <a:xfrm>
              <a:off x="7191542" y="1"/>
              <a:ext cx="5000459" cy="1425992"/>
              <a:chOff x="7186272" y="0"/>
              <a:chExt cx="5005729" cy="1427495"/>
            </a:xfrm>
          </p:grpSpPr>
          <p:sp>
            <p:nvSpPr>
              <p:cNvPr id="670" name="Google Shape;670;p1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1" name="Google Shape;671;p1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72" name="Google Shape;672;p11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749.xml><?xml version="1.0" encoding="utf-8"?>
<p:sldLayout xmlns:a="http://schemas.openxmlformats.org/drawingml/2006/main" xmlns:r="http://schemas.openxmlformats.org/officeDocument/2006/relationships" xmlns:p="http://schemas.openxmlformats.org/presentationml/2006/main" matchingName="Title and Content">
  <p:cSld name="Title and Content 9">
    <p:spTree>
      <p:nvGrpSpPr>
        <p:cNvPr id="1" name="Shape 673"/>
        <p:cNvGrpSpPr/>
        <p:nvPr/>
      </p:nvGrpSpPr>
      <p:grpSpPr>
        <a:xfrm>
          <a:off x="0" y="0"/>
          <a:ext cx="0" cy="0"/>
          <a:chOff x="0" y="0"/>
          <a:chExt cx="0" cy="0"/>
        </a:xfrm>
      </p:grpSpPr>
      <p:grpSp>
        <p:nvGrpSpPr>
          <p:cNvPr id="674" name="Google Shape;674;p120"/>
          <p:cNvGrpSpPr/>
          <p:nvPr/>
        </p:nvGrpSpPr>
        <p:grpSpPr>
          <a:xfrm>
            <a:off x="7191542" y="1"/>
            <a:ext cx="5000459" cy="1425992"/>
            <a:chOff x="7191542" y="1"/>
            <a:chExt cx="5000459" cy="1425992"/>
          </a:xfrm>
        </p:grpSpPr>
        <p:pic>
          <p:nvPicPr>
            <p:cNvPr id="675" name="Google Shape;675;p1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76" name="Google Shape;676;p120"/>
            <p:cNvGrpSpPr/>
            <p:nvPr/>
          </p:nvGrpSpPr>
          <p:grpSpPr>
            <a:xfrm>
              <a:off x="7191542" y="1"/>
              <a:ext cx="5000459" cy="1425992"/>
              <a:chOff x="7186272" y="0"/>
              <a:chExt cx="5005729" cy="1427495"/>
            </a:xfrm>
          </p:grpSpPr>
          <p:sp>
            <p:nvSpPr>
              <p:cNvPr id="677" name="Google Shape;677;p1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8" name="Google Shape;678;p1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79" name="Google Shape;679;p12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80" name="Google Shape;680;p12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1" name="Google Shape;681;p1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82" name="Google Shape;682;p1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3" name="Google Shape;683;p1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32493380"/>
      </p:ext>
    </p:extLst>
  </p:cSld>
  <p:clrMapOvr>
    <a:masterClrMapping/>
  </p:clrMapOvr>
</p:sldLayout>
</file>

<file path=ppt/slideLayouts/slideLayout750.xml><?xml version="1.0" encoding="utf-8"?>
<p:sldLayout xmlns:a="http://schemas.openxmlformats.org/drawingml/2006/main" xmlns:r="http://schemas.openxmlformats.org/officeDocument/2006/relationships" xmlns:p="http://schemas.openxmlformats.org/presentationml/2006/main" matchingName="Two Content">
  <p:cSld name="Two Content 5">
    <p:spTree>
      <p:nvGrpSpPr>
        <p:cNvPr id="1" name="Shape 684"/>
        <p:cNvGrpSpPr/>
        <p:nvPr/>
      </p:nvGrpSpPr>
      <p:grpSpPr>
        <a:xfrm>
          <a:off x="0" y="0"/>
          <a:ext cx="0" cy="0"/>
          <a:chOff x="0" y="0"/>
          <a:chExt cx="0" cy="0"/>
        </a:xfrm>
      </p:grpSpPr>
      <p:sp>
        <p:nvSpPr>
          <p:cNvPr id="685" name="Google Shape;685;p12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86" name="Google Shape;686;p121"/>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87" name="Google Shape;687;p121"/>
          <p:cNvGrpSpPr/>
          <p:nvPr/>
        </p:nvGrpSpPr>
        <p:grpSpPr>
          <a:xfrm>
            <a:off x="7191542" y="1"/>
            <a:ext cx="5000459" cy="1425992"/>
            <a:chOff x="7191542" y="1"/>
            <a:chExt cx="5000459" cy="1425992"/>
          </a:xfrm>
        </p:grpSpPr>
        <p:pic>
          <p:nvPicPr>
            <p:cNvPr id="688" name="Google Shape;688;p1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9" name="Google Shape;689;p121"/>
            <p:cNvGrpSpPr/>
            <p:nvPr/>
          </p:nvGrpSpPr>
          <p:grpSpPr>
            <a:xfrm>
              <a:off x="7191542" y="1"/>
              <a:ext cx="5000459" cy="1425992"/>
              <a:chOff x="7186272" y="0"/>
              <a:chExt cx="5005729" cy="1427495"/>
            </a:xfrm>
          </p:grpSpPr>
          <p:sp>
            <p:nvSpPr>
              <p:cNvPr id="690" name="Google Shape;690;p1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1" name="Google Shape;691;p1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92" name="Google Shape;692;p121"/>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93" name="Google Shape;693;p121"/>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94" name="Google Shape;694;p1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95" name="Google Shape;695;p1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51.xml><?xml version="1.0" encoding="utf-8"?>
<p:sldLayout xmlns:a="http://schemas.openxmlformats.org/drawingml/2006/main" xmlns:r="http://schemas.openxmlformats.org/officeDocument/2006/relationships" xmlns:p="http://schemas.openxmlformats.org/presentationml/2006/main" matchingName="Comparison">
  <p:cSld name="Comparison 5">
    <p:spTree>
      <p:nvGrpSpPr>
        <p:cNvPr id="1" name="Shape 696"/>
        <p:cNvGrpSpPr/>
        <p:nvPr/>
      </p:nvGrpSpPr>
      <p:grpSpPr>
        <a:xfrm>
          <a:off x="0" y="0"/>
          <a:ext cx="0" cy="0"/>
          <a:chOff x="0" y="0"/>
          <a:chExt cx="0" cy="0"/>
        </a:xfrm>
      </p:grpSpPr>
      <p:grpSp>
        <p:nvGrpSpPr>
          <p:cNvPr id="697" name="Google Shape;697;p122"/>
          <p:cNvGrpSpPr/>
          <p:nvPr/>
        </p:nvGrpSpPr>
        <p:grpSpPr>
          <a:xfrm>
            <a:off x="7191542" y="1"/>
            <a:ext cx="5000459" cy="1425992"/>
            <a:chOff x="7191542" y="1"/>
            <a:chExt cx="5000459" cy="1425992"/>
          </a:xfrm>
        </p:grpSpPr>
        <p:pic>
          <p:nvPicPr>
            <p:cNvPr id="698" name="Google Shape;698;p1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99" name="Google Shape;699;p122"/>
            <p:cNvGrpSpPr/>
            <p:nvPr/>
          </p:nvGrpSpPr>
          <p:grpSpPr>
            <a:xfrm>
              <a:off x="7191542" y="1"/>
              <a:ext cx="5000459" cy="1425992"/>
              <a:chOff x="7186272" y="0"/>
              <a:chExt cx="5005729" cy="1427495"/>
            </a:xfrm>
          </p:grpSpPr>
          <p:sp>
            <p:nvSpPr>
              <p:cNvPr id="700" name="Google Shape;700;p1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01" name="Google Shape;701;p1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02" name="Google Shape;702;p12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3" name="Google Shape;703;p122"/>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04" name="Google Shape;704;p122"/>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05" name="Google Shape;705;p12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06" name="Google Shape;706;p12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07" name="Google Shape;707;p12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08" name="Google Shape;708;p1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09" name="Google Shape;709;p1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52.xml><?xml version="1.0" encoding="utf-8"?>
<p:sldLayout xmlns:a="http://schemas.openxmlformats.org/drawingml/2006/main" xmlns:r="http://schemas.openxmlformats.org/officeDocument/2006/relationships" xmlns:p="http://schemas.openxmlformats.org/presentationml/2006/main" matchingName="Title Only">
  <p:cSld name="Title Only 5">
    <p:spTree>
      <p:nvGrpSpPr>
        <p:cNvPr id="1" name="Shape 710"/>
        <p:cNvGrpSpPr/>
        <p:nvPr/>
      </p:nvGrpSpPr>
      <p:grpSpPr>
        <a:xfrm>
          <a:off x="0" y="0"/>
          <a:ext cx="0" cy="0"/>
          <a:chOff x="0" y="0"/>
          <a:chExt cx="0" cy="0"/>
        </a:xfrm>
      </p:grpSpPr>
      <p:grpSp>
        <p:nvGrpSpPr>
          <p:cNvPr id="711" name="Google Shape;711;p123"/>
          <p:cNvGrpSpPr/>
          <p:nvPr/>
        </p:nvGrpSpPr>
        <p:grpSpPr>
          <a:xfrm>
            <a:off x="7191542" y="1"/>
            <a:ext cx="5000459" cy="1425992"/>
            <a:chOff x="7191542" y="1"/>
            <a:chExt cx="5000459" cy="1425992"/>
          </a:xfrm>
        </p:grpSpPr>
        <p:pic>
          <p:nvPicPr>
            <p:cNvPr id="712" name="Google Shape;712;p12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13" name="Google Shape;713;p123"/>
            <p:cNvGrpSpPr/>
            <p:nvPr/>
          </p:nvGrpSpPr>
          <p:grpSpPr>
            <a:xfrm>
              <a:off x="7191542" y="1"/>
              <a:ext cx="5000459" cy="1425992"/>
              <a:chOff x="7186272" y="0"/>
              <a:chExt cx="5005729" cy="1427495"/>
            </a:xfrm>
          </p:grpSpPr>
          <p:sp>
            <p:nvSpPr>
              <p:cNvPr id="714" name="Google Shape;714;p1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15" name="Google Shape;715;p1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16" name="Google Shape;716;p12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7" name="Google Shape;717;p1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18" name="Google Shape;718;p1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19" name="Google Shape;719;p1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53.xml><?xml version="1.0" encoding="utf-8"?>
<p:sldLayout xmlns:a="http://schemas.openxmlformats.org/drawingml/2006/main" xmlns:r="http://schemas.openxmlformats.org/officeDocument/2006/relationships" xmlns:p="http://schemas.openxmlformats.org/presentationml/2006/main" matchingName="End">
  <p:cSld name="End 5">
    <p:spTree>
      <p:nvGrpSpPr>
        <p:cNvPr id="1" name="Shape 720"/>
        <p:cNvGrpSpPr/>
        <p:nvPr/>
      </p:nvGrpSpPr>
      <p:grpSpPr>
        <a:xfrm>
          <a:off x="0" y="0"/>
          <a:ext cx="0" cy="0"/>
          <a:chOff x="0" y="0"/>
          <a:chExt cx="0" cy="0"/>
        </a:xfrm>
      </p:grpSpPr>
      <p:grpSp>
        <p:nvGrpSpPr>
          <p:cNvPr id="721" name="Google Shape;721;p124"/>
          <p:cNvGrpSpPr/>
          <p:nvPr/>
        </p:nvGrpSpPr>
        <p:grpSpPr>
          <a:xfrm>
            <a:off x="0" y="0"/>
            <a:ext cx="12192000" cy="2148830"/>
            <a:chOff x="0" y="0"/>
            <a:chExt cx="12192000" cy="2148830"/>
          </a:xfrm>
        </p:grpSpPr>
        <p:sp>
          <p:nvSpPr>
            <p:cNvPr id="722" name="Google Shape;722;p12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3" name="Google Shape;723;p12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724" name="Google Shape;724;p124"/>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25" name="Google Shape;725;p124"/>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6" name="Google Shape;726;p12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27" name="Google Shape;727;p124"/>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728" name="Google Shape;728;p124"/>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54.xml><?xml version="1.0" encoding="utf-8"?>
<p:sldLayout xmlns:a="http://schemas.openxmlformats.org/drawingml/2006/main" xmlns:r="http://schemas.openxmlformats.org/officeDocument/2006/relationships" xmlns:p="http://schemas.openxmlformats.org/presentationml/2006/main" matchingName="Blank">
  <p:cSld name="Blank 5">
    <p:spTree>
      <p:nvGrpSpPr>
        <p:cNvPr id="1" name="Shape 729"/>
        <p:cNvGrpSpPr/>
        <p:nvPr/>
      </p:nvGrpSpPr>
      <p:grpSpPr>
        <a:xfrm>
          <a:off x="0" y="0"/>
          <a:ext cx="0" cy="0"/>
          <a:chOff x="0" y="0"/>
          <a:chExt cx="0" cy="0"/>
        </a:xfrm>
      </p:grpSpPr>
      <p:sp>
        <p:nvSpPr>
          <p:cNvPr id="730" name="Google Shape;730;p12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31" name="Google Shape;731;p1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2" name="Google Shape;732;p1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33" name="Google Shape;733;p125"/>
          <p:cNvGrpSpPr/>
          <p:nvPr/>
        </p:nvGrpSpPr>
        <p:grpSpPr>
          <a:xfrm>
            <a:off x="7191542" y="1"/>
            <a:ext cx="5000459" cy="1425992"/>
            <a:chOff x="7191542" y="1"/>
            <a:chExt cx="5000459" cy="1425992"/>
          </a:xfrm>
        </p:grpSpPr>
        <p:pic>
          <p:nvPicPr>
            <p:cNvPr id="734" name="Google Shape;734;p1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5" name="Google Shape;735;p125"/>
            <p:cNvGrpSpPr/>
            <p:nvPr/>
          </p:nvGrpSpPr>
          <p:grpSpPr>
            <a:xfrm>
              <a:off x="7191542" y="1"/>
              <a:ext cx="5000459" cy="1425992"/>
              <a:chOff x="7186272" y="0"/>
              <a:chExt cx="5005729" cy="1427495"/>
            </a:xfrm>
          </p:grpSpPr>
          <p:sp>
            <p:nvSpPr>
              <p:cNvPr id="736" name="Google Shape;736;p1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37" name="Google Shape;737;p1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755.xml><?xml version="1.0" encoding="utf-8"?>
<p:sldLayout xmlns:a="http://schemas.openxmlformats.org/drawingml/2006/main" xmlns:r="http://schemas.openxmlformats.org/officeDocument/2006/relationships" xmlns:p="http://schemas.openxmlformats.org/presentationml/2006/main" matchingName="Cover">
  <p:cSld name="Cover 8">
    <p:spTree>
      <p:nvGrpSpPr>
        <p:cNvPr id="1" name="Shape 738"/>
        <p:cNvGrpSpPr/>
        <p:nvPr/>
      </p:nvGrpSpPr>
      <p:grpSpPr>
        <a:xfrm>
          <a:off x="0" y="0"/>
          <a:ext cx="0" cy="0"/>
          <a:chOff x="0" y="0"/>
          <a:chExt cx="0" cy="0"/>
        </a:xfrm>
      </p:grpSpPr>
      <p:sp>
        <p:nvSpPr>
          <p:cNvPr id="739" name="Google Shape;739;p126"/>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40" name="Google Shape;740;p126"/>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41" name="Google Shape;741;p126"/>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42" name="Google Shape;742;p126"/>
          <p:cNvSpPr>
            <a:spLocks noGrp="1"/>
          </p:cNvSpPr>
          <p:nvPr>
            <p:ph type="pic" idx="2"/>
          </p:nvPr>
        </p:nvSpPr>
        <p:spPr>
          <a:xfrm>
            <a:off x="7118684" y="233915"/>
            <a:ext cx="5073316" cy="5943600"/>
          </a:xfrm>
          <a:prstGeom prst="rect">
            <a:avLst/>
          </a:prstGeom>
          <a:noFill/>
          <a:ln>
            <a:noFill/>
          </a:ln>
        </p:spPr>
      </p:sp>
      <p:grpSp>
        <p:nvGrpSpPr>
          <p:cNvPr id="743" name="Google Shape;743;p126"/>
          <p:cNvGrpSpPr/>
          <p:nvPr/>
        </p:nvGrpSpPr>
        <p:grpSpPr>
          <a:xfrm>
            <a:off x="0" y="5020348"/>
            <a:ext cx="12192000" cy="1837653"/>
            <a:chOff x="0" y="5020348"/>
            <a:chExt cx="12192000" cy="1837653"/>
          </a:xfrm>
        </p:grpSpPr>
        <p:sp>
          <p:nvSpPr>
            <p:cNvPr id="744" name="Google Shape;744;p12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45" name="Google Shape;745;p12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746" name="Google Shape;746;p12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56.xml><?xml version="1.0" encoding="utf-8"?>
<p:sldLayout xmlns:a="http://schemas.openxmlformats.org/drawingml/2006/main" xmlns:r="http://schemas.openxmlformats.org/officeDocument/2006/relationships" xmlns:p="http://schemas.openxmlformats.org/presentationml/2006/main" matchingName="Divider">
  <p:cSld name="Divider 9">
    <p:bg>
      <p:bgPr>
        <a:solidFill>
          <a:schemeClr val="lt2"/>
        </a:solidFill>
        <a:effectLst/>
      </p:bgPr>
    </p:bg>
    <p:spTree>
      <p:nvGrpSpPr>
        <p:cNvPr id="1" name="Shape 747"/>
        <p:cNvGrpSpPr/>
        <p:nvPr/>
      </p:nvGrpSpPr>
      <p:grpSpPr>
        <a:xfrm>
          <a:off x="0" y="0"/>
          <a:ext cx="0" cy="0"/>
          <a:chOff x="0" y="0"/>
          <a:chExt cx="0" cy="0"/>
        </a:xfrm>
      </p:grpSpPr>
      <p:grpSp>
        <p:nvGrpSpPr>
          <p:cNvPr id="748" name="Google Shape;748;p127"/>
          <p:cNvGrpSpPr/>
          <p:nvPr/>
        </p:nvGrpSpPr>
        <p:grpSpPr>
          <a:xfrm>
            <a:off x="0" y="5020347"/>
            <a:ext cx="12192000" cy="1837653"/>
            <a:chOff x="0" y="5020347"/>
            <a:chExt cx="12192000" cy="1837653"/>
          </a:xfrm>
        </p:grpSpPr>
        <p:sp>
          <p:nvSpPr>
            <p:cNvPr id="749" name="Google Shape;749;p12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50" name="Google Shape;750;p12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51" name="Google Shape;751;p12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752" name="Google Shape;752;p12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753" name="Google Shape;753;p12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4" name="Google Shape;754;p12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57.xml><?xml version="1.0" encoding="utf-8"?>
<p:sldLayout xmlns:a="http://schemas.openxmlformats.org/drawingml/2006/main" xmlns:r="http://schemas.openxmlformats.org/officeDocument/2006/relationships" xmlns:p="http://schemas.openxmlformats.org/presentationml/2006/main" matchingName="Quotation">
  <p:cSld name="Quotation 10">
    <p:spTree>
      <p:nvGrpSpPr>
        <p:cNvPr id="1" name="Shape 755"/>
        <p:cNvGrpSpPr/>
        <p:nvPr/>
      </p:nvGrpSpPr>
      <p:grpSpPr>
        <a:xfrm>
          <a:off x="0" y="0"/>
          <a:ext cx="0" cy="0"/>
          <a:chOff x="0" y="0"/>
          <a:chExt cx="0" cy="0"/>
        </a:xfrm>
      </p:grpSpPr>
      <p:sp>
        <p:nvSpPr>
          <p:cNvPr id="756" name="Google Shape;756;p12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57" name="Google Shape;757;p12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8" name="Google Shape;758;p12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9" name="Google Shape;759;p12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60" name="Google Shape;760;p1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61" name="Google Shape;761;p1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62" name="Google Shape;762;p128"/>
          <p:cNvGrpSpPr/>
          <p:nvPr/>
        </p:nvGrpSpPr>
        <p:grpSpPr>
          <a:xfrm>
            <a:off x="7191542" y="1"/>
            <a:ext cx="5000459" cy="1425992"/>
            <a:chOff x="7191542" y="1"/>
            <a:chExt cx="5000459" cy="1425992"/>
          </a:xfrm>
        </p:grpSpPr>
        <p:pic>
          <p:nvPicPr>
            <p:cNvPr id="763" name="Google Shape;763;p12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64" name="Google Shape;764;p128"/>
            <p:cNvGrpSpPr/>
            <p:nvPr/>
          </p:nvGrpSpPr>
          <p:grpSpPr>
            <a:xfrm>
              <a:off x="7191542" y="1"/>
              <a:ext cx="5000459" cy="1425992"/>
              <a:chOff x="7186272" y="0"/>
              <a:chExt cx="5005729" cy="1427495"/>
            </a:xfrm>
          </p:grpSpPr>
          <p:sp>
            <p:nvSpPr>
              <p:cNvPr id="765" name="Google Shape;765;p1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6" name="Google Shape;766;p1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67" name="Google Shape;767;p12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758.xml><?xml version="1.0" encoding="utf-8"?>
<p:sldLayout xmlns:a="http://schemas.openxmlformats.org/drawingml/2006/main" xmlns:r="http://schemas.openxmlformats.org/officeDocument/2006/relationships" xmlns:p="http://schemas.openxmlformats.org/presentationml/2006/main" matchingName="Title and Content">
  <p:cSld name="Title and Content 10">
    <p:spTree>
      <p:nvGrpSpPr>
        <p:cNvPr id="1" name="Shape 768"/>
        <p:cNvGrpSpPr/>
        <p:nvPr/>
      </p:nvGrpSpPr>
      <p:grpSpPr>
        <a:xfrm>
          <a:off x="0" y="0"/>
          <a:ext cx="0" cy="0"/>
          <a:chOff x="0" y="0"/>
          <a:chExt cx="0" cy="0"/>
        </a:xfrm>
      </p:grpSpPr>
      <p:grpSp>
        <p:nvGrpSpPr>
          <p:cNvPr id="769" name="Google Shape;769;p129"/>
          <p:cNvGrpSpPr/>
          <p:nvPr/>
        </p:nvGrpSpPr>
        <p:grpSpPr>
          <a:xfrm>
            <a:off x="7191542" y="1"/>
            <a:ext cx="5000459" cy="1425992"/>
            <a:chOff x="7191542" y="1"/>
            <a:chExt cx="5000459" cy="1425992"/>
          </a:xfrm>
        </p:grpSpPr>
        <p:pic>
          <p:nvPicPr>
            <p:cNvPr id="770" name="Google Shape;770;p1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71" name="Google Shape;771;p129"/>
            <p:cNvGrpSpPr/>
            <p:nvPr/>
          </p:nvGrpSpPr>
          <p:grpSpPr>
            <a:xfrm>
              <a:off x="7191542" y="1"/>
              <a:ext cx="5000459" cy="1425992"/>
              <a:chOff x="7186272" y="0"/>
              <a:chExt cx="5005729" cy="1427495"/>
            </a:xfrm>
          </p:grpSpPr>
          <p:sp>
            <p:nvSpPr>
              <p:cNvPr id="772" name="Google Shape;772;p1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3" name="Google Shape;773;p1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74" name="Google Shape;774;p12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75" name="Google Shape;775;p129"/>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6" name="Google Shape;776;p1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77" name="Google Shape;777;p1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8" name="Google Shape;778;p1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59.xml><?xml version="1.0" encoding="utf-8"?>
<p:sldLayout xmlns:a="http://schemas.openxmlformats.org/drawingml/2006/main" xmlns:r="http://schemas.openxmlformats.org/officeDocument/2006/relationships" xmlns:p="http://schemas.openxmlformats.org/presentationml/2006/main" matchingName="Two Content">
  <p:cSld name="Two Content 6">
    <p:spTree>
      <p:nvGrpSpPr>
        <p:cNvPr id="1" name="Shape 779"/>
        <p:cNvGrpSpPr/>
        <p:nvPr/>
      </p:nvGrpSpPr>
      <p:grpSpPr>
        <a:xfrm>
          <a:off x="0" y="0"/>
          <a:ext cx="0" cy="0"/>
          <a:chOff x="0" y="0"/>
          <a:chExt cx="0" cy="0"/>
        </a:xfrm>
      </p:grpSpPr>
      <p:sp>
        <p:nvSpPr>
          <p:cNvPr id="780" name="Google Shape;780;p13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1" name="Google Shape;781;p130"/>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82" name="Google Shape;782;p130"/>
          <p:cNvGrpSpPr/>
          <p:nvPr/>
        </p:nvGrpSpPr>
        <p:grpSpPr>
          <a:xfrm>
            <a:off x="7191542" y="1"/>
            <a:ext cx="5000459" cy="1425992"/>
            <a:chOff x="7191542" y="1"/>
            <a:chExt cx="5000459" cy="1425992"/>
          </a:xfrm>
        </p:grpSpPr>
        <p:pic>
          <p:nvPicPr>
            <p:cNvPr id="783" name="Google Shape;783;p13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4" name="Google Shape;784;p130"/>
            <p:cNvGrpSpPr/>
            <p:nvPr/>
          </p:nvGrpSpPr>
          <p:grpSpPr>
            <a:xfrm>
              <a:off x="7191542" y="1"/>
              <a:ext cx="5000459" cy="1425992"/>
              <a:chOff x="7186272" y="0"/>
              <a:chExt cx="5005729" cy="1427495"/>
            </a:xfrm>
          </p:grpSpPr>
          <p:sp>
            <p:nvSpPr>
              <p:cNvPr id="785" name="Google Shape;785;p1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86" name="Google Shape;786;p1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87" name="Google Shape;787;p130"/>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88" name="Google Shape;788;p130"/>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89" name="Google Shape;789;p1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0" name="Google Shape;790;p1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woObj" preserve="1">
  <p:cSld name="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45280055"/>
      </p:ext>
    </p:extLst>
  </p:cSld>
  <p:clrMapOvr>
    <a:masterClrMapping/>
  </p:clrMapOvr>
</p:sldLayout>
</file>

<file path=ppt/slideLayouts/slideLayout760.xml><?xml version="1.0" encoding="utf-8"?>
<p:sldLayout xmlns:a="http://schemas.openxmlformats.org/drawingml/2006/main" xmlns:r="http://schemas.openxmlformats.org/officeDocument/2006/relationships" xmlns:p="http://schemas.openxmlformats.org/presentationml/2006/main" matchingName="Comparison">
  <p:cSld name="Comparison 6">
    <p:spTree>
      <p:nvGrpSpPr>
        <p:cNvPr id="1" name="Shape 791"/>
        <p:cNvGrpSpPr/>
        <p:nvPr/>
      </p:nvGrpSpPr>
      <p:grpSpPr>
        <a:xfrm>
          <a:off x="0" y="0"/>
          <a:ext cx="0" cy="0"/>
          <a:chOff x="0" y="0"/>
          <a:chExt cx="0" cy="0"/>
        </a:xfrm>
      </p:grpSpPr>
      <p:grpSp>
        <p:nvGrpSpPr>
          <p:cNvPr id="792" name="Google Shape;792;p131"/>
          <p:cNvGrpSpPr/>
          <p:nvPr/>
        </p:nvGrpSpPr>
        <p:grpSpPr>
          <a:xfrm>
            <a:off x="7191542" y="1"/>
            <a:ext cx="5000459" cy="1425992"/>
            <a:chOff x="7191542" y="1"/>
            <a:chExt cx="5000459" cy="1425992"/>
          </a:xfrm>
        </p:grpSpPr>
        <p:pic>
          <p:nvPicPr>
            <p:cNvPr id="793" name="Google Shape;793;p1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94" name="Google Shape;794;p131"/>
            <p:cNvGrpSpPr/>
            <p:nvPr/>
          </p:nvGrpSpPr>
          <p:grpSpPr>
            <a:xfrm>
              <a:off x="7191542" y="1"/>
              <a:ext cx="5000459" cy="1425992"/>
              <a:chOff x="7186272" y="0"/>
              <a:chExt cx="5005729" cy="1427495"/>
            </a:xfrm>
          </p:grpSpPr>
          <p:sp>
            <p:nvSpPr>
              <p:cNvPr id="795" name="Google Shape;795;p1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96" name="Google Shape;796;p1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97" name="Google Shape;797;p13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98" name="Google Shape;798;p131"/>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99" name="Google Shape;799;p131"/>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0" name="Google Shape;800;p13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01" name="Google Shape;801;p13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2" name="Google Shape;802;p13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03" name="Google Shape;803;p1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04" name="Google Shape;804;p1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61.xml><?xml version="1.0" encoding="utf-8"?>
<p:sldLayout xmlns:a="http://schemas.openxmlformats.org/drawingml/2006/main" xmlns:r="http://schemas.openxmlformats.org/officeDocument/2006/relationships" xmlns:p="http://schemas.openxmlformats.org/presentationml/2006/main" matchingName="Photo Slide">
  <p:cSld name="Photo Slide 7">
    <p:spTree>
      <p:nvGrpSpPr>
        <p:cNvPr id="1" name="Shape 805"/>
        <p:cNvGrpSpPr/>
        <p:nvPr/>
      </p:nvGrpSpPr>
      <p:grpSpPr>
        <a:xfrm>
          <a:off x="0" y="0"/>
          <a:ext cx="0" cy="0"/>
          <a:chOff x="0" y="0"/>
          <a:chExt cx="0" cy="0"/>
        </a:xfrm>
      </p:grpSpPr>
      <p:sp>
        <p:nvSpPr>
          <p:cNvPr id="806" name="Google Shape;806;p13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07" name="Google Shape;807;p13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08" name="Google Shape;808;p132"/>
          <p:cNvGrpSpPr/>
          <p:nvPr/>
        </p:nvGrpSpPr>
        <p:grpSpPr>
          <a:xfrm>
            <a:off x="0" y="5379426"/>
            <a:ext cx="2807368" cy="753891"/>
            <a:chOff x="0" y="5379426"/>
            <a:chExt cx="2807368" cy="753891"/>
          </a:xfrm>
        </p:grpSpPr>
        <p:sp>
          <p:nvSpPr>
            <p:cNvPr id="809" name="Google Shape;809;p13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10" name="Google Shape;810;p13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811" name="Google Shape;811;p132"/>
          <p:cNvSpPr>
            <a:spLocks noGrp="1"/>
          </p:cNvSpPr>
          <p:nvPr>
            <p:ph type="pic" idx="2"/>
          </p:nvPr>
        </p:nvSpPr>
        <p:spPr>
          <a:xfrm>
            <a:off x="2807368" y="457202"/>
            <a:ext cx="8915400" cy="5943598"/>
          </a:xfrm>
          <a:prstGeom prst="rect">
            <a:avLst/>
          </a:prstGeom>
          <a:noFill/>
          <a:ln>
            <a:noFill/>
          </a:ln>
        </p:spPr>
      </p:sp>
      <p:pic>
        <p:nvPicPr>
          <p:cNvPr id="812" name="Google Shape;812;p13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62.xml><?xml version="1.0" encoding="utf-8"?>
<p:sldLayout xmlns:a="http://schemas.openxmlformats.org/drawingml/2006/main" xmlns:r="http://schemas.openxmlformats.org/officeDocument/2006/relationships" xmlns:p="http://schemas.openxmlformats.org/presentationml/2006/main" matchingName="End">
  <p:cSld name="End 6">
    <p:spTree>
      <p:nvGrpSpPr>
        <p:cNvPr id="1" name="Shape 813"/>
        <p:cNvGrpSpPr/>
        <p:nvPr/>
      </p:nvGrpSpPr>
      <p:grpSpPr>
        <a:xfrm>
          <a:off x="0" y="0"/>
          <a:ext cx="0" cy="0"/>
          <a:chOff x="0" y="0"/>
          <a:chExt cx="0" cy="0"/>
        </a:xfrm>
      </p:grpSpPr>
      <p:grpSp>
        <p:nvGrpSpPr>
          <p:cNvPr id="814" name="Google Shape;814;p133"/>
          <p:cNvGrpSpPr/>
          <p:nvPr/>
        </p:nvGrpSpPr>
        <p:grpSpPr>
          <a:xfrm>
            <a:off x="0" y="0"/>
            <a:ext cx="12192000" cy="2148830"/>
            <a:chOff x="0" y="0"/>
            <a:chExt cx="12192000" cy="2148830"/>
          </a:xfrm>
        </p:grpSpPr>
        <p:sp>
          <p:nvSpPr>
            <p:cNvPr id="815" name="Google Shape;815;p133"/>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16" name="Google Shape;816;p133"/>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817" name="Google Shape;817;p133"/>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18" name="Google Shape;818;p133"/>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9" name="Google Shape;819;p133"/>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820" name="Google Shape;820;p133"/>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821" name="Google Shape;821;p133"/>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63.xml><?xml version="1.0" encoding="utf-8"?>
<p:sldLayout xmlns:a="http://schemas.openxmlformats.org/drawingml/2006/main" xmlns:r="http://schemas.openxmlformats.org/officeDocument/2006/relationships" xmlns:p="http://schemas.openxmlformats.org/presentationml/2006/main" matchingName="Blank">
  <p:cSld name="Blank 6">
    <p:spTree>
      <p:nvGrpSpPr>
        <p:cNvPr id="1" name="Shape 822"/>
        <p:cNvGrpSpPr/>
        <p:nvPr/>
      </p:nvGrpSpPr>
      <p:grpSpPr>
        <a:xfrm>
          <a:off x="0" y="0"/>
          <a:ext cx="0" cy="0"/>
          <a:chOff x="0" y="0"/>
          <a:chExt cx="0" cy="0"/>
        </a:xfrm>
      </p:grpSpPr>
      <p:sp>
        <p:nvSpPr>
          <p:cNvPr id="823" name="Google Shape;823;p1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24" name="Google Shape;824;p13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25" name="Google Shape;825;p1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26" name="Google Shape;826;p134"/>
          <p:cNvGrpSpPr/>
          <p:nvPr/>
        </p:nvGrpSpPr>
        <p:grpSpPr>
          <a:xfrm>
            <a:off x="7191542" y="1"/>
            <a:ext cx="5000459" cy="1425992"/>
            <a:chOff x="7191542" y="1"/>
            <a:chExt cx="5000459" cy="1425992"/>
          </a:xfrm>
        </p:grpSpPr>
        <p:pic>
          <p:nvPicPr>
            <p:cNvPr id="827" name="Google Shape;827;p13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28" name="Google Shape;828;p134"/>
            <p:cNvGrpSpPr/>
            <p:nvPr/>
          </p:nvGrpSpPr>
          <p:grpSpPr>
            <a:xfrm>
              <a:off x="7191542" y="1"/>
              <a:ext cx="5000459" cy="1425992"/>
              <a:chOff x="7186272" y="0"/>
              <a:chExt cx="5005729" cy="1427495"/>
            </a:xfrm>
          </p:grpSpPr>
          <p:sp>
            <p:nvSpPr>
              <p:cNvPr id="829" name="Google Shape;829;p13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30" name="Google Shape;830;p13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764.xml><?xml version="1.0" encoding="utf-8"?>
<p:sldLayout xmlns:a="http://schemas.openxmlformats.org/drawingml/2006/main" xmlns:r="http://schemas.openxmlformats.org/officeDocument/2006/relationships" xmlns:p="http://schemas.openxmlformats.org/presentationml/2006/main" matchingName="Title Only">
  <p:cSld name="Title Only 6">
    <p:spTree>
      <p:nvGrpSpPr>
        <p:cNvPr id="1" name="Shape 831"/>
        <p:cNvGrpSpPr/>
        <p:nvPr/>
      </p:nvGrpSpPr>
      <p:grpSpPr>
        <a:xfrm>
          <a:off x="0" y="0"/>
          <a:ext cx="0" cy="0"/>
          <a:chOff x="0" y="0"/>
          <a:chExt cx="0" cy="0"/>
        </a:xfrm>
      </p:grpSpPr>
      <p:grpSp>
        <p:nvGrpSpPr>
          <p:cNvPr id="832" name="Google Shape;832;p135"/>
          <p:cNvGrpSpPr/>
          <p:nvPr/>
        </p:nvGrpSpPr>
        <p:grpSpPr>
          <a:xfrm>
            <a:off x="7191542" y="1"/>
            <a:ext cx="5000459" cy="1425992"/>
            <a:chOff x="7191542" y="1"/>
            <a:chExt cx="5000459" cy="1425992"/>
          </a:xfrm>
        </p:grpSpPr>
        <p:pic>
          <p:nvPicPr>
            <p:cNvPr id="833" name="Google Shape;833;p1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34" name="Google Shape;834;p135"/>
            <p:cNvGrpSpPr/>
            <p:nvPr/>
          </p:nvGrpSpPr>
          <p:grpSpPr>
            <a:xfrm>
              <a:off x="7191542" y="1"/>
              <a:ext cx="5000459" cy="1425992"/>
              <a:chOff x="7186272" y="0"/>
              <a:chExt cx="5005729" cy="1427495"/>
            </a:xfrm>
          </p:grpSpPr>
          <p:sp>
            <p:nvSpPr>
              <p:cNvPr id="835" name="Google Shape;835;p1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36" name="Google Shape;836;p1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37" name="Google Shape;837;p13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38" name="Google Shape;838;p13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39" name="Google Shape;839;p1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40" name="Google Shape;840;p1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65.xml><?xml version="1.0" encoding="utf-8"?>
<p:sldLayout xmlns:a="http://schemas.openxmlformats.org/drawingml/2006/main" xmlns:r="http://schemas.openxmlformats.org/officeDocument/2006/relationships" xmlns:p="http://schemas.openxmlformats.org/presentationml/2006/main" matchingName="Cover">
  <p:cSld name="Cover 9">
    <p:spTree>
      <p:nvGrpSpPr>
        <p:cNvPr id="1" name="Shape 841"/>
        <p:cNvGrpSpPr/>
        <p:nvPr/>
      </p:nvGrpSpPr>
      <p:grpSpPr>
        <a:xfrm>
          <a:off x="0" y="0"/>
          <a:ext cx="0" cy="0"/>
          <a:chOff x="0" y="0"/>
          <a:chExt cx="0" cy="0"/>
        </a:xfrm>
      </p:grpSpPr>
      <p:sp>
        <p:nvSpPr>
          <p:cNvPr id="842" name="Google Shape;842;p136"/>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43" name="Google Shape;843;p136"/>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4" name="Google Shape;844;p136"/>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845" name="Google Shape;845;p136"/>
          <p:cNvSpPr>
            <a:spLocks noGrp="1"/>
          </p:cNvSpPr>
          <p:nvPr>
            <p:ph type="pic" idx="2"/>
          </p:nvPr>
        </p:nvSpPr>
        <p:spPr>
          <a:xfrm>
            <a:off x="7118684" y="233915"/>
            <a:ext cx="5073316" cy="5943600"/>
          </a:xfrm>
          <a:prstGeom prst="rect">
            <a:avLst/>
          </a:prstGeom>
          <a:noFill/>
          <a:ln>
            <a:noFill/>
          </a:ln>
        </p:spPr>
      </p:sp>
      <p:grpSp>
        <p:nvGrpSpPr>
          <p:cNvPr id="846" name="Google Shape;846;p136"/>
          <p:cNvGrpSpPr/>
          <p:nvPr/>
        </p:nvGrpSpPr>
        <p:grpSpPr>
          <a:xfrm>
            <a:off x="0" y="5020348"/>
            <a:ext cx="12192000" cy="1837653"/>
            <a:chOff x="0" y="5020348"/>
            <a:chExt cx="12192000" cy="1837653"/>
          </a:xfrm>
        </p:grpSpPr>
        <p:sp>
          <p:nvSpPr>
            <p:cNvPr id="847" name="Google Shape;847;p13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48" name="Google Shape;848;p13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49" name="Google Shape;849;p13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66.xml><?xml version="1.0" encoding="utf-8"?>
<p:sldLayout xmlns:a="http://schemas.openxmlformats.org/drawingml/2006/main" xmlns:r="http://schemas.openxmlformats.org/officeDocument/2006/relationships" xmlns:p="http://schemas.openxmlformats.org/presentationml/2006/main" matchingName="Divider">
  <p:cSld name="Divider 10">
    <p:bg>
      <p:bgPr>
        <a:solidFill>
          <a:schemeClr val="lt2"/>
        </a:solidFill>
        <a:effectLst/>
      </p:bgPr>
    </p:bg>
    <p:spTree>
      <p:nvGrpSpPr>
        <p:cNvPr id="1" name="Shape 850"/>
        <p:cNvGrpSpPr/>
        <p:nvPr/>
      </p:nvGrpSpPr>
      <p:grpSpPr>
        <a:xfrm>
          <a:off x="0" y="0"/>
          <a:ext cx="0" cy="0"/>
          <a:chOff x="0" y="0"/>
          <a:chExt cx="0" cy="0"/>
        </a:xfrm>
      </p:grpSpPr>
      <p:grpSp>
        <p:nvGrpSpPr>
          <p:cNvPr id="851" name="Google Shape;851;p137"/>
          <p:cNvGrpSpPr/>
          <p:nvPr/>
        </p:nvGrpSpPr>
        <p:grpSpPr>
          <a:xfrm>
            <a:off x="0" y="5020347"/>
            <a:ext cx="12192000" cy="1837653"/>
            <a:chOff x="0" y="5020347"/>
            <a:chExt cx="12192000" cy="1837653"/>
          </a:xfrm>
        </p:grpSpPr>
        <p:sp>
          <p:nvSpPr>
            <p:cNvPr id="852" name="Google Shape;852;p13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53" name="Google Shape;853;p13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54" name="Google Shape;854;p13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55" name="Google Shape;855;p13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856" name="Google Shape;856;p13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57" name="Google Shape;857;p13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67.xml><?xml version="1.0" encoding="utf-8"?>
<p:sldLayout xmlns:a="http://schemas.openxmlformats.org/drawingml/2006/main" xmlns:r="http://schemas.openxmlformats.org/officeDocument/2006/relationships" xmlns:p="http://schemas.openxmlformats.org/presentationml/2006/main" matchingName="Quotation">
  <p:cSld name="Quotation 11">
    <p:spTree>
      <p:nvGrpSpPr>
        <p:cNvPr id="1" name="Shape 858"/>
        <p:cNvGrpSpPr/>
        <p:nvPr/>
      </p:nvGrpSpPr>
      <p:grpSpPr>
        <a:xfrm>
          <a:off x="0" y="0"/>
          <a:ext cx="0" cy="0"/>
          <a:chOff x="0" y="0"/>
          <a:chExt cx="0" cy="0"/>
        </a:xfrm>
      </p:grpSpPr>
      <p:sp>
        <p:nvSpPr>
          <p:cNvPr id="859" name="Google Shape;859;p13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60" name="Google Shape;860;p13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61" name="Google Shape;861;p13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62" name="Google Shape;862;p1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63" name="Google Shape;863;p1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64" name="Google Shape;864;p1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65" name="Google Shape;865;p138"/>
          <p:cNvGrpSpPr/>
          <p:nvPr/>
        </p:nvGrpSpPr>
        <p:grpSpPr>
          <a:xfrm>
            <a:off x="7191542" y="1"/>
            <a:ext cx="5000459" cy="1425992"/>
            <a:chOff x="7191542" y="1"/>
            <a:chExt cx="5000459" cy="1425992"/>
          </a:xfrm>
        </p:grpSpPr>
        <p:pic>
          <p:nvPicPr>
            <p:cNvPr id="866" name="Google Shape;866;p1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67" name="Google Shape;867;p138"/>
            <p:cNvGrpSpPr/>
            <p:nvPr/>
          </p:nvGrpSpPr>
          <p:grpSpPr>
            <a:xfrm>
              <a:off x="7191542" y="1"/>
              <a:ext cx="5000459" cy="1425992"/>
              <a:chOff x="7186272" y="0"/>
              <a:chExt cx="5005729" cy="1427495"/>
            </a:xfrm>
          </p:grpSpPr>
          <p:sp>
            <p:nvSpPr>
              <p:cNvPr id="868" name="Google Shape;868;p1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69" name="Google Shape;869;p1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70" name="Google Shape;870;p13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768.xml><?xml version="1.0" encoding="utf-8"?>
<p:sldLayout xmlns:a="http://schemas.openxmlformats.org/drawingml/2006/main" xmlns:r="http://schemas.openxmlformats.org/officeDocument/2006/relationships" xmlns:p="http://schemas.openxmlformats.org/presentationml/2006/main" matchingName="Title and Content">
  <p:cSld name="Title and Content 11">
    <p:spTree>
      <p:nvGrpSpPr>
        <p:cNvPr id="1" name="Shape 871"/>
        <p:cNvGrpSpPr/>
        <p:nvPr/>
      </p:nvGrpSpPr>
      <p:grpSpPr>
        <a:xfrm>
          <a:off x="0" y="0"/>
          <a:ext cx="0" cy="0"/>
          <a:chOff x="0" y="0"/>
          <a:chExt cx="0" cy="0"/>
        </a:xfrm>
      </p:grpSpPr>
      <p:grpSp>
        <p:nvGrpSpPr>
          <p:cNvPr id="872" name="Google Shape;872;p139"/>
          <p:cNvGrpSpPr/>
          <p:nvPr/>
        </p:nvGrpSpPr>
        <p:grpSpPr>
          <a:xfrm>
            <a:off x="7191542" y="1"/>
            <a:ext cx="5000459" cy="1425992"/>
            <a:chOff x="7191542" y="1"/>
            <a:chExt cx="5000459" cy="1425992"/>
          </a:xfrm>
        </p:grpSpPr>
        <p:pic>
          <p:nvPicPr>
            <p:cNvPr id="873" name="Google Shape;873;p13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74" name="Google Shape;874;p139"/>
            <p:cNvGrpSpPr/>
            <p:nvPr/>
          </p:nvGrpSpPr>
          <p:grpSpPr>
            <a:xfrm>
              <a:off x="7191542" y="1"/>
              <a:ext cx="5000459" cy="1425992"/>
              <a:chOff x="7186272" y="0"/>
              <a:chExt cx="5005729" cy="1427495"/>
            </a:xfrm>
          </p:grpSpPr>
          <p:sp>
            <p:nvSpPr>
              <p:cNvPr id="875" name="Google Shape;875;p1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76" name="Google Shape;876;p1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77" name="Google Shape;877;p13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78" name="Google Shape;878;p139"/>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9" name="Google Shape;879;p13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80" name="Google Shape;880;p1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81" name="Google Shape;881;p1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69.xml><?xml version="1.0" encoding="utf-8"?>
<p:sldLayout xmlns:a="http://schemas.openxmlformats.org/drawingml/2006/main" xmlns:r="http://schemas.openxmlformats.org/officeDocument/2006/relationships" xmlns:p="http://schemas.openxmlformats.org/presentationml/2006/main" matchingName="Two Content">
  <p:cSld name="Two Content 7">
    <p:spTree>
      <p:nvGrpSpPr>
        <p:cNvPr id="1" name="Shape 882"/>
        <p:cNvGrpSpPr/>
        <p:nvPr/>
      </p:nvGrpSpPr>
      <p:grpSpPr>
        <a:xfrm>
          <a:off x="0" y="0"/>
          <a:ext cx="0" cy="0"/>
          <a:chOff x="0" y="0"/>
          <a:chExt cx="0" cy="0"/>
        </a:xfrm>
      </p:grpSpPr>
      <p:sp>
        <p:nvSpPr>
          <p:cNvPr id="883" name="Google Shape;883;p14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84" name="Google Shape;884;p140"/>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885" name="Google Shape;885;p140"/>
          <p:cNvGrpSpPr/>
          <p:nvPr/>
        </p:nvGrpSpPr>
        <p:grpSpPr>
          <a:xfrm>
            <a:off x="7191542" y="1"/>
            <a:ext cx="5000459" cy="1425992"/>
            <a:chOff x="7191542" y="1"/>
            <a:chExt cx="5000459" cy="1425992"/>
          </a:xfrm>
        </p:grpSpPr>
        <p:pic>
          <p:nvPicPr>
            <p:cNvPr id="886" name="Google Shape;886;p14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87" name="Google Shape;887;p140"/>
            <p:cNvGrpSpPr/>
            <p:nvPr/>
          </p:nvGrpSpPr>
          <p:grpSpPr>
            <a:xfrm>
              <a:off x="7191542" y="1"/>
              <a:ext cx="5000459" cy="1425992"/>
              <a:chOff x="7186272" y="0"/>
              <a:chExt cx="5005729" cy="1427495"/>
            </a:xfrm>
          </p:grpSpPr>
          <p:sp>
            <p:nvSpPr>
              <p:cNvPr id="888" name="Google Shape;888;p14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89" name="Google Shape;889;p14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90" name="Google Shape;890;p140"/>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1" name="Google Shape;891;p140"/>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92" name="Google Shape;892;p14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93" name="Google Shape;893;p14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TxTwoObj" preserve="1">
  <p:cSld name="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48434812"/>
      </p:ext>
    </p:extLst>
  </p:cSld>
  <p:clrMapOvr>
    <a:masterClrMapping/>
  </p:clrMapOvr>
</p:sldLayout>
</file>

<file path=ppt/slideLayouts/slideLayout770.xml><?xml version="1.0" encoding="utf-8"?>
<p:sldLayout xmlns:a="http://schemas.openxmlformats.org/drawingml/2006/main" xmlns:r="http://schemas.openxmlformats.org/officeDocument/2006/relationships" xmlns:p="http://schemas.openxmlformats.org/presentationml/2006/main" matchingName="Comparison">
  <p:cSld name="Comparison 7">
    <p:spTree>
      <p:nvGrpSpPr>
        <p:cNvPr id="1" name="Shape 894"/>
        <p:cNvGrpSpPr/>
        <p:nvPr/>
      </p:nvGrpSpPr>
      <p:grpSpPr>
        <a:xfrm>
          <a:off x="0" y="0"/>
          <a:ext cx="0" cy="0"/>
          <a:chOff x="0" y="0"/>
          <a:chExt cx="0" cy="0"/>
        </a:xfrm>
      </p:grpSpPr>
      <p:grpSp>
        <p:nvGrpSpPr>
          <p:cNvPr id="895" name="Google Shape;895;p141"/>
          <p:cNvGrpSpPr/>
          <p:nvPr/>
        </p:nvGrpSpPr>
        <p:grpSpPr>
          <a:xfrm>
            <a:off x="7191542" y="1"/>
            <a:ext cx="5000459" cy="1425992"/>
            <a:chOff x="7191542" y="1"/>
            <a:chExt cx="5000459" cy="1425992"/>
          </a:xfrm>
        </p:grpSpPr>
        <p:pic>
          <p:nvPicPr>
            <p:cNvPr id="896" name="Google Shape;896;p14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97" name="Google Shape;897;p141"/>
            <p:cNvGrpSpPr/>
            <p:nvPr/>
          </p:nvGrpSpPr>
          <p:grpSpPr>
            <a:xfrm>
              <a:off x="7191542" y="1"/>
              <a:ext cx="5000459" cy="1425992"/>
              <a:chOff x="7186272" y="0"/>
              <a:chExt cx="5005729" cy="1427495"/>
            </a:xfrm>
          </p:grpSpPr>
          <p:sp>
            <p:nvSpPr>
              <p:cNvPr id="898" name="Google Shape;898;p1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99" name="Google Shape;899;p1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00" name="Google Shape;900;p14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01" name="Google Shape;901;p141"/>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02" name="Google Shape;902;p141"/>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3" name="Google Shape;903;p14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04" name="Google Shape;904;p14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5" name="Google Shape;905;p14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06" name="Google Shape;906;p1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07" name="Google Shape;907;p1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71.xml><?xml version="1.0" encoding="utf-8"?>
<p:sldLayout xmlns:a="http://schemas.openxmlformats.org/drawingml/2006/main" xmlns:r="http://schemas.openxmlformats.org/officeDocument/2006/relationships" xmlns:p="http://schemas.openxmlformats.org/presentationml/2006/main" matchingName="Photo Slide">
  <p:cSld name="Photo Slide 8">
    <p:spTree>
      <p:nvGrpSpPr>
        <p:cNvPr id="1" name="Shape 908"/>
        <p:cNvGrpSpPr/>
        <p:nvPr/>
      </p:nvGrpSpPr>
      <p:grpSpPr>
        <a:xfrm>
          <a:off x="0" y="0"/>
          <a:ext cx="0" cy="0"/>
          <a:chOff x="0" y="0"/>
          <a:chExt cx="0" cy="0"/>
        </a:xfrm>
      </p:grpSpPr>
      <p:sp>
        <p:nvSpPr>
          <p:cNvPr id="909" name="Google Shape;909;p14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10" name="Google Shape;910;p14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11" name="Google Shape;911;p142"/>
          <p:cNvGrpSpPr/>
          <p:nvPr/>
        </p:nvGrpSpPr>
        <p:grpSpPr>
          <a:xfrm>
            <a:off x="0" y="5379426"/>
            <a:ext cx="2807368" cy="753891"/>
            <a:chOff x="0" y="5379426"/>
            <a:chExt cx="2807368" cy="753891"/>
          </a:xfrm>
        </p:grpSpPr>
        <p:sp>
          <p:nvSpPr>
            <p:cNvPr id="912" name="Google Shape;912;p14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13" name="Google Shape;913;p14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914" name="Google Shape;914;p142"/>
          <p:cNvSpPr>
            <a:spLocks noGrp="1"/>
          </p:cNvSpPr>
          <p:nvPr>
            <p:ph type="pic" idx="2"/>
          </p:nvPr>
        </p:nvSpPr>
        <p:spPr>
          <a:xfrm>
            <a:off x="2807368" y="457202"/>
            <a:ext cx="8915400" cy="5943598"/>
          </a:xfrm>
          <a:prstGeom prst="rect">
            <a:avLst/>
          </a:prstGeom>
          <a:noFill/>
          <a:ln>
            <a:noFill/>
          </a:ln>
        </p:spPr>
      </p:sp>
      <p:pic>
        <p:nvPicPr>
          <p:cNvPr id="915" name="Google Shape;915;p14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72.xml><?xml version="1.0" encoding="utf-8"?>
<p:sldLayout xmlns:a="http://schemas.openxmlformats.org/drawingml/2006/main" xmlns:r="http://schemas.openxmlformats.org/officeDocument/2006/relationships" xmlns:p="http://schemas.openxmlformats.org/presentationml/2006/main" matchingName="Quotation">
  <p:cSld name="Quotation 12">
    <p:spTree>
      <p:nvGrpSpPr>
        <p:cNvPr id="1" name="Shape 916"/>
        <p:cNvGrpSpPr/>
        <p:nvPr/>
      </p:nvGrpSpPr>
      <p:grpSpPr>
        <a:xfrm>
          <a:off x="0" y="0"/>
          <a:ext cx="0" cy="0"/>
          <a:chOff x="0" y="0"/>
          <a:chExt cx="0" cy="0"/>
        </a:xfrm>
      </p:grpSpPr>
      <p:sp>
        <p:nvSpPr>
          <p:cNvPr id="917" name="Google Shape;917;p14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18" name="Google Shape;918;p14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19" name="Google Shape;919;p14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0" name="Google Shape;920;p14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21" name="Google Shape;921;p1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22" name="Google Shape;922;p1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23" name="Google Shape;923;p143"/>
          <p:cNvGrpSpPr/>
          <p:nvPr/>
        </p:nvGrpSpPr>
        <p:grpSpPr>
          <a:xfrm>
            <a:off x="7191542" y="1"/>
            <a:ext cx="5000459" cy="1425992"/>
            <a:chOff x="7191542" y="1"/>
            <a:chExt cx="5000459" cy="1425992"/>
          </a:xfrm>
        </p:grpSpPr>
        <p:pic>
          <p:nvPicPr>
            <p:cNvPr id="924" name="Google Shape;924;p14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25" name="Google Shape;925;p143"/>
            <p:cNvGrpSpPr/>
            <p:nvPr/>
          </p:nvGrpSpPr>
          <p:grpSpPr>
            <a:xfrm>
              <a:off x="7191542" y="1"/>
              <a:ext cx="5000459" cy="1425992"/>
              <a:chOff x="7186272" y="0"/>
              <a:chExt cx="5005729" cy="1427495"/>
            </a:xfrm>
          </p:grpSpPr>
          <p:sp>
            <p:nvSpPr>
              <p:cNvPr id="926" name="Google Shape;926;p1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27" name="Google Shape;927;p1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28" name="Google Shape;928;p14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773.xml><?xml version="1.0" encoding="utf-8"?>
<p:sldLayout xmlns:a="http://schemas.openxmlformats.org/drawingml/2006/main" xmlns:r="http://schemas.openxmlformats.org/officeDocument/2006/relationships" xmlns:p="http://schemas.openxmlformats.org/presentationml/2006/main" matchingName="End">
  <p:cSld name="End 7">
    <p:spTree>
      <p:nvGrpSpPr>
        <p:cNvPr id="1" name="Shape 929"/>
        <p:cNvGrpSpPr/>
        <p:nvPr/>
      </p:nvGrpSpPr>
      <p:grpSpPr>
        <a:xfrm>
          <a:off x="0" y="0"/>
          <a:ext cx="0" cy="0"/>
          <a:chOff x="0" y="0"/>
          <a:chExt cx="0" cy="0"/>
        </a:xfrm>
      </p:grpSpPr>
      <p:grpSp>
        <p:nvGrpSpPr>
          <p:cNvPr id="930" name="Google Shape;930;p144"/>
          <p:cNvGrpSpPr/>
          <p:nvPr/>
        </p:nvGrpSpPr>
        <p:grpSpPr>
          <a:xfrm>
            <a:off x="0" y="0"/>
            <a:ext cx="12192000" cy="2148830"/>
            <a:chOff x="0" y="0"/>
            <a:chExt cx="12192000" cy="2148830"/>
          </a:xfrm>
        </p:grpSpPr>
        <p:sp>
          <p:nvSpPr>
            <p:cNvPr id="931" name="Google Shape;931;p14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32" name="Google Shape;932;p14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933" name="Google Shape;933;p144"/>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34" name="Google Shape;934;p144"/>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5" name="Google Shape;935;p14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936" name="Google Shape;936;p144"/>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937" name="Google Shape;937;p144"/>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74.xml><?xml version="1.0" encoding="utf-8"?>
<p:sldLayout xmlns:a="http://schemas.openxmlformats.org/drawingml/2006/main" xmlns:r="http://schemas.openxmlformats.org/officeDocument/2006/relationships" xmlns:p="http://schemas.openxmlformats.org/presentationml/2006/main" matchingName="Blank">
  <p:cSld name="Blank 7">
    <p:spTree>
      <p:nvGrpSpPr>
        <p:cNvPr id="1" name="Shape 938"/>
        <p:cNvGrpSpPr/>
        <p:nvPr/>
      </p:nvGrpSpPr>
      <p:grpSpPr>
        <a:xfrm>
          <a:off x="0" y="0"/>
          <a:ext cx="0" cy="0"/>
          <a:chOff x="0" y="0"/>
          <a:chExt cx="0" cy="0"/>
        </a:xfrm>
      </p:grpSpPr>
      <p:sp>
        <p:nvSpPr>
          <p:cNvPr id="939" name="Google Shape;939;p14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40" name="Google Shape;940;p1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41" name="Google Shape;941;p1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42" name="Google Shape;942;p145"/>
          <p:cNvGrpSpPr/>
          <p:nvPr/>
        </p:nvGrpSpPr>
        <p:grpSpPr>
          <a:xfrm>
            <a:off x="7191542" y="1"/>
            <a:ext cx="5000459" cy="1425992"/>
            <a:chOff x="7191542" y="1"/>
            <a:chExt cx="5000459" cy="1425992"/>
          </a:xfrm>
        </p:grpSpPr>
        <p:pic>
          <p:nvPicPr>
            <p:cNvPr id="943" name="Google Shape;943;p1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44" name="Google Shape;944;p145"/>
            <p:cNvGrpSpPr/>
            <p:nvPr/>
          </p:nvGrpSpPr>
          <p:grpSpPr>
            <a:xfrm>
              <a:off x="7191542" y="1"/>
              <a:ext cx="5000459" cy="1425992"/>
              <a:chOff x="7186272" y="0"/>
              <a:chExt cx="5005729" cy="1427495"/>
            </a:xfrm>
          </p:grpSpPr>
          <p:sp>
            <p:nvSpPr>
              <p:cNvPr id="945" name="Google Shape;945;p1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46" name="Google Shape;946;p1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775.xml><?xml version="1.0" encoding="utf-8"?>
<p:sldLayout xmlns:a="http://schemas.openxmlformats.org/drawingml/2006/main" xmlns:r="http://schemas.openxmlformats.org/officeDocument/2006/relationships" xmlns:p="http://schemas.openxmlformats.org/presentationml/2006/main" matchingName="Title Only">
  <p:cSld name="Title Only 7">
    <p:spTree>
      <p:nvGrpSpPr>
        <p:cNvPr id="1" name="Shape 947"/>
        <p:cNvGrpSpPr/>
        <p:nvPr/>
      </p:nvGrpSpPr>
      <p:grpSpPr>
        <a:xfrm>
          <a:off x="0" y="0"/>
          <a:ext cx="0" cy="0"/>
          <a:chOff x="0" y="0"/>
          <a:chExt cx="0" cy="0"/>
        </a:xfrm>
      </p:grpSpPr>
      <p:grpSp>
        <p:nvGrpSpPr>
          <p:cNvPr id="948" name="Google Shape;948;p146"/>
          <p:cNvGrpSpPr/>
          <p:nvPr/>
        </p:nvGrpSpPr>
        <p:grpSpPr>
          <a:xfrm>
            <a:off x="7191542" y="1"/>
            <a:ext cx="5000459" cy="1425992"/>
            <a:chOff x="7191542" y="1"/>
            <a:chExt cx="5000459" cy="1425992"/>
          </a:xfrm>
        </p:grpSpPr>
        <p:pic>
          <p:nvPicPr>
            <p:cNvPr id="949" name="Google Shape;949;p1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50" name="Google Shape;950;p146"/>
            <p:cNvGrpSpPr/>
            <p:nvPr/>
          </p:nvGrpSpPr>
          <p:grpSpPr>
            <a:xfrm>
              <a:off x="7191542" y="1"/>
              <a:ext cx="5000459" cy="1425992"/>
              <a:chOff x="7186272" y="0"/>
              <a:chExt cx="5005729" cy="1427495"/>
            </a:xfrm>
          </p:grpSpPr>
          <p:sp>
            <p:nvSpPr>
              <p:cNvPr id="951" name="Google Shape;951;p1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52" name="Google Shape;952;p1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53" name="Google Shape;953;p14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54" name="Google Shape;954;p14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55" name="Google Shape;955;p1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56" name="Google Shape;956;p1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76.xml><?xml version="1.0" encoding="utf-8"?>
<p:sldLayout xmlns:a="http://schemas.openxmlformats.org/drawingml/2006/main" xmlns:r="http://schemas.openxmlformats.org/officeDocument/2006/relationships" xmlns:p="http://schemas.openxmlformats.org/presentationml/2006/main" matchingName="Cover">
  <p:cSld name="Cover 10">
    <p:spTree>
      <p:nvGrpSpPr>
        <p:cNvPr id="1" name="Shape 957"/>
        <p:cNvGrpSpPr/>
        <p:nvPr/>
      </p:nvGrpSpPr>
      <p:grpSpPr>
        <a:xfrm>
          <a:off x="0" y="0"/>
          <a:ext cx="0" cy="0"/>
          <a:chOff x="0" y="0"/>
          <a:chExt cx="0" cy="0"/>
        </a:xfrm>
      </p:grpSpPr>
      <p:sp>
        <p:nvSpPr>
          <p:cNvPr id="958" name="Google Shape;958;p14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59" name="Google Shape;959;p14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60" name="Google Shape;960;p14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61" name="Google Shape;961;p147"/>
          <p:cNvSpPr>
            <a:spLocks noGrp="1"/>
          </p:cNvSpPr>
          <p:nvPr>
            <p:ph type="pic" idx="2"/>
          </p:nvPr>
        </p:nvSpPr>
        <p:spPr>
          <a:xfrm>
            <a:off x="7118684" y="233915"/>
            <a:ext cx="5073316" cy="5943600"/>
          </a:xfrm>
          <a:prstGeom prst="rect">
            <a:avLst/>
          </a:prstGeom>
          <a:noFill/>
          <a:ln>
            <a:noFill/>
          </a:ln>
        </p:spPr>
      </p:sp>
      <p:grpSp>
        <p:nvGrpSpPr>
          <p:cNvPr id="962" name="Google Shape;962;p147"/>
          <p:cNvGrpSpPr/>
          <p:nvPr/>
        </p:nvGrpSpPr>
        <p:grpSpPr>
          <a:xfrm>
            <a:off x="0" y="5020348"/>
            <a:ext cx="12192000" cy="1837653"/>
            <a:chOff x="0" y="5020348"/>
            <a:chExt cx="12192000" cy="1837653"/>
          </a:xfrm>
        </p:grpSpPr>
        <p:sp>
          <p:nvSpPr>
            <p:cNvPr id="963" name="Google Shape;963;p14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64" name="Google Shape;964;p14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65" name="Google Shape;965;p14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77.xml><?xml version="1.0" encoding="utf-8"?>
<p:sldLayout xmlns:a="http://schemas.openxmlformats.org/drawingml/2006/main" xmlns:r="http://schemas.openxmlformats.org/officeDocument/2006/relationships" xmlns:p="http://schemas.openxmlformats.org/presentationml/2006/main" matchingName="Divider">
  <p:cSld name="Divider 11">
    <p:bg>
      <p:bgPr>
        <a:solidFill>
          <a:schemeClr val="lt2"/>
        </a:solidFill>
        <a:effectLst/>
      </p:bgPr>
    </p:bg>
    <p:spTree>
      <p:nvGrpSpPr>
        <p:cNvPr id="1" name="Shape 966"/>
        <p:cNvGrpSpPr/>
        <p:nvPr/>
      </p:nvGrpSpPr>
      <p:grpSpPr>
        <a:xfrm>
          <a:off x="0" y="0"/>
          <a:ext cx="0" cy="0"/>
          <a:chOff x="0" y="0"/>
          <a:chExt cx="0" cy="0"/>
        </a:xfrm>
      </p:grpSpPr>
      <p:grpSp>
        <p:nvGrpSpPr>
          <p:cNvPr id="967" name="Google Shape;967;p148"/>
          <p:cNvGrpSpPr/>
          <p:nvPr/>
        </p:nvGrpSpPr>
        <p:grpSpPr>
          <a:xfrm>
            <a:off x="0" y="5020347"/>
            <a:ext cx="12192000" cy="1837653"/>
            <a:chOff x="0" y="5020347"/>
            <a:chExt cx="12192000" cy="1837653"/>
          </a:xfrm>
        </p:grpSpPr>
        <p:sp>
          <p:nvSpPr>
            <p:cNvPr id="968" name="Google Shape;968;p14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69" name="Google Shape;969;p14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70" name="Google Shape;970;p14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71" name="Google Shape;971;p14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972" name="Google Shape;972;p14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73" name="Google Shape;973;p14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78.xml><?xml version="1.0" encoding="utf-8"?>
<p:sldLayout xmlns:a="http://schemas.openxmlformats.org/drawingml/2006/main" xmlns:r="http://schemas.openxmlformats.org/officeDocument/2006/relationships" xmlns:p="http://schemas.openxmlformats.org/presentationml/2006/main" matchingName="Photo Slide">
  <p:cSld name="Photo Slide 9">
    <p:spTree>
      <p:nvGrpSpPr>
        <p:cNvPr id="1" name="Shape 974"/>
        <p:cNvGrpSpPr/>
        <p:nvPr/>
      </p:nvGrpSpPr>
      <p:grpSpPr>
        <a:xfrm>
          <a:off x="0" y="0"/>
          <a:ext cx="0" cy="0"/>
          <a:chOff x="0" y="0"/>
          <a:chExt cx="0" cy="0"/>
        </a:xfrm>
      </p:grpSpPr>
      <p:sp>
        <p:nvSpPr>
          <p:cNvPr id="975" name="Google Shape;975;p14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76" name="Google Shape;976;p14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77" name="Google Shape;977;p149"/>
          <p:cNvGrpSpPr/>
          <p:nvPr/>
        </p:nvGrpSpPr>
        <p:grpSpPr>
          <a:xfrm>
            <a:off x="0" y="5379426"/>
            <a:ext cx="2807368" cy="753891"/>
            <a:chOff x="0" y="5379426"/>
            <a:chExt cx="2807368" cy="753891"/>
          </a:xfrm>
        </p:grpSpPr>
        <p:sp>
          <p:nvSpPr>
            <p:cNvPr id="978" name="Google Shape;978;p14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79" name="Google Shape;979;p14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980" name="Google Shape;980;p149"/>
          <p:cNvSpPr>
            <a:spLocks noGrp="1"/>
          </p:cNvSpPr>
          <p:nvPr>
            <p:ph type="pic" idx="2"/>
          </p:nvPr>
        </p:nvSpPr>
        <p:spPr>
          <a:xfrm>
            <a:off x="2807368" y="457202"/>
            <a:ext cx="8915400" cy="5943598"/>
          </a:xfrm>
          <a:prstGeom prst="rect">
            <a:avLst/>
          </a:prstGeom>
          <a:noFill/>
          <a:ln>
            <a:noFill/>
          </a:ln>
        </p:spPr>
      </p:sp>
      <p:pic>
        <p:nvPicPr>
          <p:cNvPr id="981" name="Google Shape;981;p149"/>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79.xml><?xml version="1.0" encoding="utf-8"?>
<p:sldLayout xmlns:a="http://schemas.openxmlformats.org/drawingml/2006/main" xmlns:r="http://schemas.openxmlformats.org/officeDocument/2006/relationships" xmlns:p="http://schemas.openxmlformats.org/presentationml/2006/main" matchingName="Quotation">
  <p:cSld name="Quotation 13">
    <p:spTree>
      <p:nvGrpSpPr>
        <p:cNvPr id="1" name="Shape 982"/>
        <p:cNvGrpSpPr/>
        <p:nvPr/>
      </p:nvGrpSpPr>
      <p:grpSpPr>
        <a:xfrm>
          <a:off x="0" y="0"/>
          <a:ext cx="0" cy="0"/>
          <a:chOff x="0" y="0"/>
          <a:chExt cx="0" cy="0"/>
        </a:xfrm>
      </p:grpSpPr>
      <p:sp>
        <p:nvSpPr>
          <p:cNvPr id="983" name="Google Shape;983;p15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84" name="Google Shape;984;p15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85" name="Google Shape;985;p15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86" name="Google Shape;986;p1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87" name="Google Shape;987;p1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88" name="Google Shape;988;p1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89" name="Google Shape;989;p150"/>
          <p:cNvGrpSpPr/>
          <p:nvPr/>
        </p:nvGrpSpPr>
        <p:grpSpPr>
          <a:xfrm>
            <a:off x="7191542" y="1"/>
            <a:ext cx="5000459" cy="1425992"/>
            <a:chOff x="7191542" y="1"/>
            <a:chExt cx="5000459" cy="1425992"/>
          </a:xfrm>
        </p:grpSpPr>
        <p:pic>
          <p:nvPicPr>
            <p:cNvPr id="990" name="Google Shape;990;p15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91" name="Google Shape;991;p150"/>
            <p:cNvGrpSpPr/>
            <p:nvPr/>
          </p:nvGrpSpPr>
          <p:grpSpPr>
            <a:xfrm>
              <a:off x="7191542" y="1"/>
              <a:ext cx="5000459" cy="1425992"/>
              <a:chOff x="7186272" y="0"/>
              <a:chExt cx="5005729" cy="1427495"/>
            </a:xfrm>
          </p:grpSpPr>
          <p:sp>
            <p:nvSpPr>
              <p:cNvPr id="992" name="Google Shape;992;p1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93" name="Google Shape;993;p1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94" name="Google Shape;994;p15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298479306"/>
      </p:ext>
    </p:extLst>
  </p:cSld>
  <p:clrMapOvr>
    <a:masterClrMapping/>
  </p:clrMapOvr>
</p:sldLayout>
</file>

<file path=ppt/slideLayouts/slideLayout780.xml><?xml version="1.0" encoding="utf-8"?>
<p:sldLayout xmlns:a="http://schemas.openxmlformats.org/drawingml/2006/main" xmlns:r="http://schemas.openxmlformats.org/officeDocument/2006/relationships" xmlns:p="http://schemas.openxmlformats.org/presentationml/2006/main" matchingName="Quotation">
  <p:cSld name="Quotation 14">
    <p:spTree>
      <p:nvGrpSpPr>
        <p:cNvPr id="1" name="Shape 995"/>
        <p:cNvGrpSpPr/>
        <p:nvPr/>
      </p:nvGrpSpPr>
      <p:grpSpPr>
        <a:xfrm>
          <a:off x="0" y="0"/>
          <a:ext cx="0" cy="0"/>
          <a:chOff x="0" y="0"/>
          <a:chExt cx="0" cy="0"/>
        </a:xfrm>
      </p:grpSpPr>
      <p:sp>
        <p:nvSpPr>
          <p:cNvPr id="996" name="Google Shape;996;p15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97" name="Google Shape;997;p15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98" name="Google Shape;998;p15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99" name="Google Shape;999;p1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00" name="Google Shape;1000;p1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01" name="Google Shape;1001;p1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002" name="Google Shape;1002;p151"/>
          <p:cNvGrpSpPr/>
          <p:nvPr/>
        </p:nvGrpSpPr>
        <p:grpSpPr>
          <a:xfrm>
            <a:off x="7191542" y="1"/>
            <a:ext cx="5000459" cy="1425992"/>
            <a:chOff x="7191542" y="1"/>
            <a:chExt cx="5000459" cy="1425992"/>
          </a:xfrm>
        </p:grpSpPr>
        <p:pic>
          <p:nvPicPr>
            <p:cNvPr id="1003" name="Google Shape;1003;p15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04" name="Google Shape;1004;p151"/>
            <p:cNvGrpSpPr/>
            <p:nvPr/>
          </p:nvGrpSpPr>
          <p:grpSpPr>
            <a:xfrm>
              <a:off x="7191542" y="1"/>
              <a:ext cx="5000459" cy="1425992"/>
              <a:chOff x="7186272" y="0"/>
              <a:chExt cx="5005729" cy="1427495"/>
            </a:xfrm>
          </p:grpSpPr>
          <p:sp>
            <p:nvSpPr>
              <p:cNvPr id="1005" name="Google Shape;1005;p1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06" name="Google Shape;1006;p1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007" name="Google Shape;1007;p15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781.xml><?xml version="1.0" encoding="utf-8"?>
<p:sldLayout xmlns:a="http://schemas.openxmlformats.org/drawingml/2006/main" xmlns:r="http://schemas.openxmlformats.org/officeDocument/2006/relationships" xmlns:p="http://schemas.openxmlformats.org/presentationml/2006/main" matchingName="Title and Content">
  <p:cSld name="Title and Content 12">
    <p:spTree>
      <p:nvGrpSpPr>
        <p:cNvPr id="1" name="Shape 1008"/>
        <p:cNvGrpSpPr/>
        <p:nvPr/>
      </p:nvGrpSpPr>
      <p:grpSpPr>
        <a:xfrm>
          <a:off x="0" y="0"/>
          <a:ext cx="0" cy="0"/>
          <a:chOff x="0" y="0"/>
          <a:chExt cx="0" cy="0"/>
        </a:xfrm>
      </p:grpSpPr>
      <p:grpSp>
        <p:nvGrpSpPr>
          <p:cNvPr id="1009" name="Google Shape;1009;p152"/>
          <p:cNvGrpSpPr/>
          <p:nvPr/>
        </p:nvGrpSpPr>
        <p:grpSpPr>
          <a:xfrm>
            <a:off x="7191542" y="1"/>
            <a:ext cx="5000459" cy="1425992"/>
            <a:chOff x="7191542" y="1"/>
            <a:chExt cx="5000459" cy="1425992"/>
          </a:xfrm>
        </p:grpSpPr>
        <p:pic>
          <p:nvPicPr>
            <p:cNvPr id="1010" name="Google Shape;1010;p15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11" name="Google Shape;1011;p152"/>
            <p:cNvGrpSpPr/>
            <p:nvPr/>
          </p:nvGrpSpPr>
          <p:grpSpPr>
            <a:xfrm>
              <a:off x="7191542" y="1"/>
              <a:ext cx="5000459" cy="1425992"/>
              <a:chOff x="7186272" y="0"/>
              <a:chExt cx="5005729" cy="1427495"/>
            </a:xfrm>
          </p:grpSpPr>
          <p:sp>
            <p:nvSpPr>
              <p:cNvPr id="1012" name="Google Shape;1012;p1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13" name="Google Shape;1013;p1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14" name="Google Shape;1014;p15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15" name="Google Shape;1015;p15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6" name="Google Shape;1016;p15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17" name="Google Shape;1017;p1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8" name="Google Shape;1018;p1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82.xml><?xml version="1.0" encoding="utf-8"?>
<p:sldLayout xmlns:a="http://schemas.openxmlformats.org/drawingml/2006/main" xmlns:r="http://schemas.openxmlformats.org/officeDocument/2006/relationships" xmlns:p="http://schemas.openxmlformats.org/presentationml/2006/main" matchingName="Two Content">
  <p:cSld name="Two Content 8">
    <p:spTree>
      <p:nvGrpSpPr>
        <p:cNvPr id="1" name="Shape 1019"/>
        <p:cNvGrpSpPr/>
        <p:nvPr/>
      </p:nvGrpSpPr>
      <p:grpSpPr>
        <a:xfrm>
          <a:off x="0" y="0"/>
          <a:ext cx="0" cy="0"/>
          <a:chOff x="0" y="0"/>
          <a:chExt cx="0" cy="0"/>
        </a:xfrm>
      </p:grpSpPr>
      <p:sp>
        <p:nvSpPr>
          <p:cNvPr id="1020" name="Google Shape;1020;p15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21" name="Google Shape;1021;p15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022" name="Google Shape;1022;p153"/>
          <p:cNvGrpSpPr/>
          <p:nvPr/>
        </p:nvGrpSpPr>
        <p:grpSpPr>
          <a:xfrm>
            <a:off x="7191542" y="1"/>
            <a:ext cx="5000459" cy="1425992"/>
            <a:chOff x="7191542" y="1"/>
            <a:chExt cx="5000459" cy="1425992"/>
          </a:xfrm>
        </p:grpSpPr>
        <p:pic>
          <p:nvPicPr>
            <p:cNvPr id="1023" name="Google Shape;1023;p15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24" name="Google Shape;1024;p153"/>
            <p:cNvGrpSpPr/>
            <p:nvPr/>
          </p:nvGrpSpPr>
          <p:grpSpPr>
            <a:xfrm>
              <a:off x="7191542" y="1"/>
              <a:ext cx="5000459" cy="1425992"/>
              <a:chOff x="7186272" y="0"/>
              <a:chExt cx="5005729" cy="1427495"/>
            </a:xfrm>
          </p:grpSpPr>
          <p:sp>
            <p:nvSpPr>
              <p:cNvPr id="1025" name="Google Shape;1025;p1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26" name="Google Shape;1026;p1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27" name="Google Shape;1027;p15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28" name="Google Shape;1028;p15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29" name="Google Shape;1029;p1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30" name="Google Shape;1030;p1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83.xml><?xml version="1.0" encoding="utf-8"?>
<p:sldLayout xmlns:a="http://schemas.openxmlformats.org/drawingml/2006/main" xmlns:r="http://schemas.openxmlformats.org/officeDocument/2006/relationships" xmlns:p="http://schemas.openxmlformats.org/presentationml/2006/main" matchingName="Comparison">
  <p:cSld name="Comparison 8">
    <p:spTree>
      <p:nvGrpSpPr>
        <p:cNvPr id="1" name="Shape 1031"/>
        <p:cNvGrpSpPr/>
        <p:nvPr/>
      </p:nvGrpSpPr>
      <p:grpSpPr>
        <a:xfrm>
          <a:off x="0" y="0"/>
          <a:ext cx="0" cy="0"/>
          <a:chOff x="0" y="0"/>
          <a:chExt cx="0" cy="0"/>
        </a:xfrm>
      </p:grpSpPr>
      <p:grpSp>
        <p:nvGrpSpPr>
          <p:cNvPr id="1032" name="Google Shape;1032;p154"/>
          <p:cNvGrpSpPr/>
          <p:nvPr/>
        </p:nvGrpSpPr>
        <p:grpSpPr>
          <a:xfrm>
            <a:off x="7191542" y="1"/>
            <a:ext cx="5000459" cy="1425992"/>
            <a:chOff x="7191542" y="1"/>
            <a:chExt cx="5000459" cy="1425992"/>
          </a:xfrm>
        </p:grpSpPr>
        <p:pic>
          <p:nvPicPr>
            <p:cNvPr id="1033" name="Google Shape;1033;p15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34" name="Google Shape;1034;p154"/>
            <p:cNvGrpSpPr/>
            <p:nvPr/>
          </p:nvGrpSpPr>
          <p:grpSpPr>
            <a:xfrm>
              <a:off x="7191542" y="1"/>
              <a:ext cx="5000459" cy="1425992"/>
              <a:chOff x="7186272" y="0"/>
              <a:chExt cx="5005729" cy="1427495"/>
            </a:xfrm>
          </p:grpSpPr>
          <p:sp>
            <p:nvSpPr>
              <p:cNvPr id="1035" name="Google Shape;1035;p15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36" name="Google Shape;1036;p15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37" name="Google Shape;1037;p15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38" name="Google Shape;1038;p15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39" name="Google Shape;1039;p15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0" name="Google Shape;1040;p15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41" name="Google Shape;1041;p15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2" name="Google Shape;1042;p15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43" name="Google Shape;1043;p15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44" name="Google Shape;1044;p15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84.xml><?xml version="1.0" encoding="utf-8"?>
<p:sldLayout xmlns:a="http://schemas.openxmlformats.org/drawingml/2006/main" xmlns:r="http://schemas.openxmlformats.org/officeDocument/2006/relationships" xmlns:p="http://schemas.openxmlformats.org/presentationml/2006/main" matchingName="Title Only">
  <p:cSld name="Title Only 8">
    <p:spTree>
      <p:nvGrpSpPr>
        <p:cNvPr id="1" name="Shape 1045"/>
        <p:cNvGrpSpPr/>
        <p:nvPr/>
      </p:nvGrpSpPr>
      <p:grpSpPr>
        <a:xfrm>
          <a:off x="0" y="0"/>
          <a:ext cx="0" cy="0"/>
          <a:chOff x="0" y="0"/>
          <a:chExt cx="0" cy="0"/>
        </a:xfrm>
      </p:grpSpPr>
      <p:grpSp>
        <p:nvGrpSpPr>
          <p:cNvPr id="1046" name="Google Shape;1046;p155"/>
          <p:cNvGrpSpPr/>
          <p:nvPr/>
        </p:nvGrpSpPr>
        <p:grpSpPr>
          <a:xfrm>
            <a:off x="7191542" y="1"/>
            <a:ext cx="5000459" cy="1425992"/>
            <a:chOff x="7191542" y="1"/>
            <a:chExt cx="5000459" cy="1425992"/>
          </a:xfrm>
        </p:grpSpPr>
        <p:pic>
          <p:nvPicPr>
            <p:cNvPr id="1047" name="Google Shape;1047;p15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48" name="Google Shape;1048;p155"/>
            <p:cNvGrpSpPr/>
            <p:nvPr/>
          </p:nvGrpSpPr>
          <p:grpSpPr>
            <a:xfrm>
              <a:off x="7191542" y="1"/>
              <a:ext cx="5000459" cy="1425992"/>
              <a:chOff x="7186272" y="0"/>
              <a:chExt cx="5005729" cy="1427495"/>
            </a:xfrm>
          </p:grpSpPr>
          <p:sp>
            <p:nvSpPr>
              <p:cNvPr id="1049" name="Google Shape;1049;p1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50" name="Google Shape;1050;p1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51" name="Google Shape;1051;p15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52" name="Google Shape;1052;p15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53" name="Google Shape;1053;p1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54" name="Google Shape;1054;p1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85.xml><?xml version="1.0" encoding="utf-8"?>
<p:sldLayout xmlns:a="http://schemas.openxmlformats.org/drawingml/2006/main" xmlns:r="http://schemas.openxmlformats.org/officeDocument/2006/relationships" xmlns:p="http://schemas.openxmlformats.org/presentationml/2006/main" matchingName="End">
  <p:cSld name="End 8">
    <p:spTree>
      <p:nvGrpSpPr>
        <p:cNvPr id="1" name="Shape 1055"/>
        <p:cNvGrpSpPr/>
        <p:nvPr/>
      </p:nvGrpSpPr>
      <p:grpSpPr>
        <a:xfrm>
          <a:off x="0" y="0"/>
          <a:ext cx="0" cy="0"/>
          <a:chOff x="0" y="0"/>
          <a:chExt cx="0" cy="0"/>
        </a:xfrm>
      </p:grpSpPr>
      <p:grpSp>
        <p:nvGrpSpPr>
          <p:cNvPr id="1056" name="Google Shape;1056;p156"/>
          <p:cNvGrpSpPr/>
          <p:nvPr/>
        </p:nvGrpSpPr>
        <p:grpSpPr>
          <a:xfrm>
            <a:off x="0" y="0"/>
            <a:ext cx="12192000" cy="2148830"/>
            <a:chOff x="0" y="0"/>
            <a:chExt cx="12192000" cy="2148830"/>
          </a:xfrm>
        </p:grpSpPr>
        <p:sp>
          <p:nvSpPr>
            <p:cNvPr id="1057" name="Google Shape;1057;p15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58" name="Google Shape;1058;p15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059" name="Google Shape;1059;p156"/>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60" name="Google Shape;1060;p156"/>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61" name="Google Shape;1061;p15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62" name="Google Shape;1062;p156"/>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063" name="Google Shape;1063;p156"/>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86.xml><?xml version="1.0" encoding="utf-8"?>
<p:sldLayout xmlns:a="http://schemas.openxmlformats.org/drawingml/2006/main" xmlns:r="http://schemas.openxmlformats.org/officeDocument/2006/relationships" xmlns:p="http://schemas.openxmlformats.org/presentationml/2006/main" matchingName="Blank">
  <p:cSld name="Blank 8">
    <p:spTree>
      <p:nvGrpSpPr>
        <p:cNvPr id="1" name="Shape 1064"/>
        <p:cNvGrpSpPr/>
        <p:nvPr/>
      </p:nvGrpSpPr>
      <p:grpSpPr>
        <a:xfrm>
          <a:off x="0" y="0"/>
          <a:ext cx="0" cy="0"/>
          <a:chOff x="0" y="0"/>
          <a:chExt cx="0" cy="0"/>
        </a:xfrm>
      </p:grpSpPr>
      <p:sp>
        <p:nvSpPr>
          <p:cNvPr id="1065" name="Google Shape;1065;p15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66" name="Google Shape;1066;p1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67" name="Google Shape;1067;p1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068" name="Google Shape;1068;p157"/>
          <p:cNvGrpSpPr/>
          <p:nvPr/>
        </p:nvGrpSpPr>
        <p:grpSpPr>
          <a:xfrm>
            <a:off x="7191542" y="1"/>
            <a:ext cx="5000459" cy="1425992"/>
            <a:chOff x="7191542" y="1"/>
            <a:chExt cx="5000459" cy="1425992"/>
          </a:xfrm>
        </p:grpSpPr>
        <p:pic>
          <p:nvPicPr>
            <p:cNvPr id="1069" name="Google Shape;1069;p1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70" name="Google Shape;1070;p157"/>
            <p:cNvGrpSpPr/>
            <p:nvPr/>
          </p:nvGrpSpPr>
          <p:grpSpPr>
            <a:xfrm>
              <a:off x="7191542" y="1"/>
              <a:ext cx="5000459" cy="1425992"/>
              <a:chOff x="7186272" y="0"/>
              <a:chExt cx="5005729" cy="1427495"/>
            </a:xfrm>
          </p:grpSpPr>
          <p:sp>
            <p:nvSpPr>
              <p:cNvPr id="1071" name="Google Shape;1071;p1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72" name="Google Shape;1072;p1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787.xml><?xml version="1.0" encoding="utf-8"?>
<p:sldLayout xmlns:a="http://schemas.openxmlformats.org/drawingml/2006/main" xmlns:r="http://schemas.openxmlformats.org/officeDocument/2006/relationships" xmlns:p="http://schemas.openxmlformats.org/presentationml/2006/main" matchingName="Quotation">
  <p:cSld name="Quotation 15">
    <p:spTree>
      <p:nvGrpSpPr>
        <p:cNvPr id="1" name="Shape 1073"/>
        <p:cNvGrpSpPr/>
        <p:nvPr/>
      </p:nvGrpSpPr>
      <p:grpSpPr>
        <a:xfrm>
          <a:off x="0" y="0"/>
          <a:ext cx="0" cy="0"/>
          <a:chOff x="0" y="0"/>
          <a:chExt cx="0" cy="0"/>
        </a:xfrm>
      </p:grpSpPr>
      <p:sp>
        <p:nvSpPr>
          <p:cNvPr id="1074" name="Google Shape;1074;p15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75" name="Google Shape;1075;p15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6" name="Google Shape;1076;p15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7" name="Google Shape;1077;p1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78" name="Google Shape;1078;p1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79" name="Google Shape;1079;p1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080" name="Google Shape;1080;p158"/>
          <p:cNvGrpSpPr/>
          <p:nvPr/>
        </p:nvGrpSpPr>
        <p:grpSpPr>
          <a:xfrm>
            <a:off x="7191542" y="1"/>
            <a:ext cx="5000459" cy="1425992"/>
            <a:chOff x="7191542" y="1"/>
            <a:chExt cx="5000459" cy="1425992"/>
          </a:xfrm>
        </p:grpSpPr>
        <p:pic>
          <p:nvPicPr>
            <p:cNvPr id="1081" name="Google Shape;1081;p1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82" name="Google Shape;1082;p158"/>
            <p:cNvGrpSpPr/>
            <p:nvPr/>
          </p:nvGrpSpPr>
          <p:grpSpPr>
            <a:xfrm>
              <a:off x="7191542" y="1"/>
              <a:ext cx="5000459" cy="1425992"/>
              <a:chOff x="7186272" y="0"/>
              <a:chExt cx="5005729" cy="1427495"/>
            </a:xfrm>
          </p:grpSpPr>
          <p:sp>
            <p:nvSpPr>
              <p:cNvPr id="1083" name="Google Shape;1083;p1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84" name="Google Shape;1084;p1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085" name="Google Shape;1085;p15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788.xml><?xml version="1.0" encoding="utf-8"?>
<p:sldLayout xmlns:a="http://schemas.openxmlformats.org/drawingml/2006/main" xmlns:r="http://schemas.openxmlformats.org/officeDocument/2006/relationships" xmlns:p="http://schemas.openxmlformats.org/presentationml/2006/main" matchingName="End">
  <p:cSld name="End 9">
    <p:spTree>
      <p:nvGrpSpPr>
        <p:cNvPr id="1" name="Shape 1086"/>
        <p:cNvGrpSpPr/>
        <p:nvPr/>
      </p:nvGrpSpPr>
      <p:grpSpPr>
        <a:xfrm>
          <a:off x="0" y="0"/>
          <a:ext cx="0" cy="0"/>
          <a:chOff x="0" y="0"/>
          <a:chExt cx="0" cy="0"/>
        </a:xfrm>
      </p:grpSpPr>
      <p:grpSp>
        <p:nvGrpSpPr>
          <p:cNvPr id="1087" name="Google Shape;1087;p159"/>
          <p:cNvGrpSpPr/>
          <p:nvPr/>
        </p:nvGrpSpPr>
        <p:grpSpPr>
          <a:xfrm>
            <a:off x="0" y="0"/>
            <a:ext cx="12192000" cy="2148830"/>
            <a:chOff x="0" y="0"/>
            <a:chExt cx="12192000" cy="2148830"/>
          </a:xfrm>
        </p:grpSpPr>
        <p:sp>
          <p:nvSpPr>
            <p:cNvPr id="1088" name="Google Shape;1088;p15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89" name="Google Shape;1089;p15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090" name="Google Shape;1090;p15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1" name="Google Shape;1091;p15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92" name="Google Shape;1092;p15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93" name="Google Shape;1093;p15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094" name="Google Shape;1094;p159"/>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89.xml><?xml version="1.0" encoding="utf-8"?>
<p:sldLayout xmlns:a="http://schemas.openxmlformats.org/drawingml/2006/main" xmlns:r="http://schemas.openxmlformats.org/officeDocument/2006/relationships" xmlns:p="http://schemas.openxmlformats.org/presentationml/2006/main" matchingName="Cover">
  <p:cSld name="Cover 11">
    <p:spTree>
      <p:nvGrpSpPr>
        <p:cNvPr id="1" name="Shape 1095"/>
        <p:cNvGrpSpPr/>
        <p:nvPr/>
      </p:nvGrpSpPr>
      <p:grpSpPr>
        <a:xfrm>
          <a:off x="0" y="0"/>
          <a:ext cx="0" cy="0"/>
          <a:chOff x="0" y="0"/>
          <a:chExt cx="0" cy="0"/>
        </a:xfrm>
      </p:grpSpPr>
      <p:sp>
        <p:nvSpPr>
          <p:cNvPr id="1096" name="Google Shape;1096;p16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7" name="Google Shape;1097;p16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8" name="Google Shape;1098;p16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99" name="Google Shape;1099;p160"/>
          <p:cNvSpPr>
            <a:spLocks noGrp="1"/>
          </p:cNvSpPr>
          <p:nvPr>
            <p:ph type="pic" idx="2"/>
          </p:nvPr>
        </p:nvSpPr>
        <p:spPr>
          <a:xfrm>
            <a:off x="7118684" y="233915"/>
            <a:ext cx="5073316" cy="5943600"/>
          </a:xfrm>
          <a:prstGeom prst="rect">
            <a:avLst/>
          </a:prstGeom>
          <a:noFill/>
          <a:ln>
            <a:noFill/>
          </a:ln>
        </p:spPr>
      </p:sp>
      <p:grpSp>
        <p:nvGrpSpPr>
          <p:cNvPr id="1100" name="Google Shape;1100;p160"/>
          <p:cNvGrpSpPr/>
          <p:nvPr/>
        </p:nvGrpSpPr>
        <p:grpSpPr>
          <a:xfrm>
            <a:off x="0" y="5020348"/>
            <a:ext cx="12192000" cy="1837653"/>
            <a:chOff x="0" y="5020348"/>
            <a:chExt cx="12192000" cy="1837653"/>
          </a:xfrm>
        </p:grpSpPr>
        <p:sp>
          <p:nvSpPr>
            <p:cNvPr id="1101" name="Google Shape;1101;p16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02" name="Google Shape;1102;p16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103" name="Google Shape;1103;p16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805592603"/>
      </p:ext>
    </p:extLst>
  </p:cSld>
  <p:clrMapOvr>
    <a:masterClrMapping/>
  </p:clrMapOvr>
</p:sldLayout>
</file>

<file path=ppt/slideLayouts/slideLayout790.xml><?xml version="1.0" encoding="utf-8"?>
<p:sldLayout xmlns:a="http://schemas.openxmlformats.org/drawingml/2006/main" xmlns:r="http://schemas.openxmlformats.org/officeDocument/2006/relationships" xmlns:p="http://schemas.openxmlformats.org/presentationml/2006/main" matchingName="Divider">
  <p:cSld name="Divider 12">
    <p:bg>
      <p:bgPr>
        <a:solidFill>
          <a:schemeClr val="lt2"/>
        </a:solidFill>
        <a:effectLst/>
      </p:bgPr>
    </p:bg>
    <p:spTree>
      <p:nvGrpSpPr>
        <p:cNvPr id="1" name="Shape 1104"/>
        <p:cNvGrpSpPr/>
        <p:nvPr/>
      </p:nvGrpSpPr>
      <p:grpSpPr>
        <a:xfrm>
          <a:off x="0" y="0"/>
          <a:ext cx="0" cy="0"/>
          <a:chOff x="0" y="0"/>
          <a:chExt cx="0" cy="0"/>
        </a:xfrm>
      </p:grpSpPr>
      <p:grpSp>
        <p:nvGrpSpPr>
          <p:cNvPr id="1105" name="Google Shape;1105;p161"/>
          <p:cNvGrpSpPr/>
          <p:nvPr/>
        </p:nvGrpSpPr>
        <p:grpSpPr>
          <a:xfrm>
            <a:off x="0" y="5020347"/>
            <a:ext cx="12192000" cy="1837653"/>
            <a:chOff x="0" y="5020347"/>
            <a:chExt cx="12192000" cy="1837653"/>
          </a:xfrm>
        </p:grpSpPr>
        <p:sp>
          <p:nvSpPr>
            <p:cNvPr id="1106" name="Google Shape;1106;p16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07" name="Google Shape;1107;p16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08" name="Google Shape;1108;p16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109" name="Google Shape;1109;p16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110" name="Google Shape;1110;p161"/>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1" name="Google Shape;1111;p161"/>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91.xml><?xml version="1.0" encoding="utf-8"?>
<p:sldLayout xmlns:a="http://schemas.openxmlformats.org/drawingml/2006/main" xmlns:r="http://schemas.openxmlformats.org/officeDocument/2006/relationships" xmlns:p="http://schemas.openxmlformats.org/presentationml/2006/main" matchingName="Photo Slide">
  <p:cSld name="Photo Slide 10">
    <p:spTree>
      <p:nvGrpSpPr>
        <p:cNvPr id="1" name="Shape 1112"/>
        <p:cNvGrpSpPr/>
        <p:nvPr/>
      </p:nvGrpSpPr>
      <p:grpSpPr>
        <a:xfrm>
          <a:off x="0" y="0"/>
          <a:ext cx="0" cy="0"/>
          <a:chOff x="0" y="0"/>
          <a:chExt cx="0" cy="0"/>
        </a:xfrm>
      </p:grpSpPr>
      <p:sp>
        <p:nvSpPr>
          <p:cNvPr id="1113" name="Google Shape;1113;p16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14" name="Google Shape;1114;p16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5" name="Google Shape;1115;p162"/>
          <p:cNvGrpSpPr/>
          <p:nvPr/>
        </p:nvGrpSpPr>
        <p:grpSpPr>
          <a:xfrm>
            <a:off x="0" y="5379426"/>
            <a:ext cx="2807368" cy="753891"/>
            <a:chOff x="0" y="5379426"/>
            <a:chExt cx="2807368" cy="753891"/>
          </a:xfrm>
        </p:grpSpPr>
        <p:sp>
          <p:nvSpPr>
            <p:cNvPr id="1116" name="Google Shape;1116;p16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17" name="Google Shape;1117;p16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18" name="Google Shape;1118;p162"/>
          <p:cNvSpPr>
            <a:spLocks noGrp="1"/>
          </p:cNvSpPr>
          <p:nvPr>
            <p:ph type="pic" idx="2"/>
          </p:nvPr>
        </p:nvSpPr>
        <p:spPr>
          <a:xfrm>
            <a:off x="2807368" y="457202"/>
            <a:ext cx="8915400" cy="5943598"/>
          </a:xfrm>
          <a:prstGeom prst="rect">
            <a:avLst/>
          </a:prstGeom>
          <a:noFill/>
          <a:ln>
            <a:noFill/>
          </a:ln>
        </p:spPr>
      </p:sp>
      <p:pic>
        <p:nvPicPr>
          <p:cNvPr id="1119" name="Google Shape;1119;p16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92.xml><?xml version="1.0" encoding="utf-8"?>
<p:sldLayout xmlns:a="http://schemas.openxmlformats.org/drawingml/2006/main" xmlns:r="http://schemas.openxmlformats.org/officeDocument/2006/relationships" xmlns:p="http://schemas.openxmlformats.org/presentationml/2006/main" matchingName="Quotation">
  <p:cSld name="Quotation 16">
    <p:spTree>
      <p:nvGrpSpPr>
        <p:cNvPr id="1" name="Shape 1120"/>
        <p:cNvGrpSpPr/>
        <p:nvPr/>
      </p:nvGrpSpPr>
      <p:grpSpPr>
        <a:xfrm>
          <a:off x="0" y="0"/>
          <a:ext cx="0" cy="0"/>
          <a:chOff x="0" y="0"/>
          <a:chExt cx="0" cy="0"/>
        </a:xfrm>
      </p:grpSpPr>
      <p:sp>
        <p:nvSpPr>
          <p:cNvPr id="1121" name="Google Shape;1121;p16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22" name="Google Shape;1122;p16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23" name="Google Shape;1123;p16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4" name="Google Shape;1124;p1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25" name="Google Shape;1125;p1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26" name="Google Shape;1126;p1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27" name="Google Shape;1127;p163"/>
          <p:cNvGrpSpPr/>
          <p:nvPr/>
        </p:nvGrpSpPr>
        <p:grpSpPr>
          <a:xfrm>
            <a:off x="7191542" y="1"/>
            <a:ext cx="5000459" cy="1425992"/>
            <a:chOff x="7191542" y="1"/>
            <a:chExt cx="5000459" cy="1425992"/>
          </a:xfrm>
        </p:grpSpPr>
        <p:pic>
          <p:nvPicPr>
            <p:cNvPr id="1128" name="Google Shape;1128;p1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29" name="Google Shape;1129;p163"/>
            <p:cNvGrpSpPr/>
            <p:nvPr/>
          </p:nvGrpSpPr>
          <p:grpSpPr>
            <a:xfrm>
              <a:off x="7191542" y="1"/>
              <a:ext cx="5000459" cy="1425992"/>
              <a:chOff x="7186272" y="0"/>
              <a:chExt cx="5005729" cy="1427495"/>
            </a:xfrm>
          </p:grpSpPr>
          <p:sp>
            <p:nvSpPr>
              <p:cNvPr id="1130" name="Google Shape;1130;p1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31" name="Google Shape;1131;p1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132" name="Google Shape;1132;p16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793.xml><?xml version="1.0" encoding="utf-8"?>
<p:sldLayout xmlns:a="http://schemas.openxmlformats.org/drawingml/2006/main" xmlns:r="http://schemas.openxmlformats.org/officeDocument/2006/relationships" xmlns:p="http://schemas.openxmlformats.org/presentationml/2006/main" matchingName="Quotation">
  <p:cSld name="Quotation 17">
    <p:spTree>
      <p:nvGrpSpPr>
        <p:cNvPr id="1" name="Shape 1133"/>
        <p:cNvGrpSpPr/>
        <p:nvPr/>
      </p:nvGrpSpPr>
      <p:grpSpPr>
        <a:xfrm>
          <a:off x="0" y="0"/>
          <a:ext cx="0" cy="0"/>
          <a:chOff x="0" y="0"/>
          <a:chExt cx="0" cy="0"/>
        </a:xfrm>
      </p:grpSpPr>
      <p:sp>
        <p:nvSpPr>
          <p:cNvPr id="1134" name="Google Shape;1134;p16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5" name="Google Shape;1135;p16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6" name="Google Shape;1136;p16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7" name="Google Shape;1137;p1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38" name="Google Shape;1138;p1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39" name="Google Shape;1139;p1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40" name="Google Shape;1140;p164"/>
          <p:cNvGrpSpPr/>
          <p:nvPr/>
        </p:nvGrpSpPr>
        <p:grpSpPr>
          <a:xfrm>
            <a:off x="7191542" y="1"/>
            <a:ext cx="5000459" cy="1425992"/>
            <a:chOff x="7191542" y="1"/>
            <a:chExt cx="5000459" cy="1425992"/>
          </a:xfrm>
        </p:grpSpPr>
        <p:pic>
          <p:nvPicPr>
            <p:cNvPr id="1141" name="Google Shape;1141;p16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42" name="Google Shape;1142;p164"/>
            <p:cNvGrpSpPr/>
            <p:nvPr/>
          </p:nvGrpSpPr>
          <p:grpSpPr>
            <a:xfrm>
              <a:off x="7191542" y="1"/>
              <a:ext cx="5000459" cy="1425992"/>
              <a:chOff x="7186272" y="0"/>
              <a:chExt cx="5005729" cy="1427495"/>
            </a:xfrm>
          </p:grpSpPr>
          <p:sp>
            <p:nvSpPr>
              <p:cNvPr id="1143" name="Google Shape;1143;p1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44" name="Google Shape;1144;p1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145" name="Google Shape;1145;p16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794.xml><?xml version="1.0" encoding="utf-8"?>
<p:sldLayout xmlns:a="http://schemas.openxmlformats.org/drawingml/2006/main" xmlns:r="http://schemas.openxmlformats.org/officeDocument/2006/relationships" xmlns:p="http://schemas.openxmlformats.org/presentationml/2006/main" matchingName="Title and Content">
  <p:cSld name="Title and Content 13">
    <p:spTree>
      <p:nvGrpSpPr>
        <p:cNvPr id="1" name="Shape 1146"/>
        <p:cNvGrpSpPr/>
        <p:nvPr/>
      </p:nvGrpSpPr>
      <p:grpSpPr>
        <a:xfrm>
          <a:off x="0" y="0"/>
          <a:ext cx="0" cy="0"/>
          <a:chOff x="0" y="0"/>
          <a:chExt cx="0" cy="0"/>
        </a:xfrm>
      </p:grpSpPr>
      <p:grpSp>
        <p:nvGrpSpPr>
          <p:cNvPr id="1147" name="Google Shape;1147;p165"/>
          <p:cNvGrpSpPr/>
          <p:nvPr/>
        </p:nvGrpSpPr>
        <p:grpSpPr>
          <a:xfrm>
            <a:off x="7191542" y="1"/>
            <a:ext cx="5000459" cy="1425992"/>
            <a:chOff x="7191542" y="1"/>
            <a:chExt cx="5000459" cy="1425992"/>
          </a:xfrm>
        </p:grpSpPr>
        <p:pic>
          <p:nvPicPr>
            <p:cNvPr id="1148" name="Google Shape;1148;p1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49" name="Google Shape;1149;p165"/>
            <p:cNvGrpSpPr/>
            <p:nvPr/>
          </p:nvGrpSpPr>
          <p:grpSpPr>
            <a:xfrm>
              <a:off x="7191542" y="1"/>
              <a:ext cx="5000459" cy="1425992"/>
              <a:chOff x="7186272" y="0"/>
              <a:chExt cx="5005729" cy="1427495"/>
            </a:xfrm>
          </p:grpSpPr>
          <p:sp>
            <p:nvSpPr>
              <p:cNvPr id="1150" name="Google Shape;1150;p1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51" name="Google Shape;1151;p1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52" name="Google Shape;1152;p16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3" name="Google Shape;1153;p16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4" name="Google Shape;1154;p1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55" name="Google Shape;1155;p1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56" name="Google Shape;1156;p1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95.xml><?xml version="1.0" encoding="utf-8"?>
<p:sldLayout xmlns:a="http://schemas.openxmlformats.org/drawingml/2006/main" xmlns:r="http://schemas.openxmlformats.org/officeDocument/2006/relationships" xmlns:p="http://schemas.openxmlformats.org/presentationml/2006/main" matchingName="Two Content">
  <p:cSld name="Two Content 9">
    <p:spTree>
      <p:nvGrpSpPr>
        <p:cNvPr id="1" name="Shape 1157"/>
        <p:cNvGrpSpPr/>
        <p:nvPr/>
      </p:nvGrpSpPr>
      <p:grpSpPr>
        <a:xfrm>
          <a:off x="0" y="0"/>
          <a:ext cx="0" cy="0"/>
          <a:chOff x="0" y="0"/>
          <a:chExt cx="0" cy="0"/>
        </a:xfrm>
      </p:grpSpPr>
      <p:sp>
        <p:nvSpPr>
          <p:cNvPr id="1158" name="Google Shape;1158;p16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9" name="Google Shape;1159;p16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60" name="Google Shape;1160;p166"/>
          <p:cNvGrpSpPr/>
          <p:nvPr/>
        </p:nvGrpSpPr>
        <p:grpSpPr>
          <a:xfrm>
            <a:off x="7191542" y="1"/>
            <a:ext cx="5000459" cy="1425992"/>
            <a:chOff x="7191542" y="1"/>
            <a:chExt cx="5000459" cy="1425992"/>
          </a:xfrm>
        </p:grpSpPr>
        <p:pic>
          <p:nvPicPr>
            <p:cNvPr id="1161" name="Google Shape;1161;p1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62" name="Google Shape;1162;p166"/>
            <p:cNvGrpSpPr/>
            <p:nvPr/>
          </p:nvGrpSpPr>
          <p:grpSpPr>
            <a:xfrm>
              <a:off x="7191542" y="1"/>
              <a:ext cx="5000459" cy="1425992"/>
              <a:chOff x="7186272" y="0"/>
              <a:chExt cx="5005729" cy="1427495"/>
            </a:xfrm>
          </p:grpSpPr>
          <p:sp>
            <p:nvSpPr>
              <p:cNvPr id="1163" name="Google Shape;1163;p1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64" name="Google Shape;1164;p1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65" name="Google Shape;1165;p16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6" name="Google Shape;1166;p16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67" name="Google Shape;1167;p1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8" name="Google Shape;1168;p1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96.xml><?xml version="1.0" encoding="utf-8"?>
<p:sldLayout xmlns:a="http://schemas.openxmlformats.org/drawingml/2006/main" xmlns:r="http://schemas.openxmlformats.org/officeDocument/2006/relationships" xmlns:p="http://schemas.openxmlformats.org/presentationml/2006/main" matchingName="Comparison">
  <p:cSld name="Comparison 9">
    <p:spTree>
      <p:nvGrpSpPr>
        <p:cNvPr id="1" name="Shape 1169"/>
        <p:cNvGrpSpPr/>
        <p:nvPr/>
      </p:nvGrpSpPr>
      <p:grpSpPr>
        <a:xfrm>
          <a:off x="0" y="0"/>
          <a:ext cx="0" cy="0"/>
          <a:chOff x="0" y="0"/>
          <a:chExt cx="0" cy="0"/>
        </a:xfrm>
      </p:grpSpPr>
      <p:grpSp>
        <p:nvGrpSpPr>
          <p:cNvPr id="1170" name="Google Shape;1170;p167"/>
          <p:cNvGrpSpPr/>
          <p:nvPr/>
        </p:nvGrpSpPr>
        <p:grpSpPr>
          <a:xfrm>
            <a:off x="7191542" y="1"/>
            <a:ext cx="5000459" cy="1425992"/>
            <a:chOff x="7191542" y="1"/>
            <a:chExt cx="5000459" cy="1425992"/>
          </a:xfrm>
        </p:grpSpPr>
        <p:pic>
          <p:nvPicPr>
            <p:cNvPr id="1171" name="Google Shape;1171;p1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72" name="Google Shape;1172;p167"/>
            <p:cNvGrpSpPr/>
            <p:nvPr/>
          </p:nvGrpSpPr>
          <p:grpSpPr>
            <a:xfrm>
              <a:off x="7191542" y="1"/>
              <a:ext cx="5000459" cy="1425992"/>
              <a:chOff x="7186272" y="0"/>
              <a:chExt cx="5005729" cy="1427495"/>
            </a:xfrm>
          </p:grpSpPr>
          <p:sp>
            <p:nvSpPr>
              <p:cNvPr id="1173" name="Google Shape;1173;p1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74" name="Google Shape;1174;p1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75" name="Google Shape;1175;p16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76" name="Google Shape;1176;p16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77" name="Google Shape;1177;p16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8" name="Google Shape;1178;p16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79" name="Google Shape;1179;p16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80" name="Google Shape;1180;p16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81" name="Google Shape;1181;p1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2" name="Google Shape;1182;p1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97.xml><?xml version="1.0" encoding="utf-8"?>
<p:sldLayout xmlns:a="http://schemas.openxmlformats.org/drawingml/2006/main" xmlns:r="http://schemas.openxmlformats.org/officeDocument/2006/relationships" xmlns:p="http://schemas.openxmlformats.org/presentationml/2006/main" matchingName="Title Only">
  <p:cSld name="Title Only 9">
    <p:spTree>
      <p:nvGrpSpPr>
        <p:cNvPr id="1" name="Shape 1183"/>
        <p:cNvGrpSpPr/>
        <p:nvPr/>
      </p:nvGrpSpPr>
      <p:grpSpPr>
        <a:xfrm>
          <a:off x="0" y="0"/>
          <a:ext cx="0" cy="0"/>
          <a:chOff x="0" y="0"/>
          <a:chExt cx="0" cy="0"/>
        </a:xfrm>
      </p:grpSpPr>
      <p:grpSp>
        <p:nvGrpSpPr>
          <p:cNvPr id="1184" name="Google Shape;1184;p168"/>
          <p:cNvGrpSpPr/>
          <p:nvPr/>
        </p:nvGrpSpPr>
        <p:grpSpPr>
          <a:xfrm>
            <a:off x="7191542" y="1"/>
            <a:ext cx="5000459" cy="1425992"/>
            <a:chOff x="7191542" y="1"/>
            <a:chExt cx="5000459" cy="1425992"/>
          </a:xfrm>
        </p:grpSpPr>
        <p:pic>
          <p:nvPicPr>
            <p:cNvPr id="1185" name="Google Shape;1185;p16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86" name="Google Shape;1186;p168"/>
            <p:cNvGrpSpPr/>
            <p:nvPr/>
          </p:nvGrpSpPr>
          <p:grpSpPr>
            <a:xfrm>
              <a:off x="7191542" y="1"/>
              <a:ext cx="5000459" cy="1425992"/>
              <a:chOff x="7186272" y="0"/>
              <a:chExt cx="5005729" cy="1427495"/>
            </a:xfrm>
          </p:grpSpPr>
          <p:sp>
            <p:nvSpPr>
              <p:cNvPr id="1187" name="Google Shape;1187;p16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88" name="Google Shape;1188;p16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89" name="Google Shape;1189;p16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90" name="Google Shape;1190;p16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91" name="Google Shape;1191;p16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92" name="Google Shape;1192;p1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98.xml><?xml version="1.0" encoding="utf-8"?>
<p:sldLayout xmlns:a="http://schemas.openxmlformats.org/drawingml/2006/main" xmlns:r="http://schemas.openxmlformats.org/officeDocument/2006/relationships" xmlns:p="http://schemas.openxmlformats.org/presentationml/2006/main" matchingName="Blank">
  <p:cSld name="Blank 9">
    <p:spTree>
      <p:nvGrpSpPr>
        <p:cNvPr id="1" name="Shape 1193"/>
        <p:cNvGrpSpPr/>
        <p:nvPr/>
      </p:nvGrpSpPr>
      <p:grpSpPr>
        <a:xfrm>
          <a:off x="0" y="0"/>
          <a:ext cx="0" cy="0"/>
          <a:chOff x="0" y="0"/>
          <a:chExt cx="0" cy="0"/>
        </a:xfrm>
      </p:grpSpPr>
      <p:sp>
        <p:nvSpPr>
          <p:cNvPr id="1194" name="Google Shape;1194;p16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95" name="Google Shape;1195;p16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96" name="Google Shape;1196;p1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97" name="Google Shape;1197;p169"/>
          <p:cNvGrpSpPr/>
          <p:nvPr/>
        </p:nvGrpSpPr>
        <p:grpSpPr>
          <a:xfrm>
            <a:off x="7191542" y="1"/>
            <a:ext cx="5000459" cy="1425992"/>
            <a:chOff x="7191542" y="1"/>
            <a:chExt cx="5000459" cy="1425992"/>
          </a:xfrm>
        </p:grpSpPr>
        <p:pic>
          <p:nvPicPr>
            <p:cNvPr id="1198" name="Google Shape;1198;p16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99" name="Google Shape;1199;p169"/>
            <p:cNvGrpSpPr/>
            <p:nvPr/>
          </p:nvGrpSpPr>
          <p:grpSpPr>
            <a:xfrm>
              <a:off x="7191542" y="1"/>
              <a:ext cx="5000459" cy="1425992"/>
              <a:chOff x="7186272" y="0"/>
              <a:chExt cx="5005729" cy="1427495"/>
            </a:xfrm>
          </p:grpSpPr>
          <p:sp>
            <p:nvSpPr>
              <p:cNvPr id="1200" name="Google Shape;1200;p16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01" name="Google Shape;1201;p16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799.xml><?xml version="1.0" encoding="utf-8"?>
<p:sldLayout xmlns:a="http://schemas.openxmlformats.org/drawingml/2006/main" xmlns:r="http://schemas.openxmlformats.org/officeDocument/2006/relationships" xmlns:p="http://schemas.openxmlformats.org/presentationml/2006/main" matchingName="Quotation">
  <p:cSld name="Quotation 18">
    <p:spTree>
      <p:nvGrpSpPr>
        <p:cNvPr id="1" name="Shape 1202"/>
        <p:cNvGrpSpPr/>
        <p:nvPr/>
      </p:nvGrpSpPr>
      <p:grpSpPr>
        <a:xfrm>
          <a:off x="0" y="0"/>
          <a:ext cx="0" cy="0"/>
          <a:chOff x="0" y="0"/>
          <a:chExt cx="0" cy="0"/>
        </a:xfrm>
      </p:grpSpPr>
      <p:sp>
        <p:nvSpPr>
          <p:cNvPr id="1203" name="Google Shape;1203;p17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04" name="Google Shape;1204;p17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05" name="Google Shape;1205;p17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06" name="Google Shape;1206;p1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07" name="Google Shape;1207;p1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08" name="Google Shape;1208;p1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209" name="Google Shape;1209;p170"/>
          <p:cNvGrpSpPr/>
          <p:nvPr/>
        </p:nvGrpSpPr>
        <p:grpSpPr>
          <a:xfrm>
            <a:off x="7191542" y="1"/>
            <a:ext cx="5000459" cy="1425992"/>
            <a:chOff x="7191542" y="1"/>
            <a:chExt cx="5000459" cy="1425992"/>
          </a:xfrm>
        </p:grpSpPr>
        <p:pic>
          <p:nvPicPr>
            <p:cNvPr id="1210" name="Google Shape;1210;p1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11" name="Google Shape;1211;p170"/>
            <p:cNvGrpSpPr/>
            <p:nvPr/>
          </p:nvGrpSpPr>
          <p:grpSpPr>
            <a:xfrm>
              <a:off x="7191542" y="1"/>
              <a:ext cx="5000459" cy="1425992"/>
              <a:chOff x="7186272" y="0"/>
              <a:chExt cx="5005729" cy="1427495"/>
            </a:xfrm>
          </p:grpSpPr>
          <p:sp>
            <p:nvSpPr>
              <p:cNvPr id="1212" name="Google Shape;1212;p1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13" name="Google Shape;1213;p1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214" name="Google Shape;1214;p17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98423891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985636675"/>
      </p:ext>
    </p:extLst>
  </p:cSld>
  <p:clrMapOvr>
    <a:masterClrMapping/>
  </p:clrMapOvr>
</p:sldLayout>
</file>

<file path=ppt/slideLayouts/slideLayout800.xml><?xml version="1.0" encoding="utf-8"?>
<p:sldLayout xmlns:a="http://schemas.openxmlformats.org/drawingml/2006/main" xmlns:r="http://schemas.openxmlformats.org/officeDocument/2006/relationships" xmlns:p="http://schemas.openxmlformats.org/presentationml/2006/main" matchingName="End">
  <p:cSld name="End 10">
    <p:spTree>
      <p:nvGrpSpPr>
        <p:cNvPr id="1" name="Shape 1215"/>
        <p:cNvGrpSpPr/>
        <p:nvPr/>
      </p:nvGrpSpPr>
      <p:grpSpPr>
        <a:xfrm>
          <a:off x="0" y="0"/>
          <a:ext cx="0" cy="0"/>
          <a:chOff x="0" y="0"/>
          <a:chExt cx="0" cy="0"/>
        </a:xfrm>
      </p:grpSpPr>
      <p:grpSp>
        <p:nvGrpSpPr>
          <p:cNvPr id="1216" name="Google Shape;1216;p171"/>
          <p:cNvGrpSpPr/>
          <p:nvPr/>
        </p:nvGrpSpPr>
        <p:grpSpPr>
          <a:xfrm>
            <a:off x="0" y="0"/>
            <a:ext cx="12192000" cy="2148830"/>
            <a:chOff x="0" y="0"/>
            <a:chExt cx="12192000" cy="2148830"/>
          </a:xfrm>
        </p:grpSpPr>
        <p:sp>
          <p:nvSpPr>
            <p:cNvPr id="1217" name="Google Shape;1217;p17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18" name="Google Shape;1218;p17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219" name="Google Shape;1219;p171"/>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20" name="Google Shape;1220;p171"/>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21" name="Google Shape;1221;p17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222" name="Google Shape;1222;p171"/>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223" name="Google Shape;1223;p171"/>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01.xml><?xml version="1.0" encoding="utf-8"?>
<p:sldLayout xmlns:a="http://schemas.openxmlformats.org/drawingml/2006/main" xmlns:r="http://schemas.openxmlformats.org/officeDocument/2006/relationships" xmlns:p="http://schemas.openxmlformats.org/presentationml/2006/main" matchingName="Blank">
  <p:cSld name="Blank 10">
    <p:spTree>
      <p:nvGrpSpPr>
        <p:cNvPr id="1" name="Shape 1224"/>
        <p:cNvGrpSpPr/>
        <p:nvPr/>
      </p:nvGrpSpPr>
      <p:grpSpPr>
        <a:xfrm>
          <a:off x="0" y="0"/>
          <a:ext cx="0" cy="0"/>
          <a:chOff x="0" y="0"/>
          <a:chExt cx="0" cy="0"/>
        </a:xfrm>
      </p:grpSpPr>
      <p:sp>
        <p:nvSpPr>
          <p:cNvPr id="1225" name="Google Shape;1225;p1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226" name="Google Shape;1226;p1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27" name="Google Shape;1227;p1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228" name="Google Shape;1228;p172"/>
          <p:cNvGrpSpPr/>
          <p:nvPr/>
        </p:nvGrpSpPr>
        <p:grpSpPr>
          <a:xfrm>
            <a:off x="7191542" y="1"/>
            <a:ext cx="5000459" cy="1425992"/>
            <a:chOff x="7191542" y="1"/>
            <a:chExt cx="5000459" cy="1425992"/>
          </a:xfrm>
        </p:grpSpPr>
        <p:pic>
          <p:nvPicPr>
            <p:cNvPr id="1229" name="Google Shape;1229;p1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30" name="Google Shape;1230;p172"/>
            <p:cNvGrpSpPr/>
            <p:nvPr/>
          </p:nvGrpSpPr>
          <p:grpSpPr>
            <a:xfrm>
              <a:off x="7191542" y="1"/>
              <a:ext cx="5000459" cy="1425992"/>
              <a:chOff x="7186272" y="0"/>
              <a:chExt cx="5005729" cy="1427495"/>
            </a:xfrm>
          </p:grpSpPr>
          <p:sp>
            <p:nvSpPr>
              <p:cNvPr id="1231" name="Google Shape;1231;p1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32" name="Google Shape;1232;p1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802.xml><?xml version="1.0" encoding="utf-8"?>
<p:sldLayout xmlns:a="http://schemas.openxmlformats.org/drawingml/2006/main" xmlns:r="http://schemas.openxmlformats.org/officeDocument/2006/relationships" xmlns:p="http://schemas.openxmlformats.org/presentationml/2006/main" matchingName="3_Quotation">
  <p:cSld name="3_Quotation">
    <p:spTree>
      <p:nvGrpSpPr>
        <p:cNvPr id="1" name="Shape 1233"/>
        <p:cNvGrpSpPr/>
        <p:nvPr/>
      </p:nvGrpSpPr>
      <p:grpSpPr>
        <a:xfrm>
          <a:off x="0" y="0"/>
          <a:ext cx="0" cy="0"/>
          <a:chOff x="0" y="0"/>
          <a:chExt cx="0" cy="0"/>
        </a:xfrm>
      </p:grpSpPr>
      <p:sp>
        <p:nvSpPr>
          <p:cNvPr id="1234" name="Google Shape;1234;p17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35" name="Google Shape;1235;p17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36" name="Google Shape;1236;p17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37" name="Google Shape;1237;p17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38" name="Google Shape;1238;p1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39" name="Google Shape;1239;p1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240" name="Google Shape;1240;p173"/>
          <p:cNvGrpSpPr/>
          <p:nvPr/>
        </p:nvGrpSpPr>
        <p:grpSpPr>
          <a:xfrm>
            <a:off x="7191542" y="1"/>
            <a:ext cx="5000459" cy="1425992"/>
            <a:chOff x="7191542" y="1"/>
            <a:chExt cx="5000459" cy="1425992"/>
          </a:xfrm>
        </p:grpSpPr>
        <p:pic>
          <p:nvPicPr>
            <p:cNvPr id="1241" name="Google Shape;1241;p1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42" name="Google Shape;1242;p173"/>
            <p:cNvGrpSpPr/>
            <p:nvPr/>
          </p:nvGrpSpPr>
          <p:grpSpPr>
            <a:xfrm>
              <a:off x="7191542" y="1"/>
              <a:ext cx="5000459" cy="1425992"/>
              <a:chOff x="7186272" y="0"/>
              <a:chExt cx="5005729" cy="1427495"/>
            </a:xfrm>
          </p:grpSpPr>
          <p:sp>
            <p:nvSpPr>
              <p:cNvPr id="1243" name="Google Shape;1243;p1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44" name="Google Shape;1244;p1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245" name="Google Shape;1245;p17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03.xml><?xml version="1.0" encoding="utf-8"?>
<p:sldLayout xmlns:a="http://schemas.openxmlformats.org/drawingml/2006/main" xmlns:r="http://schemas.openxmlformats.org/officeDocument/2006/relationships" xmlns:p="http://schemas.openxmlformats.org/presentationml/2006/main" matchingName="Quotation">
  <p:cSld name="Quotation 19">
    <p:spTree>
      <p:nvGrpSpPr>
        <p:cNvPr id="1" name="Shape 1246"/>
        <p:cNvGrpSpPr/>
        <p:nvPr/>
      </p:nvGrpSpPr>
      <p:grpSpPr>
        <a:xfrm>
          <a:off x="0" y="0"/>
          <a:ext cx="0" cy="0"/>
          <a:chOff x="0" y="0"/>
          <a:chExt cx="0" cy="0"/>
        </a:xfrm>
      </p:grpSpPr>
      <p:sp>
        <p:nvSpPr>
          <p:cNvPr id="1247" name="Google Shape;1247;p17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48" name="Google Shape;1248;p17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49" name="Google Shape;1249;p17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50" name="Google Shape;1250;p1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51" name="Google Shape;1251;p1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52" name="Google Shape;1252;p1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253" name="Google Shape;1253;p174"/>
          <p:cNvGrpSpPr/>
          <p:nvPr/>
        </p:nvGrpSpPr>
        <p:grpSpPr>
          <a:xfrm>
            <a:off x="7191542" y="1"/>
            <a:ext cx="5000459" cy="1425992"/>
            <a:chOff x="7191542" y="1"/>
            <a:chExt cx="5000459" cy="1425992"/>
          </a:xfrm>
        </p:grpSpPr>
        <p:pic>
          <p:nvPicPr>
            <p:cNvPr id="1254" name="Google Shape;1254;p1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55" name="Google Shape;1255;p174"/>
            <p:cNvGrpSpPr/>
            <p:nvPr/>
          </p:nvGrpSpPr>
          <p:grpSpPr>
            <a:xfrm>
              <a:off x="7191542" y="1"/>
              <a:ext cx="5000459" cy="1425992"/>
              <a:chOff x="7186272" y="0"/>
              <a:chExt cx="5005729" cy="1427495"/>
            </a:xfrm>
          </p:grpSpPr>
          <p:sp>
            <p:nvSpPr>
              <p:cNvPr id="1256" name="Google Shape;1256;p1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57" name="Google Shape;1257;p1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258" name="Google Shape;1258;p17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04.xml><?xml version="1.0" encoding="utf-8"?>
<p:sldLayout xmlns:a="http://schemas.openxmlformats.org/drawingml/2006/main" xmlns:r="http://schemas.openxmlformats.org/officeDocument/2006/relationships" xmlns:p="http://schemas.openxmlformats.org/presentationml/2006/main" showMasterSp="0" matchingName="Title Slide">
  <p:cSld name="Title Slide">
    <p:bg>
      <p:bgPr>
        <a:solidFill>
          <a:schemeClr val="lt1"/>
        </a:solidFill>
        <a:effectLst/>
      </p:bgPr>
    </p:bg>
    <p:spTree>
      <p:nvGrpSpPr>
        <p:cNvPr id="1" name="Shape 1259"/>
        <p:cNvGrpSpPr/>
        <p:nvPr/>
      </p:nvGrpSpPr>
      <p:grpSpPr>
        <a:xfrm>
          <a:off x="0" y="0"/>
          <a:ext cx="0" cy="0"/>
          <a:chOff x="0" y="0"/>
          <a:chExt cx="0" cy="0"/>
        </a:xfrm>
      </p:grpSpPr>
      <p:sp>
        <p:nvSpPr>
          <p:cNvPr id="1260" name="Google Shape;1260;p175"/>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61" name="Google Shape;1261;p175"/>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1262" name="Google Shape;1262;p175"/>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1263" name="Google Shape;1263;p175"/>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1264" name="Google Shape;1264;p175"/>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1265" name="Google Shape;1265;p175"/>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66" name="Google Shape;1266;p175"/>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67" name="Google Shape;1267;p175"/>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268" name="Google Shape;1268;p175"/>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69" name="Google Shape;1269;p175"/>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270" name="Google Shape;1270;p175"/>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buNone/>
              <a:defRPr sz="1200" b="0" i="0">
                <a:solidFill>
                  <a:srgbClr val="929599"/>
                </a:solidFill>
                <a:latin typeface="Arial"/>
                <a:ea typeface="Arial"/>
                <a:cs typeface="Arial"/>
                <a:sym typeface="Arial"/>
              </a:defRPr>
            </a:lvl1pPr>
            <a:lvl2pPr marL="38100" marR="0" lvl="1" indent="0" algn="r">
              <a:lnSpc>
                <a:spcPct val="118750"/>
              </a:lnSpc>
              <a:spcBef>
                <a:spcPts val="0"/>
              </a:spcBef>
              <a:buNone/>
              <a:defRPr sz="1200" b="0" i="0">
                <a:solidFill>
                  <a:srgbClr val="929599"/>
                </a:solidFill>
                <a:latin typeface="Arial"/>
                <a:ea typeface="Arial"/>
                <a:cs typeface="Arial"/>
                <a:sym typeface="Arial"/>
              </a:defRPr>
            </a:lvl2pPr>
            <a:lvl3pPr marL="38100" marR="0" lvl="2" indent="0" algn="r">
              <a:lnSpc>
                <a:spcPct val="118750"/>
              </a:lnSpc>
              <a:spcBef>
                <a:spcPts val="0"/>
              </a:spcBef>
              <a:buNone/>
              <a:defRPr sz="1200" b="0" i="0">
                <a:solidFill>
                  <a:srgbClr val="929599"/>
                </a:solidFill>
                <a:latin typeface="Arial"/>
                <a:ea typeface="Arial"/>
                <a:cs typeface="Arial"/>
                <a:sym typeface="Arial"/>
              </a:defRPr>
            </a:lvl3pPr>
            <a:lvl4pPr marL="38100" marR="0" lvl="3" indent="0" algn="r">
              <a:lnSpc>
                <a:spcPct val="118750"/>
              </a:lnSpc>
              <a:spcBef>
                <a:spcPts val="0"/>
              </a:spcBef>
              <a:buNone/>
              <a:defRPr sz="1200" b="0" i="0">
                <a:solidFill>
                  <a:srgbClr val="929599"/>
                </a:solidFill>
                <a:latin typeface="Arial"/>
                <a:ea typeface="Arial"/>
                <a:cs typeface="Arial"/>
                <a:sym typeface="Arial"/>
              </a:defRPr>
            </a:lvl4pPr>
            <a:lvl5pPr marL="38100" marR="0" lvl="4" indent="0" algn="r">
              <a:lnSpc>
                <a:spcPct val="118750"/>
              </a:lnSpc>
              <a:spcBef>
                <a:spcPts val="0"/>
              </a:spcBef>
              <a:buNone/>
              <a:defRPr sz="1200" b="0" i="0">
                <a:solidFill>
                  <a:srgbClr val="929599"/>
                </a:solidFill>
                <a:latin typeface="Arial"/>
                <a:ea typeface="Arial"/>
                <a:cs typeface="Arial"/>
                <a:sym typeface="Arial"/>
              </a:defRPr>
            </a:lvl5pPr>
            <a:lvl6pPr marL="38100" marR="0" lvl="5" indent="0" algn="r">
              <a:lnSpc>
                <a:spcPct val="118750"/>
              </a:lnSpc>
              <a:spcBef>
                <a:spcPts val="0"/>
              </a:spcBef>
              <a:buNone/>
              <a:defRPr sz="1200" b="0" i="0">
                <a:solidFill>
                  <a:srgbClr val="929599"/>
                </a:solidFill>
                <a:latin typeface="Arial"/>
                <a:ea typeface="Arial"/>
                <a:cs typeface="Arial"/>
                <a:sym typeface="Arial"/>
              </a:defRPr>
            </a:lvl6pPr>
            <a:lvl7pPr marL="38100" marR="0" lvl="6" indent="0" algn="r">
              <a:lnSpc>
                <a:spcPct val="118750"/>
              </a:lnSpc>
              <a:spcBef>
                <a:spcPts val="0"/>
              </a:spcBef>
              <a:buNone/>
              <a:defRPr sz="1200" b="0" i="0">
                <a:solidFill>
                  <a:srgbClr val="929599"/>
                </a:solidFill>
                <a:latin typeface="Arial"/>
                <a:ea typeface="Arial"/>
                <a:cs typeface="Arial"/>
                <a:sym typeface="Arial"/>
              </a:defRPr>
            </a:lvl7pPr>
            <a:lvl8pPr marL="38100" marR="0" lvl="7" indent="0" algn="r">
              <a:lnSpc>
                <a:spcPct val="118750"/>
              </a:lnSpc>
              <a:spcBef>
                <a:spcPts val="0"/>
              </a:spcBef>
              <a:buNone/>
              <a:defRPr sz="1200" b="0" i="0">
                <a:solidFill>
                  <a:srgbClr val="929599"/>
                </a:solidFill>
                <a:latin typeface="Arial"/>
                <a:ea typeface="Arial"/>
                <a:cs typeface="Arial"/>
                <a:sym typeface="Arial"/>
              </a:defRPr>
            </a:lvl8pPr>
            <a:lvl9pPr marL="38100" marR="0" lvl="8" indent="0" algn="r">
              <a:lnSpc>
                <a:spcPct val="118750"/>
              </a:lnSpc>
              <a:spcBef>
                <a:spcPts val="0"/>
              </a:spcBef>
              <a:buNone/>
              <a:defRPr sz="1200" b="0" i="0">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805.xml><?xml version="1.0" encoding="utf-8"?>
<p:sldLayout xmlns:a="http://schemas.openxmlformats.org/drawingml/2006/main" xmlns:r="http://schemas.openxmlformats.org/officeDocument/2006/relationships" xmlns:p="http://schemas.openxmlformats.org/presentationml/2006/main" matchingName="2_Quotation">
  <p:cSld name="2_Quotation">
    <p:spTree>
      <p:nvGrpSpPr>
        <p:cNvPr id="1" name="Shape 1271"/>
        <p:cNvGrpSpPr/>
        <p:nvPr/>
      </p:nvGrpSpPr>
      <p:grpSpPr>
        <a:xfrm>
          <a:off x="0" y="0"/>
          <a:ext cx="0" cy="0"/>
          <a:chOff x="0" y="0"/>
          <a:chExt cx="0" cy="0"/>
        </a:xfrm>
      </p:grpSpPr>
      <p:sp>
        <p:nvSpPr>
          <p:cNvPr id="1272" name="Google Shape;1272;p17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73" name="Google Shape;1273;p17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74" name="Google Shape;1274;p17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5" name="Google Shape;1275;p1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76" name="Google Shape;1276;p1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77" name="Google Shape;1277;p1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278" name="Google Shape;1278;p176"/>
          <p:cNvGrpSpPr/>
          <p:nvPr/>
        </p:nvGrpSpPr>
        <p:grpSpPr>
          <a:xfrm>
            <a:off x="7191542" y="1"/>
            <a:ext cx="5000459" cy="1425992"/>
            <a:chOff x="7191542" y="1"/>
            <a:chExt cx="5000459" cy="1425992"/>
          </a:xfrm>
        </p:grpSpPr>
        <p:pic>
          <p:nvPicPr>
            <p:cNvPr id="1279" name="Google Shape;1279;p1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80" name="Google Shape;1280;p176"/>
            <p:cNvGrpSpPr/>
            <p:nvPr/>
          </p:nvGrpSpPr>
          <p:grpSpPr>
            <a:xfrm>
              <a:off x="7191542" y="1"/>
              <a:ext cx="5000459" cy="1425992"/>
              <a:chOff x="7186272" y="0"/>
              <a:chExt cx="5005729" cy="1427495"/>
            </a:xfrm>
          </p:grpSpPr>
          <p:sp>
            <p:nvSpPr>
              <p:cNvPr id="1281" name="Google Shape;1281;p1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82" name="Google Shape;1282;p1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283" name="Google Shape;1283;p17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06.xml><?xml version="1.0" encoding="utf-8"?>
<p:sldLayout xmlns:a="http://schemas.openxmlformats.org/drawingml/2006/main" xmlns:r="http://schemas.openxmlformats.org/officeDocument/2006/relationships" xmlns:p="http://schemas.openxmlformats.org/presentationml/2006/main" matchingName="2_Quotation">
  <p:cSld name="2_Quotation 2">
    <p:spTree>
      <p:nvGrpSpPr>
        <p:cNvPr id="1" name="Shape 1284"/>
        <p:cNvGrpSpPr/>
        <p:nvPr/>
      </p:nvGrpSpPr>
      <p:grpSpPr>
        <a:xfrm>
          <a:off x="0" y="0"/>
          <a:ext cx="0" cy="0"/>
          <a:chOff x="0" y="0"/>
          <a:chExt cx="0" cy="0"/>
        </a:xfrm>
      </p:grpSpPr>
      <p:sp>
        <p:nvSpPr>
          <p:cNvPr id="1285" name="Google Shape;1285;p17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86" name="Google Shape;1286;p17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87" name="Google Shape;1287;p17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88" name="Google Shape;1288;p17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89" name="Google Shape;1289;p1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90" name="Google Shape;1290;p1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291" name="Google Shape;1291;p177"/>
          <p:cNvGrpSpPr/>
          <p:nvPr/>
        </p:nvGrpSpPr>
        <p:grpSpPr>
          <a:xfrm>
            <a:off x="7191542" y="1"/>
            <a:ext cx="5000459" cy="1425992"/>
            <a:chOff x="7191542" y="1"/>
            <a:chExt cx="5000459" cy="1425992"/>
          </a:xfrm>
        </p:grpSpPr>
        <p:pic>
          <p:nvPicPr>
            <p:cNvPr id="1292" name="Google Shape;1292;p17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93" name="Google Shape;1293;p177"/>
            <p:cNvGrpSpPr/>
            <p:nvPr/>
          </p:nvGrpSpPr>
          <p:grpSpPr>
            <a:xfrm>
              <a:off x="7191542" y="1"/>
              <a:ext cx="5000459" cy="1425992"/>
              <a:chOff x="7186272" y="0"/>
              <a:chExt cx="5005729" cy="1427495"/>
            </a:xfrm>
          </p:grpSpPr>
          <p:sp>
            <p:nvSpPr>
              <p:cNvPr id="1294" name="Google Shape;1294;p1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95" name="Google Shape;1295;p1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296" name="Google Shape;1296;p17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07.xml><?xml version="1.0" encoding="utf-8"?>
<p:sldLayout xmlns:a="http://schemas.openxmlformats.org/drawingml/2006/main" xmlns:r="http://schemas.openxmlformats.org/officeDocument/2006/relationships" xmlns:p="http://schemas.openxmlformats.org/presentationml/2006/main" matchingName="3_Quotation">
  <p:cSld name="3_Quotation 2">
    <p:spTree>
      <p:nvGrpSpPr>
        <p:cNvPr id="1" name="Shape 1297"/>
        <p:cNvGrpSpPr/>
        <p:nvPr/>
      </p:nvGrpSpPr>
      <p:grpSpPr>
        <a:xfrm>
          <a:off x="0" y="0"/>
          <a:ext cx="0" cy="0"/>
          <a:chOff x="0" y="0"/>
          <a:chExt cx="0" cy="0"/>
        </a:xfrm>
      </p:grpSpPr>
      <p:sp>
        <p:nvSpPr>
          <p:cNvPr id="1298" name="Google Shape;1298;p17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99" name="Google Shape;1299;p17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00" name="Google Shape;1300;p17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1" name="Google Shape;1301;p1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02" name="Google Shape;1302;p1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03" name="Google Shape;1303;p1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304" name="Google Shape;1304;p178"/>
          <p:cNvGrpSpPr/>
          <p:nvPr/>
        </p:nvGrpSpPr>
        <p:grpSpPr>
          <a:xfrm>
            <a:off x="7191542" y="1"/>
            <a:ext cx="5000459" cy="1425992"/>
            <a:chOff x="7191542" y="1"/>
            <a:chExt cx="5000459" cy="1425992"/>
          </a:xfrm>
        </p:grpSpPr>
        <p:pic>
          <p:nvPicPr>
            <p:cNvPr id="1305" name="Google Shape;1305;p17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06" name="Google Shape;1306;p178"/>
            <p:cNvGrpSpPr/>
            <p:nvPr/>
          </p:nvGrpSpPr>
          <p:grpSpPr>
            <a:xfrm>
              <a:off x="7191542" y="1"/>
              <a:ext cx="5000459" cy="1425992"/>
              <a:chOff x="7186272" y="0"/>
              <a:chExt cx="5005729" cy="1427495"/>
            </a:xfrm>
          </p:grpSpPr>
          <p:sp>
            <p:nvSpPr>
              <p:cNvPr id="1307" name="Google Shape;1307;p1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08" name="Google Shape;1308;p1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309" name="Google Shape;1309;p17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08.xml><?xml version="1.0" encoding="utf-8"?>
<p:sldLayout xmlns:a="http://schemas.openxmlformats.org/drawingml/2006/main" xmlns:r="http://schemas.openxmlformats.org/officeDocument/2006/relationships" xmlns:p="http://schemas.openxmlformats.org/presentationml/2006/main" matchingName="2_Quotation">
  <p:cSld name="2_Quotation 3">
    <p:spTree>
      <p:nvGrpSpPr>
        <p:cNvPr id="1" name="Shape 1310"/>
        <p:cNvGrpSpPr/>
        <p:nvPr/>
      </p:nvGrpSpPr>
      <p:grpSpPr>
        <a:xfrm>
          <a:off x="0" y="0"/>
          <a:ext cx="0" cy="0"/>
          <a:chOff x="0" y="0"/>
          <a:chExt cx="0" cy="0"/>
        </a:xfrm>
      </p:grpSpPr>
      <p:sp>
        <p:nvSpPr>
          <p:cNvPr id="1311" name="Google Shape;1311;p17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12" name="Google Shape;1312;p17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13" name="Google Shape;1313;p17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14" name="Google Shape;1314;p17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15" name="Google Shape;1315;p1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16" name="Google Shape;1316;p1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317" name="Google Shape;1317;p179"/>
          <p:cNvGrpSpPr/>
          <p:nvPr/>
        </p:nvGrpSpPr>
        <p:grpSpPr>
          <a:xfrm>
            <a:off x="7191542" y="1"/>
            <a:ext cx="5000459" cy="1425992"/>
            <a:chOff x="7191542" y="1"/>
            <a:chExt cx="5000459" cy="1425992"/>
          </a:xfrm>
        </p:grpSpPr>
        <p:pic>
          <p:nvPicPr>
            <p:cNvPr id="1318" name="Google Shape;1318;p17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19" name="Google Shape;1319;p179"/>
            <p:cNvGrpSpPr/>
            <p:nvPr/>
          </p:nvGrpSpPr>
          <p:grpSpPr>
            <a:xfrm>
              <a:off x="7191542" y="1"/>
              <a:ext cx="5000459" cy="1425992"/>
              <a:chOff x="7186272" y="0"/>
              <a:chExt cx="5005729" cy="1427495"/>
            </a:xfrm>
          </p:grpSpPr>
          <p:sp>
            <p:nvSpPr>
              <p:cNvPr id="1320" name="Google Shape;1320;p1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21" name="Google Shape;1321;p1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322" name="Google Shape;1322;p17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09.xml><?xml version="1.0" encoding="utf-8"?>
<p:sldLayout xmlns:a="http://schemas.openxmlformats.org/drawingml/2006/main" xmlns:r="http://schemas.openxmlformats.org/officeDocument/2006/relationships" xmlns:p="http://schemas.openxmlformats.org/presentationml/2006/main" matchingName="3_Quotation">
  <p:cSld name="3_Quotation 3">
    <p:spTree>
      <p:nvGrpSpPr>
        <p:cNvPr id="1" name="Shape 1323"/>
        <p:cNvGrpSpPr/>
        <p:nvPr/>
      </p:nvGrpSpPr>
      <p:grpSpPr>
        <a:xfrm>
          <a:off x="0" y="0"/>
          <a:ext cx="0" cy="0"/>
          <a:chOff x="0" y="0"/>
          <a:chExt cx="0" cy="0"/>
        </a:xfrm>
      </p:grpSpPr>
      <p:sp>
        <p:nvSpPr>
          <p:cNvPr id="1324" name="Google Shape;1324;p18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25" name="Google Shape;1325;p18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26" name="Google Shape;1326;p18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27" name="Google Shape;1327;p1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28" name="Google Shape;1328;p1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29" name="Google Shape;1329;p1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330" name="Google Shape;1330;p180"/>
          <p:cNvGrpSpPr/>
          <p:nvPr/>
        </p:nvGrpSpPr>
        <p:grpSpPr>
          <a:xfrm>
            <a:off x="7191542" y="1"/>
            <a:ext cx="5000459" cy="1425992"/>
            <a:chOff x="7191542" y="1"/>
            <a:chExt cx="5000459" cy="1425992"/>
          </a:xfrm>
        </p:grpSpPr>
        <p:pic>
          <p:nvPicPr>
            <p:cNvPr id="1331" name="Google Shape;1331;p18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32" name="Google Shape;1332;p180"/>
            <p:cNvGrpSpPr/>
            <p:nvPr/>
          </p:nvGrpSpPr>
          <p:grpSpPr>
            <a:xfrm>
              <a:off x="7191542" y="1"/>
              <a:ext cx="5000459" cy="1425992"/>
              <a:chOff x="7186272" y="0"/>
              <a:chExt cx="5005729" cy="1427495"/>
            </a:xfrm>
          </p:grpSpPr>
          <p:sp>
            <p:nvSpPr>
              <p:cNvPr id="1333" name="Google Shape;1333;p1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34" name="Google Shape;1334;p1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335" name="Google Shape;1335;p18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Only" preserve="1">
  <p:cSld name="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94065546"/>
      </p:ext>
    </p:extLst>
  </p:cSld>
  <p:clrMapOvr>
    <a:masterClrMapping/>
  </p:clrMapOvr>
</p:sldLayout>
</file>

<file path=ppt/slideLayouts/slideLayout810.xml><?xml version="1.0" encoding="utf-8"?>
<p:sldLayout xmlns:a="http://schemas.openxmlformats.org/drawingml/2006/main" xmlns:r="http://schemas.openxmlformats.org/officeDocument/2006/relationships" xmlns:p="http://schemas.openxmlformats.org/presentationml/2006/main" matchingName="Cover">
  <p:cSld name="Cover 12">
    <p:spTree>
      <p:nvGrpSpPr>
        <p:cNvPr id="1" name="Shape 1336"/>
        <p:cNvGrpSpPr/>
        <p:nvPr/>
      </p:nvGrpSpPr>
      <p:grpSpPr>
        <a:xfrm>
          <a:off x="0" y="0"/>
          <a:ext cx="0" cy="0"/>
          <a:chOff x="0" y="0"/>
          <a:chExt cx="0" cy="0"/>
        </a:xfrm>
      </p:grpSpPr>
      <p:sp>
        <p:nvSpPr>
          <p:cNvPr id="1337" name="Google Shape;1337;p181"/>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38" name="Google Shape;1338;p181"/>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39" name="Google Shape;1339;p181"/>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340" name="Google Shape;1340;p181"/>
          <p:cNvSpPr>
            <a:spLocks noGrp="1"/>
          </p:cNvSpPr>
          <p:nvPr>
            <p:ph type="pic" idx="2"/>
          </p:nvPr>
        </p:nvSpPr>
        <p:spPr>
          <a:xfrm>
            <a:off x="7118684" y="233915"/>
            <a:ext cx="5073316" cy="5943600"/>
          </a:xfrm>
          <a:prstGeom prst="rect">
            <a:avLst/>
          </a:prstGeom>
          <a:noFill/>
          <a:ln>
            <a:noFill/>
          </a:ln>
        </p:spPr>
      </p:sp>
      <p:grpSp>
        <p:nvGrpSpPr>
          <p:cNvPr id="1341" name="Google Shape;1341;p181"/>
          <p:cNvGrpSpPr/>
          <p:nvPr/>
        </p:nvGrpSpPr>
        <p:grpSpPr>
          <a:xfrm>
            <a:off x="0" y="5020348"/>
            <a:ext cx="12192000" cy="1837653"/>
            <a:chOff x="0" y="5020348"/>
            <a:chExt cx="12192000" cy="1837653"/>
          </a:xfrm>
        </p:grpSpPr>
        <p:sp>
          <p:nvSpPr>
            <p:cNvPr id="1342" name="Google Shape;1342;p18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43" name="Google Shape;1343;p18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344" name="Google Shape;1344;p18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11.xml><?xml version="1.0" encoding="utf-8"?>
<p:sldLayout xmlns:a="http://schemas.openxmlformats.org/drawingml/2006/main" xmlns:r="http://schemas.openxmlformats.org/officeDocument/2006/relationships" xmlns:p="http://schemas.openxmlformats.org/presentationml/2006/main" matchingName="Divider">
  <p:cSld name="Divider 13">
    <p:bg>
      <p:bgPr>
        <a:solidFill>
          <a:schemeClr val="lt2"/>
        </a:solidFill>
        <a:effectLst/>
      </p:bgPr>
    </p:bg>
    <p:spTree>
      <p:nvGrpSpPr>
        <p:cNvPr id="1" name="Shape 1345"/>
        <p:cNvGrpSpPr/>
        <p:nvPr/>
      </p:nvGrpSpPr>
      <p:grpSpPr>
        <a:xfrm>
          <a:off x="0" y="0"/>
          <a:ext cx="0" cy="0"/>
          <a:chOff x="0" y="0"/>
          <a:chExt cx="0" cy="0"/>
        </a:xfrm>
      </p:grpSpPr>
      <p:grpSp>
        <p:nvGrpSpPr>
          <p:cNvPr id="1346" name="Google Shape;1346;p182"/>
          <p:cNvGrpSpPr/>
          <p:nvPr/>
        </p:nvGrpSpPr>
        <p:grpSpPr>
          <a:xfrm>
            <a:off x="0" y="5020347"/>
            <a:ext cx="12192000" cy="1837653"/>
            <a:chOff x="0" y="5020347"/>
            <a:chExt cx="12192000" cy="1837653"/>
          </a:xfrm>
        </p:grpSpPr>
        <p:sp>
          <p:nvSpPr>
            <p:cNvPr id="1347" name="Google Shape;1347;p18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48" name="Google Shape;1348;p18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49" name="Google Shape;1349;p18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350" name="Google Shape;1350;p18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351" name="Google Shape;1351;p182"/>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2" name="Google Shape;1352;p182"/>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12.xml><?xml version="1.0" encoding="utf-8"?>
<p:sldLayout xmlns:a="http://schemas.openxmlformats.org/drawingml/2006/main" xmlns:r="http://schemas.openxmlformats.org/officeDocument/2006/relationships" xmlns:p="http://schemas.openxmlformats.org/presentationml/2006/main" matchingName="Photo Slide">
  <p:cSld name="Photo Slide 11">
    <p:spTree>
      <p:nvGrpSpPr>
        <p:cNvPr id="1" name="Shape 1353"/>
        <p:cNvGrpSpPr/>
        <p:nvPr/>
      </p:nvGrpSpPr>
      <p:grpSpPr>
        <a:xfrm>
          <a:off x="0" y="0"/>
          <a:ext cx="0" cy="0"/>
          <a:chOff x="0" y="0"/>
          <a:chExt cx="0" cy="0"/>
        </a:xfrm>
      </p:grpSpPr>
      <p:sp>
        <p:nvSpPr>
          <p:cNvPr id="1354" name="Google Shape;1354;p18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355" name="Google Shape;1355;p18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356" name="Google Shape;1356;p183"/>
          <p:cNvGrpSpPr/>
          <p:nvPr/>
        </p:nvGrpSpPr>
        <p:grpSpPr>
          <a:xfrm>
            <a:off x="0" y="5379426"/>
            <a:ext cx="2807368" cy="753891"/>
            <a:chOff x="0" y="5379426"/>
            <a:chExt cx="2807368" cy="753891"/>
          </a:xfrm>
        </p:grpSpPr>
        <p:sp>
          <p:nvSpPr>
            <p:cNvPr id="1357" name="Google Shape;1357;p18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58" name="Google Shape;1358;p18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359" name="Google Shape;1359;p183"/>
          <p:cNvSpPr>
            <a:spLocks noGrp="1"/>
          </p:cNvSpPr>
          <p:nvPr>
            <p:ph type="pic" idx="2"/>
          </p:nvPr>
        </p:nvSpPr>
        <p:spPr>
          <a:xfrm>
            <a:off x="2807368" y="457202"/>
            <a:ext cx="8915400" cy="5943598"/>
          </a:xfrm>
          <a:prstGeom prst="rect">
            <a:avLst/>
          </a:prstGeom>
          <a:noFill/>
          <a:ln>
            <a:noFill/>
          </a:ln>
        </p:spPr>
      </p:sp>
      <p:pic>
        <p:nvPicPr>
          <p:cNvPr id="1360" name="Google Shape;1360;p18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13.xml><?xml version="1.0" encoding="utf-8"?>
<p:sldLayout xmlns:a="http://schemas.openxmlformats.org/drawingml/2006/main" xmlns:r="http://schemas.openxmlformats.org/officeDocument/2006/relationships" xmlns:p="http://schemas.openxmlformats.org/presentationml/2006/main" matchingName="Quotation">
  <p:cSld name="Quotation 20">
    <p:spTree>
      <p:nvGrpSpPr>
        <p:cNvPr id="1" name="Shape 1361"/>
        <p:cNvGrpSpPr/>
        <p:nvPr/>
      </p:nvGrpSpPr>
      <p:grpSpPr>
        <a:xfrm>
          <a:off x="0" y="0"/>
          <a:ext cx="0" cy="0"/>
          <a:chOff x="0" y="0"/>
          <a:chExt cx="0" cy="0"/>
        </a:xfrm>
      </p:grpSpPr>
      <p:sp>
        <p:nvSpPr>
          <p:cNvPr id="1362" name="Google Shape;1362;p18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63" name="Google Shape;1363;p18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64" name="Google Shape;1364;p18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5" name="Google Shape;1365;p18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66" name="Google Shape;1366;p1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67" name="Google Shape;1367;p1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368" name="Google Shape;1368;p184"/>
          <p:cNvGrpSpPr/>
          <p:nvPr/>
        </p:nvGrpSpPr>
        <p:grpSpPr>
          <a:xfrm>
            <a:off x="7191542" y="1"/>
            <a:ext cx="5000459" cy="1425992"/>
            <a:chOff x="7191542" y="1"/>
            <a:chExt cx="5000459" cy="1425992"/>
          </a:xfrm>
        </p:grpSpPr>
        <p:pic>
          <p:nvPicPr>
            <p:cNvPr id="1369" name="Google Shape;1369;p18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70" name="Google Shape;1370;p184"/>
            <p:cNvGrpSpPr/>
            <p:nvPr/>
          </p:nvGrpSpPr>
          <p:grpSpPr>
            <a:xfrm>
              <a:off x="7191542" y="1"/>
              <a:ext cx="5000459" cy="1425992"/>
              <a:chOff x="7186272" y="0"/>
              <a:chExt cx="5005729" cy="1427495"/>
            </a:xfrm>
          </p:grpSpPr>
          <p:sp>
            <p:nvSpPr>
              <p:cNvPr id="1371" name="Google Shape;1371;p1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72" name="Google Shape;1372;p1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373" name="Google Shape;1373;p18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14.xml><?xml version="1.0" encoding="utf-8"?>
<p:sldLayout xmlns:a="http://schemas.openxmlformats.org/drawingml/2006/main" xmlns:r="http://schemas.openxmlformats.org/officeDocument/2006/relationships" xmlns:p="http://schemas.openxmlformats.org/presentationml/2006/main" matchingName="Title and Content">
  <p:cSld name="Title and Content 14">
    <p:spTree>
      <p:nvGrpSpPr>
        <p:cNvPr id="1" name="Shape 1374"/>
        <p:cNvGrpSpPr/>
        <p:nvPr/>
      </p:nvGrpSpPr>
      <p:grpSpPr>
        <a:xfrm>
          <a:off x="0" y="0"/>
          <a:ext cx="0" cy="0"/>
          <a:chOff x="0" y="0"/>
          <a:chExt cx="0" cy="0"/>
        </a:xfrm>
      </p:grpSpPr>
      <p:grpSp>
        <p:nvGrpSpPr>
          <p:cNvPr id="1375" name="Google Shape;1375;p185"/>
          <p:cNvGrpSpPr/>
          <p:nvPr/>
        </p:nvGrpSpPr>
        <p:grpSpPr>
          <a:xfrm>
            <a:off x="7191542" y="1"/>
            <a:ext cx="5000459" cy="1425992"/>
            <a:chOff x="7191542" y="1"/>
            <a:chExt cx="5000459" cy="1425992"/>
          </a:xfrm>
        </p:grpSpPr>
        <p:pic>
          <p:nvPicPr>
            <p:cNvPr id="1376" name="Google Shape;1376;p18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77" name="Google Shape;1377;p185"/>
            <p:cNvGrpSpPr/>
            <p:nvPr/>
          </p:nvGrpSpPr>
          <p:grpSpPr>
            <a:xfrm>
              <a:off x="7191542" y="1"/>
              <a:ext cx="5000459" cy="1425992"/>
              <a:chOff x="7186272" y="0"/>
              <a:chExt cx="5005729" cy="1427495"/>
            </a:xfrm>
          </p:grpSpPr>
          <p:sp>
            <p:nvSpPr>
              <p:cNvPr id="1378" name="Google Shape;1378;p18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79" name="Google Shape;1379;p18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380" name="Google Shape;1380;p18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81" name="Google Shape;1381;p18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82" name="Google Shape;1382;p18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83" name="Google Shape;1383;p18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84" name="Google Shape;1384;p1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15.xml><?xml version="1.0" encoding="utf-8"?>
<p:sldLayout xmlns:a="http://schemas.openxmlformats.org/drawingml/2006/main" xmlns:r="http://schemas.openxmlformats.org/officeDocument/2006/relationships" xmlns:p="http://schemas.openxmlformats.org/presentationml/2006/main" matchingName="Two Content">
  <p:cSld name="Two Content 10">
    <p:spTree>
      <p:nvGrpSpPr>
        <p:cNvPr id="1" name="Shape 1385"/>
        <p:cNvGrpSpPr/>
        <p:nvPr/>
      </p:nvGrpSpPr>
      <p:grpSpPr>
        <a:xfrm>
          <a:off x="0" y="0"/>
          <a:ext cx="0" cy="0"/>
          <a:chOff x="0" y="0"/>
          <a:chExt cx="0" cy="0"/>
        </a:xfrm>
      </p:grpSpPr>
      <p:sp>
        <p:nvSpPr>
          <p:cNvPr id="1386" name="Google Shape;1386;p18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87" name="Google Shape;1387;p18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388" name="Google Shape;1388;p186"/>
          <p:cNvGrpSpPr/>
          <p:nvPr/>
        </p:nvGrpSpPr>
        <p:grpSpPr>
          <a:xfrm>
            <a:off x="7191542" y="1"/>
            <a:ext cx="5000459" cy="1425992"/>
            <a:chOff x="7191542" y="1"/>
            <a:chExt cx="5000459" cy="1425992"/>
          </a:xfrm>
        </p:grpSpPr>
        <p:pic>
          <p:nvPicPr>
            <p:cNvPr id="1389" name="Google Shape;1389;p18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90" name="Google Shape;1390;p186"/>
            <p:cNvGrpSpPr/>
            <p:nvPr/>
          </p:nvGrpSpPr>
          <p:grpSpPr>
            <a:xfrm>
              <a:off x="7191542" y="1"/>
              <a:ext cx="5000459" cy="1425992"/>
              <a:chOff x="7186272" y="0"/>
              <a:chExt cx="5005729" cy="1427495"/>
            </a:xfrm>
          </p:grpSpPr>
          <p:sp>
            <p:nvSpPr>
              <p:cNvPr id="1391" name="Google Shape;1391;p18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92" name="Google Shape;1392;p18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393" name="Google Shape;1393;p18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94" name="Google Shape;1394;p18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395" name="Google Shape;1395;p18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96" name="Google Shape;1396;p1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16.xml><?xml version="1.0" encoding="utf-8"?>
<p:sldLayout xmlns:a="http://schemas.openxmlformats.org/drawingml/2006/main" xmlns:r="http://schemas.openxmlformats.org/officeDocument/2006/relationships" xmlns:p="http://schemas.openxmlformats.org/presentationml/2006/main" matchingName="Comparison">
  <p:cSld name="Comparison 10">
    <p:spTree>
      <p:nvGrpSpPr>
        <p:cNvPr id="1" name="Shape 1397"/>
        <p:cNvGrpSpPr/>
        <p:nvPr/>
      </p:nvGrpSpPr>
      <p:grpSpPr>
        <a:xfrm>
          <a:off x="0" y="0"/>
          <a:ext cx="0" cy="0"/>
          <a:chOff x="0" y="0"/>
          <a:chExt cx="0" cy="0"/>
        </a:xfrm>
      </p:grpSpPr>
      <p:grpSp>
        <p:nvGrpSpPr>
          <p:cNvPr id="1398" name="Google Shape;1398;p187"/>
          <p:cNvGrpSpPr/>
          <p:nvPr/>
        </p:nvGrpSpPr>
        <p:grpSpPr>
          <a:xfrm>
            <a:off x="7191542" y="1"/>
            <a:ext cx="5000459" cy="1425992"/>
            <a:chOff x="7191542" y="1"/>
            <a:chExt cx="5000459" cy="1425992"/>
          </a:xfrm>
        </p:grpSpPr>
        <p:pic>
          <p:nvPicPr>
            <p:cNvPr id="1399" name="Google Shape;1399;p18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00" name="Google Shape;1400;p187"/>
            <p:cNvGrpSpPr/>
            <p:nvPr/>
          </p:nvGrpSpPr>
          <p:grpSpPr>
            <a:xfrm>
              <a:off x="7191542" y="1"/>
              <a:ext cx="5000459" cy="1425992"/>
              <a:chOff x="7186272" y="0"/>
              <a:chExt cx="5005729" cy="1427495"/>
            </a:xfrm>
          </p:grpSpPr>
          <p:sp>
            <p:nvSpPr>
              <p:cNvPr id="1401" name="Google Shape;1401;p1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02" name="Google Shape;1402;p1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403" name="Google Shape;1403;p18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04" name="Google Shape;1404;p18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405" name="Google Shape;1405;p18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06" name="Google Shape;1406;p18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407" name="Google Shape;1407;p18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08" name="Google Shape;1408;p18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09" name="Google Shape;1409;p1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10" name="Google Shape;1410;p1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17.xml><?xml version="1.0" encoding="utf-8"?>
<p:sldLayout xmlns:a="http://schemas.openxmlformats.org/drawingml/2006/main" xmlns:r="http://schemas.openxmlformats.org/officeDocument/2006/relationships" xmlns:p="http://schemas.openxmlformats.org/presentationml/2006/main" matchingName="Title Only">
  <p:cSld name="Title Only 10">
    <p:spTree>
      <p:nvGrpSpPr>
        <p:cNvPr id="1" name="Shape 1411"/>
        <p:cNvGrpSpPr/>
        <p:nvPr/>
      </p:nvGrpSpPr>
      <p:grpSpPr>
        <a:xfrm>
          <a:off x="0" y="0"/>
          <a:ext cx="0" cy="0"/>
          <a:chOff x="0" y="0"/>
          <a:chExt cx="0" cy="0"/>
        </a:xfrm>
      </p:grpSpPr>
      <p:grpSp>
        <p:nvGrpSpPr>
          <p:cNvPr id="1412" name="Google Shape;1412;p188"/>
          <p:cNvGrpSpPr/>
          <p:nvPr/>
        </p:nvGrpSpPr>
        <p:grpSpPr>
          <a:xfrm>
            <a:off x="7191542" y="1"/>
            <a:ext cx="5000459" cy="1425992"/>
            <a:chOff x="7191542" y="1"/>
            <a:chExt cx="5000459" cy="1425992"/>
          </a:xfrm>
        </p:grpSpPr>
        <p:pic>
          <p:nvPicPr>
            <p:cNvPr id="1413" name="Google Shape;1413;p18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14" name="Google Shape;1414;p188"/>
            <p:cNvGrpSpPr/>
            <p:nvPr/>
          </p:nvGrpSpPr>
          <p:grpSpPr>
            <a:xfrm>
              <a:off x="7191542" y="1"/>
              <a:ext cx="5000459" cy="1425992"/>
              <a:chOff x="7186272" y="0"/>
              <a:chExt cx="5005729" cy="1427495"/>
            </a:xfrm>
          </p:grpSpPr>
          <p:sp>
            <p:nvSpPr>
              <p:cNvPr id="1415" name="Google Shape;1415;p18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16" name="Google Shape;1416;p18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417" name="Google Shape;1417;p18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18" name="Google Shape;1418;p18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19" name="Google Shape;1419;p18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20" name="Google Shape;1420;p18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18.xml><?xml version="1.0" encoding="utf-8"?>
<p:sldLayout xmlns:a="http://schemas.openxmlformats.org/drawingml/2006/main" xmlns:r="http://schemas.openxmlformats.org/officeDocument/2006/relationships" xmlns:p="http://schemas.openxmlformats.org/presentationml/2006/main" matchingName="End">
  <p:cSld name="End 11">
    <p:spTree>
      <p:nvGrpSpPr>
        <p:cNvPr id="1" name="Shape 1421"/>
        <p:cNvGrpSpPr/>
        <p:nvPr/>
      </p:nvGrpSpPr>
      <p:grpSpPr>
        <a:xfrm>
          <a:off x="0" y="0"/>
          <a:ext cx="0" cy="0"/>
          <a:chOff x="0" y="0"/>
          <a:chExt cx="0" cy="0"/>
        </a:xfrm>
      </p:grpSpPr>
      <p:grpSp>
        <p:nvGrpSpPr>
          <p:cNvPr id="1422" name="Google Shape;1422;p189"/>
          <p:cNvGrpSpPr/>
          <p:nvPr/>
        </p:nvGrpSpPr>
        <p:grpSpPr>
          <a:xfrm>
            <a:off x="0" y="0"/>
            <a:ext cx="12192000" cy="2148830"/>
            <a:chOff x="0" y="0"/>
            <a:chExt cx="12192000" cy="2148830"/>
          </a:xfrm>
        </p:grpSpPr>
        <p:sp>
          <p:nvSpPr>
            <p:cNvPr id="1423" name="Google Shape;1423;p18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24" name="Google Shape;1424;p18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425" name="Google Shape;1425;p18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26" name="Google Shape;1426;p18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27" name="Google Shape;1427;p18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428" name="Google Shape;1428;p18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429" name="Google Shape;1429;p189"/>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19.xml><?xml version="1.0" encoding="utf-8"?>
<p:sldLayout xmlns:a="http://schemas.openxmlformats.org/drawingml/2006/main" xmlns:r="http://schemas.openxmlformats.org/officeDocument/2006/relationships" xmlns:p="http://schemas.openxmlformats.org/presentationml/2006/main" matchingName="Blank">
  <p:cSld name="Blank 11">
    <p:spTree>
      <p:nvGrpSpPr>
        <p:cNvPr id="1" name="Shape 1430"/>
        <p:cNvGrpSpPr/>
        <p:nvPr/>
      </p:nvGrpSpPr>
      <p:grpSpPr>
        <a:xfrm>
          <a:off x="0" y="0"/>
          <a:ext cx="0" cy="0"/>
          <a:chOff x="0" y="0"/>
          <a:chExt cx="0" cy="0"/>
        </a:xfrm>
      </p:grpSpPr>
      <p:sp>
        <p:nvSpPr>
          <p:cNvPr id="1431" name="Google Shape;1431;p1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32" name="Google Shape;1432;p1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33" name="Google Shape;1433;p1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434" name="Google Shape;1434;p190"/>
          <p:cNvGrpSpPr/>
          <p:nvPr/>
        </p:nvGrpSpPr>
        <p:grpSpPr>
          <a:xfrm>
            <a:off x="7191542" y="1"/>
            <a:ext cx="5000459" cy="1425992"/>
            <a:chOff x="7191542" y="1"/>
            <a:chExt cx="5000459" cy="1425992"/>
          </a:xfrm>
        </p:grpSpPr>
        <p:pic>
          <p:nvPicPr>
            <p:cNvPr id="1435" name="Google Shape;1435;p1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36" name="Google Shape;1436;p190"/>
            <p:cNvGrpSpPr/>
            <p:nvPr/>
          </p:nvGrpSpPr>
          <p:grpSpPr>
            <a:xfrm>
              <a:off x="7191542" y="1"/>
              <a:ext cx="5000459" cy="1425992"/>
              <a:chOff x="7186272" y="0"/>
              <a:chExt cx="5005729" cy="1427495"/>
            </a:xfrm>
          </p:grpSpPr>
          <p:sp>
            <p:nvSpPr>
              <p:cNvPr id="1437" name="Google Shape;1437;p1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38" name="Google Shape;1438;p1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75016611"/>
      </p:ext>
    </p:extLst>
  </p:cSld>
  <p:clrMapOvr>
    <a:masterClrMapping/>
  </p:clrMapOvr>
</p:sldLayout>
</file>

<file path=ppt/slideLayouts/slideLayout820.xml><?xml version="1.0" encoding="utf-8"?>
<p:sldLayout xmlns:a="http://schemas.openxmlformats.org/drawingml/2006/main" xmlns:r="http://schemas.openxmlformats.org/officeDocument/2006/relationships" xmlns:p="http://schemas.openxmlformats.org/presentationml/2006/main" matchingName="Cover">
  <p:cSld name="Cover 13">
    <p:spTree>
      <p:nvGrpSpPr>
        <p:cNvPr id="1" name="Shape 1439"/>
        <p:cNvGrpSpPr/>
        <p:nvPr/>
      </p:nvGrpSpPr>
      <p:grpSpPr>
        <a:xfrm>
          <a:off x="0" y="0"/>
          <a:ext cx="0" cy="0"/>
          <a:chOff x="0" y="0"/>
          <a:chExt cx="0" cy="0"/>
        </a:xfrm>
      </p:grpSpPr>
      <p:sp>
        <p:nvSpPr>
          <p:cNvPr id="1440" name="Google Shape;1440;p191"/>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41" name="Google Shape;1441;p191"/>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42" name="Google Shape;1442;p191"/>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443" name="Google Shape;1443;p191"/>
          <p:cNvSpPr>
            <a:spLocks noGrp="1"/>
          </p:cNvSpPr>
          <p:nvPr>
            <p:ph type="pic" idx="2"/>
          </p:nvPr>
        </p:nvSpPr>
        <p:spPr>
          <a:xfrm>
            <a:off x="7118684" y="233915"/>
            <a:ext cx="5073316" cy="5943600"/>
          </a:xfrm>
          <a:prstGeom prst="rect">
            <a:avLst/>
          </a:prstGeom>
          <a:noFill/>
          <a:ln>
            <a:noFill/>
          </a:ln>
        </p:spPr>
      </p:sp>
      <p:grpSp>
        <p:nvGrpSpPr>
          <p:cNvPr id="1444" name="Google Shape;1444;p191"/>
          <p:cNvGrpSpPr/>
          <p:nvPr/>
        </p:nvGrpSpPr>
        <p:grpSpPr>
          <a:xfrm>
            <a:off x="0" y="5020348"/>
            <a:ext cx="12192000" cy="1837653"/>
            <a:chOff x="0" y="5020348"/>
            <a:chExt cx="12192000" cy="1837653"/>
          </a:xfrm>
        </p:grpSpPr>
        <p:sp>
          <p:nvSpPr>
            <p:cNvPr id="1445" name="Google Shape;1445;p19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46" name="Google Shape;1446;p19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447" name="Google Shape;1447;p19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21.xml><?xml version="1.0" encoding="utf-8"?>
<p:sldLayout xmlns:a="http://schemas.openxmlformats.org/drawingml/2006/main" xmlns:r="http://schemas.openxmlformats.org/officeDocument/2006/relationships" xmlns:p="http://schemas.openxmlformats.org/presentationml/2006/main" matchingName="Divider">
  <p:cSld name="Divider 14">
    <p:bg>
      <p:bgPr>
        <a:solidFill>
          <a:schemeClr val="lt2"/>
        </a:solidFill>
        <a:effectLst/>
      </p:bgPr>
    </p:bg>
    <p:spTree>
      <p:nvGrpSpPr>
        <p:cNvPr id="1" name="Shape 1448"/>
        <p:cNvGrpSpPr/>
        <p:nvPr/>
      </p:nvGrpSpPr>
      <p:grpSpPr>
        <a:xfrm>
          <a:off x="0" y="0"/>
          <a:ext cx="0" cy="0"/>
          <a:chOff x="0" y="0"/>
          <a:chExt cx="0" cy="0"/>
        </a:xfrm>
      </p:grpSpPr>
      <p:grpSp>
        <p:nvGrpSpPr>
          <p:cNvPr id="1449" name="Google Shape;1449;p192"/>
          <p:cNvGrpSpPr/>
          <p:nvPr/>
        </p:nvGrpSpPr>
        <p:grpSpPr>
          <a:xfrm>
            <a:off x="0" y="5020347"/>
            <a:ext cx="12192000" cy="1837653"/>
            <a:chOff x="0" y="5020347"/>
            <a:chExt cx="12192000" cy="1837653"/>
          </a:xfrm>
        </p:grpSpPr>
        <p:sp>
          <p:nvSpPr>
            <p:cNvPr id="1450" name="Google Shape;1450;p19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51" name="Google Shape;1451;p19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52" name="Google Shape;1452;p19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453" name="Google Shape;1453;p19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454" name="Google Shape;1454;p192"/>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55" name="Google Shape;1455;p192"/>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22.xml><?xml version="1.0" encoding="utf-8"?>
<p:sldLayout xmlns:a="http://schemas.openxmlformats.org/drawingml/2006/main" xmlns:r="http://schemas.openxmlformats.org/officeDocument/2006/relationships" xmlns:p="http://schemas.openxmlformats.org/presentationml/2006/main" matchingName="Photo Slide">
  <p:cSld name="Photo Slide 12">
    <p:spTree>
      <p:nvGrpSpPr>
        <p:cNvPr id="1" name="Shape 1456"/>
        <p:cNvGrpSpPr/>
        <p:nvPr/>
      </p:nvGrpSpPr>
      <p:grpSpPr>
        <a:xfrm>
          <a:off x="0" y="0"/>
          <a:ext cx="0" cy="0"/>
          <a:chOff x="0" y="0"/>
          <a:chExt cx="0" cy="0"/>
        </a:xfrm>
      </p:grpSpPr>
      <p:sp>
        <p:nvSpPr>
          <p:cNvPr id="1457" name="Google Shape;1457;p19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458" name="Google Shape;1458;p19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459" name="Google Shape;1459;p193"/>
          <p:cNvGrpSpPr/>
          <p:nvPr/>
        </p:nvGrpSpPr>
        <p:grpSpPr>
          <a:xfrm>
            <a:off x="0" y="5379426"/>
            <a:ext cx="2807368" cy="753891"/>
            <a:chOff x="0" y="5379426"/>
            <a:chExt cx="2807368" cy="753891"/>
          </a:xfrm>
        </p:grpSpPr>
        <p:sp>
          <p:nvSpPr>
            <p:cNvPr id="1460" name="Google Shape;1460;p19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61" name="Google Shape;1461;p19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462" name="Google Shape;1462;p193"/>
          <p:cNvSpPr>
            <a:spLocks noGrp="1"/>
          </p:cNvSpPr>
          <p:nvPr>
            <p:ph type="pic" idx="2"/>
          </p:nvPr>
        </p:nvSpPr>
        <p:spPr>
          <a:xfrm>
            <a:off x="2807368" y="457202"/>
            <a:ext cx="8915400" cy="5943598"/>
          </a:xfrm>
          <a:prstGeom prst="rect">
            <a:avLst/>
          </a:prstGeom>
          <a:noFill/>
          <a:ln>
            <a:noFill/>
          </a:ln>
        </p:spPr>
      </p:sp>
      <p:pic>
        <p:nvPicPr>
          <p:cNvPr id="1463" name="Google Shape;1463;p19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23.xml><?xml version="1.0" encoding="utf-8"?>
<p:sldLayout xmlns:a="http://schemas.openxmlformats.org/drawingml/2006/main" xmlns:r="http://schemas.openxmlformats.org/officeDocument/2006/relationships" xmlns:p="http://schemas.openxmlformats.org/presentationml/2006/main" matchingName="Quotation">
  <p:cSld name="Quotation 21">
    <p:spTree>
      <p:nvGrpSpPr>
        <p:cNvPr id="1" name="Shape 1464"/>
        <p:cNvGrpSpPr/>
        <p:nvPr/>
      </p:nvGrpSpPr>
      <p:grpSpPr>
        <a:xfrm>
          <a:off x="0" y="0"/>
          <a:ext cx="0" cy="0"/>
          <a:chOff x="0" y="0"/>
          <a:chExt cx="0" cy="0"/>
        </a:xfrm>
      </p:grpSpPr>
      <p:sp>
        <p:nvSpPr>
          <p:cNvPr id="1465" name="Google Shape;1465;p19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66" name="Google Shape;1466;p19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67" name="Google Shape;1467;p19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68" name="Google Shape;1468;p19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69" name="Google Shape;1469;p1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70" name="Google Shape;1470;p1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471" name="Google Shape;1471;p194"/>
          <p:cNvGrpSpPr/>
          <p:nvPr/>
        </p:nvGrpSpPr>
        <p:grpSpPr>
          <a:xfrm>
            <a:off x="7191542" y="1"/>
            <a:ext cx="5000459" cy="1425992"/>
            <a:chOff x="7191542" y="1"/>
            <a:chExt cx="5000459" cy="1425992"/>
          </a:xfrm>
        </p:grpSpPr>
        <p:pic>
          <p:nvPicPr>
            <p:cNvPr id="1472" name="Google Shape;1472;p1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73" name="Google Shape;1473;p194"/>
            <p:cNvGrpSpPr/>
            <p:nvPr/>
          </p:nvGrpSpPr>
          <p:grpSpPr>
            <a:xfrm>
              <a:off x="7191542" y="1"/>
              <a:ext cx="5000459" cy="1425992"/>
              <a:chOff x="7186272" y="0"/>
              <a:chExt cx="5005729" cy="1427495"/>
            </a:xfrm>
          </p:grpSpPr>
          <p:sp>
            <p:nvSpPr>
              <p:cNvPr id="1474" name="Google Shape;1474;p1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75" name="Google Shape;1475;p1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476" name="Google Shape;1476;p19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24.xml><?xml version="1.0" encoding="utf-8"?>
<p:sldLayout xmlns:a="http://schemas.openxmlformats.org/drawingml/2006/main" xmlns:r="http://schemas.openxmlformats.org/officeDocument/2006/relationships" xmlns:p="http://schemas.openxmlformats.org/presentationml/2006/main" matchingName="Title and Content">
  <p:cSld name="Title and Content 15">
    <p:spTree>
      <p:nvGrpSpPr>
        <p:cNvPr id="1" name="Shape 1477"/>
        <p:cNvGrpSpPr/>
        <p:nvPr/>
      </p:nvGrpSpPr>
      <p:grpSpPr>
        <a:xfrm>
          <a:off x="0" y="0"/>
          <a:ext cx="0" cy="0"/>
          <a:chOff x="0" y="0"/>
          <a:chExt cx="0" cy="0"/>
        </a:xfrm>
      </p:grpSpPr>
      <p:grpSp>
        <p:nvGrpSpPr>
          <p:cNvPr id="1478" name="Google Shape;1478;p195"/>
          <p:cNvGrpSpPr/>
          <p:nvPr/>
        </p:nvGrpSpPr>
        <p:grpSpPr>
          <a:xfrm>
            <a:off x="7191542" y="1"/>
            <a:ext cx="5000459" cy="1425992"/>
            <a:chOff x="7191542" y="1"/>
            <a:chExt cx="5000459" cy="1425992"/>
          </a:xfrm>
        </p:grpSpPr>
        <p:pic>
          <p:nvPicPr>
            <p:cNvPr id="1479" name="Google Shape;1479;p19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80" name="Google Shape;1480;p195"/>
            <p:cNvGrpSpPr/>
            <p:nvPr/>
          </p:nvGrpSpPr>
          <p:grpSpPr>
            <a:xfrm>
              <a:off x="7191542" y="1"/>
              <a:ext cx="5000459" cy="1425992"/>
              <a:chOff x="7186272" y="0"/>
              <a:chExt cx="5005729" cy="1427495"/>
            </a:xfrm>
          </p:grpSpPr>
          <p:sp>
            <p:nvSpPr>
              <p:cNvPr id="1481" name="Google Shape;1481;p1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82" name="Google Shape;1482;p1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483" name="Google Shape;1483;p19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84" name="Google Shape;1484;p19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85" name="Google Shape;1485;p19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86" name="Google Shape;1486;p1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87" name="Google Shape;1487;p1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25.xml><?xml version="1.0" encoding="utf-8"?>
<p:sldLayout xmlns:a="http://schemas.openxmlformats.org/drawingml/2006/main" xmlns:r="http://schemas.openxmlformats.org/officeDocument/2006/relationships" xmlns:p="http://schemas.openxmlformats.org/presentationml/2006/main" matchingName="Two Content">
  <p:cSld name="Two Content 11">
    <p:spTree>
      <p:nvGrpSpPr>
        <p:cNvPr id="1" name="Shape 1488"/>
        <p:cNvGrpSpPr/>
        <p:nvPr/>
      </p:nvGrpSpPr>
      <p:grpSpPr>
        <a:xfrm>
          <a:off x="0" y="0"/>
          <a:ext cx="0" cy="0"/>
          <a:chOff x="0" y="0"/>
          <a:chExt cx="0" cy="0"/>
        </a:xfrm>
      </p:grpSpPr>
      <p:sp>
        <p:nvSpPr>
          <p:cNvPr id="1489" name="Google Shape;1489;p19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90" name="Google Shape;1490;p19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491" name="Google Shape;1491;p196"/>
          <p:cNvGrpSpPr/>
          <p:nvPr/>
        </p:nvGrpSpPr>
        <p:grpSpPr>
          <a:xfrm>
            <a:off x="7191542" y="1"/>
            <a:ext cx="5000459" cy="1425992"/>
            <a:chOff x="7191542" y="1"/>
            <a:chExt cx="5000459" cy="1425992"/>
          </a:xfrm>
        </p:grpSpPr>
        <p:pic>
          <p:nvPicPr>
            <p:cNvPr id="1492" name="Google Shape;1492;p1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93" name="Google Shape;1493;p196"/>
            <p:cNvGrpSpPr/>
            <p:nvPr/>
          </p:nvGrpSpPr>
          <p:grpSpPr>
            <a:xfrm>
              <a:off x="7191542" y="1"/>
              <a:ext cx="5000459" cy="1425992"/>
              <a:chOff x="7186272" y="0"/>
              <a:chExt cx="5005729" cy="1427495"/>
            </a:xfrm>
          </p:grpSpPr>
          <p:sp>
            <p:nvSpPr>
              <p:cNvPr id="1494" name="Google Shape;1494;p1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95" name="Google Shape;1495;p1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496" name="Google Shape;1496;p19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97" name="Google Shape;1497;p19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98" name="Google Shape;1498;p1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99" name="Google Shape;1499;p1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26.xml><?xml version="1.0" encoding="utf-8"?>
<p:sldLayout xmlns:a="http://schemas.openxmlformats.org/drawingml/2006/main" xmlns:r="http://schemas.openxmlformats.org/officeDocument/2006/relationships" xmlns:p="http://schemas.openxmlformats.org/presentationml/2006/main" matchingName="Comparison">
  <p:cSld name="Comparison 11">
    <p:spTree>
      <p:nvGrpSpPr>
        <p:cNvPr id="1" name="Shape 1500"/>
        <p:cNvGrpSpPr/>
        <p:nvPr/>
      </p:nvGrpSpPr>
      <p:grpSpPr>
        <a:xfrm>
          <a:off x="0" y="0"/>
          <a:ext cx="0" cy="0"/>
          <a:chOff x="0" y="0"/>
          <a:chExt cx="0" cy="0"/>
        </a:xfrm>
      </p:grpSpPr>
      <p:grpSp>
        <p:nvGrpSpPr>
          <p:cNvPr id="1501" name="Google Shape;1501;p197"/>
          <p:cNvGrpSpPr/>
          <p:nvPr/>
        </p:nvGrpSpPr>
        <p:grpSpPr>
          <a:xfrm>
            <a:off x="7191542" y="1"/>
            <a:ext cx="5000459" cy="1425992"/>
            <a:chOff x="7191542" y="1"/>
            <a:chExt cx="5000459" cy="1425992"/>
          </a:xfrm>
        </p:grpSpPr>
        <p:pic>
          <p:nvPicPr>
            <p:cNvPr id="1502" name="Google Shape;1502;p19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03" name="Google Shape;1503;p197"/>
            <p:cNvGrpSpPr/>
            <p:nvPr/>
          </p:nvGrpSpPr>
          <p:grpSpPr>
            <a:xfrm>
              <a:off x="7191542" y="1"/>
              <a:ext cx="5000459" cy="1425992"/>
              <a:chOff x="7186272" y="0"/>
              <a:chExt cx="5005729" cy="1427495"/>
            </a:xfrm>
          </p:grpSpPr>
          <p:sp>
            <p:nvSpPr>
              <p:cNvPr id="1504" name="Google Shape;1504;p1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05" name="Google Shape;1505;p1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506" name="Google Shape;1506;p19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07" name="Google Shape;1507;p19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508" name="Google Shape;1508;p19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09" name="Google Shape;1509;p19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510" name="Google Shape;1510;p19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11" name="Google Shape;1511;p1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512" name="Google Shape;1512;p1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13" name="Google Shape;1513;p1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27.xml><?xml version="1.0" encoding="utf-8"?>
<p:sldLayout xmlns:a="http://schemas.openxmlformats.org/drawingml/2006/main" xmlns:r="http://schemas.openxmlformats.org/officeDocument/2006/relationships" xmlns:p="http://schemas.openxmlformats.org/presentationml/2006/main" matchingName="Title Only">
  <p:cSld name="Title Only 11">
    <p:spTree>
      <p:nvGrpSpPr>
        <p:cNvPr id="1" name="Shape 1514"/>
        <p:cNvGrpSpPr/>
        <p:nvPr/>
      </p:nvGrpSpPr>
      <p:grpSpPr>
        <a:xfrm>
          <a:off x="0" y="0"/>
          <a:ext cx="0" cy="0"/>
          <a:chOff x="0" y="0"/>
          <a:chExt cx="0" cy="0"/>
        </a:xfrm>
      </p:grpSpPr>
      <p:grpSp>
        <p:nvGrpSpPr>
          <p:cNvPr id="1515" name="Google Shape;1515;p198"/>
          <p:cNvGrpSpPr/>
          <p:nvPr/>
        </p:nvGrpSpPr>
        <p:grpSpPr>
          <a:xfrm>
            <a:off x="7191542" y="1"/>
            <a:ext cx="5000459" cy="1425992"/>
            <a:chOff x="7191542" y="1"/>
            <a:chExt cx="5000459" cy="1425992"/>
          </a:xfrm>
        </p:grpSpPr>
        <p:pic>
          <p:nvPicPr>
            <p:cNvPr id="1516" name="Google Shape;1516;p1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17" name="Google Shape;1517;p198"/>
            <p:cNvGrpSpPr/>
            <p:nvPr/>
          </p:nvGrpSpPr>
          <p:grpSpPr>
            <a:xfrm>
              <a:off x="7191542" y="1"/>
              <a:ext cx="5000459" cy="1425992"/>
              <a:chOff x="7186272" y="0"/>
              <a:chExt cx="5005729" cy="1427495"/>
            </a:xfrm>
          </p:grpSpPr>
          <p:sp>
            <p:nvSpPr>
              <p:cNvPr id="1518" name="Google Shape;1518;p1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19" name="Google Shape;1519;p1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520" name="Google Shape;1520;p19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21" name="Google Shape;1521;p1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522" name="Google Shape;1522;p1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23" name="Google Shape;1523;p1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28.xml><?xml version="1.0" encoding="utf-8"?>
<p:sldLayout xmlns:a="http://schemas.openxmlformats.org/drawingml/2006/main" xmlns:r="http://schemas.openxmlformats.org/officeDocument/2006/relationships" xmlns:p="http://schemas.openxmlformats.org/presentationml/2006/main" matchingName="End">
  <p:cSld name="End 12">
    <p:spTree>
      <p:nvGrpSpPr>
        <p:cNvPr id="1" name="Shape 1524"/>
        <p:cNvGrpSpPr/>
        <p:nvPr/>
      </p:nvGrpSpPr>
      <p:grpSpPr>
        <a:xfrm>
          <a:off x="0" y="0"/>
          <a:ext cx="0" cy="0"/>
          <a:chOff x="0" y="0"/>
          <a:chExt cx="0" cy="0"/>
        </a:xfrm>
      </p:grpSpPr>
      <p:grpSp>
        <p:nvGrpSpPr>
          <p:cNvPr id="1525" name="Google Shape;1525;p199"/>
          <p:cNvGrpSpPr/>
          <p:nvPr/>
        </p:nvGrpSpPr>
        <p:grpSpPr>
          <a:xfrm>
            <a:off x="0" y="0"/>
            <a:ext cx="12192000" cy="2148830"/>
            <a:chOff x="0" y="0"/>
            <a:chExt cx="12192000" cy="2148830"/>
          </a:xfrm>
        </p:grpSpPr>
        <p:sp>
          <p:nvSpPr>
            <p:cNvPr id="1526" name="Google Shape;1526;p19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27" name="Google Shape;1527;p19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528" name="Google Shape;1528;p19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29" name="Google Shape;1529;p19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30" name="Google Shape;1530;p19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531" name="Google Shape;1531;p19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532" name="Google Shape;1532;p199"/>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29.xml><?xml version="1.0" encoding="utf-8"?>
<p:sldLayout xmlns:a="http://schemas.openxmlformats.org/drawingml/2006/main" xmlns:r="http://schemas.openxmlformats.org/officeDocument/2006/relationships" xmlns:p="http://schemas.openxmlformats.org/presentationml/2006/main" matchingName="Blank">
  <p:cSld name="Blank 12">
    <p:spTree>
      <p:nvGrpSpPr>
        <p:cNvPr id="1" name="Shape 1533"/>
        <p:cNvGrpSpPr/>
        <p:nvPr/>
      </p:nvGrpSpPr>
      <p:grpSpPr>
        <a:xfrm>
          <a:off x="0" y="0"/>
          <a:ext cx="0" cy="0"/>
          <a:chOff x="0" y="0"/>
          <a:chExt cx="0" cy="0"/>
        </a:xfrm>
      </p:grpSpPr>
      <p:sp>
        <p:nvSpPr>
          <p:cNvPr id="1534" name="Google Shape;1534;p20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535" name="Google Shape;1535;p2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36" name="Google Shape;1536;p2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537" name="Google Shape;1537;p200"/>
          <p:cNvGrpSpPr/>
          <p:nvPr/>
        </p:nvGrpSpPr>
        <p:grpSpPr>
          <a:xfrm>
            <a:off x="7191542" y="1"/>
            <a:ext cx="5000459" cy="1425992"/>
            <a:chOff x="7191542" y="1"/>
            <a:chExt cx="5000459" cy="1425992"/>
          </a:xfrm>
        </p:grpSpPr>
        <p:pic>
          <p:nvPicPr>
            <p:cNvPr id="1538" name="Google Shape;1538;p20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39" name="Google Shape;1539;p200"/>
            <p:cNvGrpSpPr/>
            <p:nvPr/>
          </p:nvGrpSpPr>
          <p:grpSpPr>
            <a:xfrm>
              <a:off x="7191542" y="1"/>
              <a:ext cx="5000459" cy="1425992"/>
              <a:chOff x="7186272" y="0"/>
              <a:chExt cx="5005729" cy="1427495"/>
            </a:xfrm>
          </p:grpSpPr>
          <p:sp>
            <p:nvSpPr>
              <p:cNvPr id="1540" name="Google Shape;1540;p2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41" name="Google Shape;1541;p2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792427770"/>
      </p:ext>
    </p:extLst>
  </p:cSld>
  <p:clrMapOvr>
    <a:masterClrMapping/>
  </p:clrMapOvr>
</p:sldLayout>
</file>

<file path=ppt/slideLayouts/slideLayout830.xml><?xml version="1.0" encoding="utf-8"?>
<p:sldLayout xmlns:a="http://schemas.openxmlformats.org/drawingml/2006/main" xmlns:r="http://schemas.openxmlformats.org/officeDocument/2006/relationships" xmlns:p="http://schemas.openxmlformats.org/presentationml/2006/main" matchingName="3_Quotation">
  <p:cSld name="3_Quotation 4">
    <p:spTree>
      <p:nvGrpSpPr>
        <p:cNvPr id="1" name="Shape 1542"/>
        <p:cNvGrpSpPr/>
        <p:nvPr/>
      </p:nvGrpSpPr>
      <p:grpSpPr>
        <a:xfrm>
          <a:off x="0" y="0"/>
          <a:ext cx="0" cy="0"/>
          <a:chOff x="0" y="0"/>
          <a:chExt cx="0" cy="0"/>
        </a:xfrm>
      </p:grpSpPr>
      <p:sp>
        <p:nvSpPr>
          <p:cNvPr id="1543" name="Google Shape;1543;p20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44" name="Google Shape;1544;p20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45" name="Google Shape;1545;p20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46" name="Google Shape;1546;p20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47" name="Google Shape;1547;p2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48" name="Google Shape;1548;p2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549" name="Google Shape;1549;p201"/>
          <p:cNvGrpSpPr/>
          <p:nvPr/>
        </p:nvGrpSpPr>
        <p:grpSpPr>
          <a:xfrm>
            <a:off x="7191542" y="1"/>
            <a:ext cx="5000459" cy="1425992"/>
            <a:chOff x="7191542" y="1"/>
            <a:chExt cx="5000459" cy="1425992"/>
          </a:xfrm>
        </p:grpSpPr>
        <p:pic>
          <p:nvPicPr>
            <p:cNvPr id="1550" name="Google Shape;1550;p20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51" name="Google Shape;1551;p201"/>
            <p:cNvGrpSpPr/>
            <p:nvPr/>
          </p:nvGrpSpPr>
          <p:grpSpPr>
            <a:xfrm>
              <a:off x="7191542" y="1"/>
              <a:ext cx="5000459" cy="1425992"/>
              <a:chOff x="7186272" y="0"/>
              <a:chExt cx="5005729" cy="1427495"/>
            </a:xfrm>
          </p:grpSpPr>
          <p:sp>
            <p:nvSpPr>
              <p:cNvPr id="1552" name="Google Shape;1552;p2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53" name="Google Shape;1553;p2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554" name="Google Shape;1554;p20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31.xml><?xml version="1.0" encoding="utf-8"?>
<p:sldLayout xmlns:a="http://schemas.openxmlformats.org/drawingml/2006/main" xmlns:r="http://schemas.openxmlformats.org/officeDocument/2006/relationships" xmlns:p="http://schemas.openxmlformats.org/presentationml/2006/main" matchingName="4_Quotation">
  <p:cSld name="4_Quotation">
    <p:spTree>
      <p:nvGrpSpPr>
        <p:cNvPr id="1" name="Shape 1555"/>
        <p:cNvGrpSpPr/>
        <p:nvPr/>
      </p:nvGrpSpPr>
      <p:grpSpPr>
        <a:xfrm>
          <a:off x="0" y="0"/>
          <a:ext cx="0" cy="0"/>
          <a:chOff x="0" y="0"/>
          <a:chExt cx="0" cy="0"/>
        </a:xfrm>
      </p:grpSpPr>
      <p:sp>
        <p:nvSpPr>
          <p:cNvPr id="1556" name="Google Shape;1556;p20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57" name="Google Shape;1557;p20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58" name="Google Shape;1558;p20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59" name="Google Shape;1559;p20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60" name="Google Shape;1560;p2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61" name="Google Shape;1561;p2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562" name="Google Shape;1562;p202"/>
          <p:cNvGrpSpPr/>
          <p:nvPr/>
        </p:nvGrpSpPr>
        <p:grpSpPr>
          <a:xfrm>
            <a:off x="7191542" y="1"/>
            <a:ext cx="5000459" cy="1425992"/>
            <a:chOff x="7191542" y="1"/>
            <a:chExt cx="5000459" cy="1425992"/>
          </a:xfrm>
        </p:grpSpPr>
        <p:pic>
          <p:nvPicPr>
            <p:cNvPr id="1563" name="Google Shape;1563;p20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64" name="Google Shape;1564;p202"/>
            <p:cNvGrpSpPr/>
            <p:nvPr/>
          </p:nvGrpSpPr>
          <p:grpSpPr>
            <a:xfrm>
              <a:off x="7191542" y="1"/>
              <a:ext cx="5000459" cy="1425992"/>
              <a:chOff x="7186272" y="0"/>
              <a:chExt cx="5005729" cy="1427495"/>
            </a:xfrm>
          </p:grpSpPr>
          <p:sp>
            <p:nvSpPr>
              <p:cNvPr id="1565" name="Google Shape;1565;p2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66" name="Google Shape;1566;p2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567" name="Google Shape;1567;p20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32.xml><?xml version="1.0" encoding="utf-8"?>
<p:sldLayout xmlns:a="http://schemas.openxmlformats.org/drawingml/2006/main" xmlns:r="http://schemas.openxmlformats.org/officeDocument/2006/relationships" xmlns:p="http://schemas.openxmlformats.org/presentationml/2006/main" matchingName="Cover">
  <p:cSld name="Cover 14">
    <p:spTree>
      <p:nvGrpSpPr>
        <p:cNvPr id="1" name="Shape 1568"/>
        <p:cNvGrpSpPr/>
        <p:nvPr/>
      </p:nvGrpSpPr>
      <p:grpSpPr>
        <a:xfrm>
          <a:off x="0" y="0"/>
          <a:ext cx="0" cy="0"/>
          <a:chOff x="0" y="0"/>
          <a:chExt cx="0" cy="0"/>
        </a:xfrm>
      </p:grpSpPr>
      <p:sp>
        <p:nvSpPr>
          <p:cNvPr id="1569" name="Google Shape;1569;p20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70" name="Google Shape;1570;p20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71" name="Google Shape;1571;p20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572" name="Google Shape;1572;p203"/>
          <p:cNvSpPr>
            <a:spLocks noGrp="1"/>
          </p:cNvSpPr>
          <p:nvPr>
            <p:ph type="pic" idx="2"/>
          </p:nvPr>
        </p:nvSpPr>
        <p:spPr>
          <a:xfrm>
            <a:off x="7118684" y="233915"/>
            <a:ext cx="5073316" cy="5943600"/>
          </a:xfrm>
          <a:prstGeom prst="rect">
            <a:avLst/>
          </a:prstGeom>
          <a:noFill/>
          <a:ln>
            <a:noFill/>
          </a:ln>
        </p:spPr>
      </p:sp>
      <p:grpSp>
        <p:nvGrpSpPr>
          <p:cNvPr id="1573" name="Google Shape;1573;p203"/>
          <p:cNvGrpSpPr/>
          <p:nvPr/>
        </p:nvGrpSpPr>
        <p:grpSpPr>
          <a:xfrm>
            <a:off x="0" y="5020348"/>
            <a:ext cx="12192000" cy="1837653"/>
            <a:chOff x="0" y="5020348"/>
            <a:chExt cx="12192000" cy="1837653"/>
          </a:xfrm>
        </p:grpSpPr>
        <p:sp>
          <p:nvSpPr>
            <p:cNvPr id="1574" name="Google Shape;1574;p20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75" name="Google Shape;1575;p20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576" name="Google Shape;1576;p20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33.xml><?xml version="1.0" encoding="utf-8"?>
<p:sldLayout xmlns:a="http://schemas.openxmlformats.org/drawingml/2006/main" xmlns:r="http://schemas.openxmlformats.org/officeDocument/2006/relationships" xmlns:p="http://schemas.openxmlformats.org/presentationml/2006/main" matchingName="Divider">
  <p:cSld name="Divider 15">
    <p:bg>
      <p:bgPr>
        <a:solidFill>
          <a:schemeClr val="lt2"/>
        </a:solidFill>
        <a:effectLst/>
      </p:bgPr>
    </p:bg>
    <p:spTree>
      <p:nvGrpSpPr>
        <p:cNvPr id="1" name="Shape 1577"/>
        <p:cNvGrpSpPr/>
        <p:nvPr/>
      </p:nvGrpSpPr>
      <p:grpSpPr>
        <a:xfrm>
          <a:off x="0" y="0"/>
          <a:ext cx="0" cy="0"/>
          <a:chOff x="0" y="0"/>
          <a:chExt cx="0" cy="0"/>
        </a:xfrm>
      </p:grpSpPr>
      <p:grpSp>
        <p:nvGrpSpPr>
          <p:cNvPr id="1578" name="Google Shape;1578;p204"/>
          <p:cNvGrpSpPr/>
          <p:nvPr/>
        </p:nvGrpSpPr>
        <p:grpSpPr>
          <a:xfrm>
            <a:off x="0" y="5020347"/>
            <a:ext cx="12192000" cy="1837653"/>
            <a:chOff x="0" y="5020347"/>
            <a:chExt cx="12192000" cy="1837653"/>
          </a:xfrm>
        </p:grpSpPr>
        <p:sp>
          <p:nvSpPr>
            <p:cNvPr id="1579" name="Google Shape;1579;p20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80" name="Google Shape;1580;p20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81" name="Google Shape;1581;p20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582" name="Google Shape;1582;p20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583" name="Google Shape;1583;p20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84" name="Google Shape;1584;p20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34.xml><?xml version="1.0" encoding="utf-8"?>
<p:sldLayout xmlns:a="http://schemas.openxmlformats.org/drawingml/2006/main" xmlns:r="http://schemas.openxmlformats.org/officeDocument/2006/relationships" xmlns:p="http://schemas.openxmlformats.org/presentationml/2006/main" matchingName="Photo Slide">
  <p:cSld name="Photo Slide 13">
    <p:spTree>
      <p:nvGrpSpPr>
        <p:cNvPr id="1" name="Shape 1585"/>
        <p:cNvGrpSpPr/>
        <p:nvPr/>
      </p:nvGrpSpPr>
      <p:grpSpPr>
        <a:xfrm>
          <a:off x="0" y="0"/>
          <a:ext cx="0" cy="0"/>
          <a:chOff x="0" y="0"/>
          <a:chExt cx="0" cy="0"/>
        </a:xfrm>
      </p:grpSpPr>
      <p:sp>
        <p:nvSpPr>
          <p:cNvPr id="1586" name="Google Shape;1586;p20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587" name="Google Shape;1587;p20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588" name="Google Shape;1588;p205"/>
          <p:cNvGrpSpPr/>
          <p:nvPr/>
        </p:nvGrpSpPr>
        <p:grpSpPr>
          <a:xfrm>
            <a:off x="0" y="5379426"/>
            <a:ext cx="2807368" cy="753891"/>
            <a:chOff x="0" y="5379426"/>
            <a:chExt cx="2807368" cy="753891"/>
          </a:xfrm>
        </p:grpSpPr>
        <p:sp>
          <p:nvSpPr>
            <p:cNvPr id="1589" name="Google Shape;1589;p20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90" name="Google Shape;1590;p20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591" name="Google Shape;1591;p205"/>
          <p:cNvSpPr>
            <a:spLocks noGrp="1"/>
          </p:cNvSpPr>
          <p:nvPr>
            <p:ph type="pic" idx="2"/>
          </p:nvPr>
        </p:nvSpPr>
        <p:spPr>
          <a:xfrm>
            <a:off x="2807368" y="457202"/>
            <a:ext cx="8915400" cy="5943598"/>
          </a:xfrm>
          <a:prstGeom prst="rect">
            <a:avLst/>
          </a:prstGeom>
          <a:noFill/>
          <a:ln>
            <a:noFill/>
          </a:ln>
        </p:spPr>
      </p:sp>
      <p:pic>
        <p:nvPicPr>
          <p:cNvPr id="1592" name="Google Shape;1592;p205"/>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35.xml><?xml version="1.0" encoding="utf-8"?>
<p:sldLayout xmlns:a="http://schemas.openxmlformats.org/drawingml/2006/main" xmlns:r="http://schemas.openxmlformats.org/officeDocument/2006/relationships" xmlns:p="http://schemas.openxmlformats.org/presentationml/2006/main" matchingName="Quotation">
  <p:cSld name="Quotation 22">
    <p:spTree>
      <p:nvGrpSpPr>
        <p:cNvPr id="1" name="Shape 1593"/>
        <p:cNvGrpSpPr/>
        <p:nvPr/>
      </p:nvGrpSpPr>
      <p:grpSpPr>
        <a:xfrm>
          <a:off x="0" y="0"/>
          <a:ext cx="0" cy="0"/>
          <a:chOff x="0" y="0"/>
          <a:chExt cx="0" cy="0"/>
        </a:xfrm>
      </p:grpSpPr>
      <p:sp>
        <p:nvSpPr>
          <p:cNvPr id="1594" name="Google Shape;1594;p20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95" name="Google Shape;1595;p20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96" name="Google Shape;1596;p20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97" name="Google Shape;1597;p20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98" name="Google Shape;1598;p2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99" name="Google Shape;1599;p2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600" name="Google Shape;1600;p206"/>
          <p:cNvGrpSpPr/>
          <p:nvPr/>
        </p:nvGrpSpPr>
        <p:grpSpPr>
          <a:xfrm>
            <a:off x="7191542" y="1"/>
            <a:ext cx="5000459" cy="1425992"/>
            <a:chOff x="7191542" y="1"/>
            <a:chExt cx="5000459" cy="1425992"/>
          </a:xfrm>
        </p:grpSpPr>
        <p:pic>
          <p:nvPicPr>
            <p:cNvPr id="1601" name="Google Shape;1601;p2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02" name="Google Shape;1602;p206"/>
            <p:cNvGrpSpPr/>
            <p:nvPr/>
          </p:nvGrpSpPr>
          <p:grpSpPr>
            <a:xfrm>
              <a:off x="7191542" y="1"/>
              <a:ext cx="5000459" cy="1425992"/>
              <a:chOff x="7186272" y="0"/>
              <a:chExt cx="5005729" cy="1427495"/>
            </a:xfrm>
          </p:grpSpPr>
          <p:sp>
            <p:nvSpPr>
              <p:cNvPr id="1603" name="Google Shape;1603;p2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04" name="Google Shape;1604;p2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605" name="Google Shape;1605;p20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36.xml><?xml version="1.0" encoding="utf-8"?>
<p:sldLayout xmlns:a="http://schemas.openxmlformats.org/drawingml/2006/main" xmlns:r="http://schemas.openxmlformats.org/officeDocument/2006/relationships" xmlns:p="http://schemas.openxmlformats.org/presentationml/2006/main" matchingName="Quotation">
  <p:cSld name="Quotation 23">
    <p:spTree>
      <p:nvGrpSpPr>
        <p:cNvPr id="1" name="Shape 1606"/>
        <p:cNvGrpSpPr/>
        <p:nvPr/>
      </p:nvGrpSpPr>
      <p:grpSpPr>
        <a:xfrm>
          <a:off x="0" y="0"/>
          <a:ext cx="0" cy="0"/>
          <a:chOff x="0" y="0"/>
          <a:chExt cx="0" cy="0"/>
        </a:xfrm>
      </p:grpSpPr>
      <p:sp>
        <p:nvSpPr>
          <p:cNvPr id="1607" name="Google Shape;1607;p20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08" name="Google Shape;1608;p20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09" name="Google Shape;1609;p20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10" name="Google Shape;1610;p2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11" name="Google Shape;1611;p2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12" name="Google Shape;1612;p2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613" name="Google Shape;1613;p207"/>
          <p:cNvGrpSpPr/>
          <p:nvPr/>
        </p:nvGrpSpPr>
        <p:grpSpPr>
          <a:xfrm>
            <a:off x="7191542" y="1"/>
            <a:ext cx="5000459" cy="1425992"/>
            <a:chOff x="7191542" y="1"/>
            <a:chExt cx="5000459" cy="1425992"/>
          </a:xfrm>
        </p:grpSpPr>
        <p:pic>
          <p:nvPicPr>
            <p:cNvPr id="1614" name="Google Shape;1614;p20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15" name="Google Shape;1615;p207"/>
            <p:cNvGrpSpPr/>
            <p:nvPr/>
          </p:nvGrpSpPr>
          <p:grpSpPr>
            <a:xfrm>
              <a:off x="7191542" y="1"/>
              <a:ext cx="5000459" cy="1425992"/>
              <a:chOff x="7186272" y="0"/>
              <a:chExt cx="5005729" cy="1427495"/>
            </a:xfrm>
          </p:grpSpPr>
          <p:sp>
            <p:nvSpPr>
              <p:cNvPr id="1616" name="Google Shape;1616;p2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17" name="Google Shape;1617;p2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618" name="Google Shape;1618;p20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37.xml><?xml version="1.0" encoding="utf-8"?>
<p:sldLayout xmlns:a="http://schemas.openxmlformats.org/drawingml/2006/main" xmlns:r="http://schemas.openxmlformats.org/officeDocument/2006/relationships" xmlns:p="http://schemas.openxmlformats.org/presentationml/2006/main" matchingName="Title and Content">
  <p:cSld name="Title and Content 16">
    <p:spTree>
      <p:nvGrpSpPr>
        <p:cNvPr id="1" name="Shape 1619"/>
        <p:cNvGrpSpPr/>
        <p:nvPr/>
      </p:nvGrpSpPr>
      <p:grpSpPr>
        <a:xfrm>
          <a:off x="0" y="0"/>
          <a:ext cx="0" cy="0"/>
          <a:chOff x="0" y="0"/>
          <a:chExt cx="0" cy="0"/>
        </a:xfrm>
      </p:grpSpPr>
      <p:grpSp>
        <p:nvGrpSpPr>
          <p:cNvPr id="1620" name="Google Shape;1620;p208"/>
          <p:cNvGrpSpPr/>
          <p:nvPr/>
        </p:nvGrpSpPr>
        <p:grpSpPr>
          <a:xfrm>
            <a:off x="7191542" y="1"/>
            <a:ext cx="5000459" cy="1425992"/>
            <a:chOff x="7191542" y="1"/>
            <a:chExt cx="5000459" cy="1425992"/>
          </a:xfrm>
        </p:grpSpPr>
        <p:pic>
          <p:nvPicPr>
            <p:cNvPr id="1621" name="Google Shape;1621;p20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22" name="Google Shape;1622;p208"/>
            <p:cNvGrpSpPr/>
            <p:nvPr/>
          </p:nvGrpSpPr>
          <p:grpSpPr>
            <a:xfrm>
              <a:off x="7191542" y="1"/>
              <a:ext cx="5000459" cy="1425992"/>
              <a:chOff x="7186272" y="0"/>
              <a:chExt cx="5005729" cy="1427495"/>
            </a:xfrm>
          </p:grpSpPr>
          <p:sp>
            <p:nvSpPr>
              <p:cNvPr id="1623" name="Google Shape;1623;p2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24" name="Google Shape;1624;p2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625" name="Google Shape;1625;p20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26" name="Google Shape;1626;p20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7" name="Google Shape;1627;p2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28" name="Google Shape;1628;p2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29" name="Google Shape;1629;p2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38.xml><?xml version="1.0" encoding="utf-8"?>
<p:sldLayout xmlns:a="http://schemas.openxmlformats.org/drawingml/2006/main" xmlns:r="http://schemas.openxmlformats.org/officeDocument/2006/relationships" xmlns:p="http://schemas.openxmlformats.org/presentationml/2006/main" matchingName="Two Content">
  <p:cSld name="Two Content 12">
    <p:spTree>
      <p:nvGrpSpPr>
        <p:cNvPr id="1" name="Shape 1630"/>
        <p:cNvGrpSpPr/>
        <p:nvPr/>
      </p:nvGrpSpPr>
      <p:grpSpPr>
        <a:xfrm>
          <a:off x="0" y="0"/>
          <a:ext cx="0" cy="0"/>
          <a:chOff x="0" y="0"/>
          <a:chExt cx="0" cy="0"/>
        </a:xfrm>
      </p:grpSpPr>
      <p:sp>
        <p:nvSpPr>
          <p:cNvPr id="1631" name="Google Shape;1631;p20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2" name="Google Shape;1632;p20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633" name="Google Shape;1633;p209"/>
          <p:cNvGrpSpPr/>
          <p:nvPr/>
        </p:nvGrpSpPr>
        <p:grpSpPr>
          <a:xfrm>
            <a:off x="7191542" y="1"/>
            <a:ext cx="5000459" cy="1425992"/>
            <a:chOff x="7191542" y="1"/>
            <a:chExt cx="5000459" cy="1425992"/>
          </a:xfrm>
        </p:grpSpPr>
        <p:pic>
          <p:nvPicPr>
            <p:cNvPr id="1634" name="Google Shape;1634;p20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35" name="Google Shape;1635;p209"/>
            <p:cNvGrpSpPr/>
            <p:nvPr/>
          </p:nvGrpSpPr>
          <p:grpSpPr>
            <a:xfrm>
              <a:off x="7191542" y="1"/>
              <a:ext cx="5000459" cy="1425992"/>
              <a:chOff x="7186272" y="0"/>
              <a:chExt cx="5005729" cy="1427495"/>
            </a:xfrm>
          </p:grpSpPr>
          <p:sp>
            <p:nvSpPr>
              <p:cNvPr id="1636" name="Google Shape;1636;p20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37" name="Google Shape;1637;p20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638" name="Google Shape;1638;p20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39" name="Google Shape;1639;p20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640" name="Google Shape;1640;p20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41" name="Google Shape;1641;p20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39.xml><?xml version="1.0" encoding="utf-8"?>
<p:sldLayout xmlns:a="http://schemas.openxmlformats.org/drawingml/2006/main" xmlns:r="http://schemas.openxmlformats.org/officeDocument/2006/relationships" xmlns:p="http://schemas.openxmlformats.org/presentationml/2006/main" matchingName="Comparison">
  <p:cSld name="Comparison 12">
    <p:spTree>
      <p:nvGrpSpPr>
        <p:cNvPr id="1" name="Shape 1642"/>
        <p:cNvGrpSpPr/>
        <p:nvPr/>
      </p:nvGrpSpPr>
      <p:grpSpPr>
        <a:xfrm>
          <a:off x="0" y="0"/>
          <a:ext cx="0" cy="0"/>
          <a:chOff x="0" y="0"/>
          <a:chExt cx="0" cy="0"/>
        </a:xfrm>
      </p:grpSpPr>
      <p:grpSp>
        <p:nvGrpSpPr>
          <p:cNvPr id="1643" name="Google Shape;1643;p210"/>
          <p:cNvGrpSpPr/>
          <p:nvPr/>
        </p:nvGrpSpPr>
        <p:grpSpPr>
          <a:xfrm>
            <a:off x="7191542" y="1"/>
            <a:ext cx="5000459" cy="1425992"/>
            <a:chOff x="7191542" y="1"/>
            <a:chExt cx="5000459" cy="1425992"/>
          </a:xfrm>
        </p:grpSpPr>
        <p:pic>
          <p:nvPicPr>
            <p:cNvPr id="1644" name="Google Shape;1644;p21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45" name="Google Shape;1645;p210"/>
            <p:cNvGrpSpPr/>
            <p:nvPr/>
          </p:nvGrpSpPr>
          <p:grpSpPr>
            <a:xfrm>
              <a:off x="7191542" y="1"/>
              <a:ext cx="5000459" cy="1425992"/>
              <a:chOff x="7186272" y="0"/>
              <a:chExt cx="5005729" cy="1427495"/>
            </a:xfrm>
          </p:grpSpPr>
          <p:sp>
            <p:nvSpPr>
              <p:cNvPr id="1646" name="Google Shape;1646;p2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47" name="Google Shape;1647;p2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648" name="Google Shape;1648;p21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49" name="Google Shape;1649;p21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650" name="Google Shape;1650;p21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51" name="Google Shape;1651;p21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652" name="Google Shape;1652;p21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53" name="Google Shape;1653;p2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654" name="Google Shape;1654;p2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55" name="Google Shape;1655;p2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reserve="1">
  <p:cSld name="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1954738"/>
      </p:ext>
    </p:extLst>
  </p:cSld>
  <p:clrMapOvr>
    <a:masterClrMapping/>
  </p:clrMapOvr>
</p:sldLayout>
</file>

<file path=ppt/slideLayouts/slideLayout840.xml><?xml version="1.0" encoding="utf-8"?>
<p:sldLayout xmlns:a="http://schemas.openxmlformats.org/drawingml/2006/main" xmlns:r="http://schemas.openxmlformats.org/officeDocument/2006/relationships" xmlns:p="http://schemas.openxmlformats.org/presentationml/2006/main" matchingName="Title Only">
  <p:cSld name="Title Only 12">
    <p:spTree>
      <p:nvGrpSpPr>
        <p:cNvPr id="1" name="Shape 1656"/>
        <p:cNvGrpSpPr/>
        <p:nvPr/>
      </p:nvGrpSpPr>
      <p:grpSpPr>
        <a:xfrm>
          <a:off x="0" y="0"/>
          <a:ext cx="0" cy="0"/>
          <a:chOff x="0" y="0"/>
          <a:chExt cx="0" cy="0"/>
        </a:xfrm>
      </p:grpSpPr>
      <p:grpSp>
        <p:nvGrpSpPr>
          <p:cNvPr id="1657" name="Google Shape;1657;p211"/>
          <p:cNvGrpSpPr/>
          <p:nvPr/>
        </p:nvGrpSpPr>
        <p:grpSpPr>
          <a:xfrm>
            <a:off x="7191542" y="1"/>
            <a:ext cx="5000459" cy="1425992"/>
            <a:chOff x="7191542" y="1"/>
            <a:chExt cx="5000459" cy="1425992"/>
          </a:xfrm>
        </p:grpSpPr>
        <p:pic>
          <p:nvPicPr>
            <p:cNvPr id="1658" name="Google Shape;1658;p21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59" name="Google Shape;1659;p211"/>
            <p:cNvGrpSpPr/>
            <p:nvPr/>
          </p:nvGrpSpPr>
          <p:grpSpPr>
            <a:xfrm>
              <a:off x="7191542" y="1"/>
              <a:ext cx="5000459" cy="1425992"/>
              <a:chOff x="7186272" y="0"/>
              <a:chExt cx="5005729" cy="1427495"/>
            </a:xfrm>
          </p:grpSpPr>
          <p:sp>
            <p:nvSpPr>
              <p:cNvPr id="1660" name="Google Shape;1660;p2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61" name="Google Shape;1661;p2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662" name="Google Shape;1662;p21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63" name="Google Shape;1663;p2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664" name="Google Shape;1664;p2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65" name="Google Shape;1665;p2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41.xml><?xml version="1.0" encoding="utf-8"?>
<p:sldLayout xmlns:a="http://schemas.openxmlformats.org/drawingml/2006/main" xmlns:r="http://schemas.openxmlformats.org/officeDocument/2006/relationships" xmlns:p="http://schemas.openxmlformats.org/presentationml/2006/main" matchingName="End">
  <p:cSld name="End 13">
    <p:spTree>
      <p:nvGrpSpPr>
        <p:cNvPr id="1" name="Shape 1666"/>
        <p:cNvGrpSpPr/>
        <p:nvPr/>
      </p:nvGrpSpPr>
      <p:grpSpPr>
        <a:xfrm>
          <a:off x="0" y="0"/>
          <a:ext cx="0" cy="0"/>
          <a:chOff x="0" y="0"/>
          <a:chExt cx="0" cy="0"/>
        </a:xfrm>
      </p:grpSpPr>
      <p:grpSp>
        <p:nvGrpSpPr>
          <p:cNvPr id="1667" name="Google Shape;1667;p212"/>
          <p:cNvGrpSpPr/>
          <p:nvPr/>
        </p:nvGrpSpPr>
        <p:grpSpPr>
          <a:xfrm>
            <a:off x="0" y="0"/>
            <a:ext cx="12192000" cy="2148830"/>
            <a:chOff x="0" y="0"/>
            <a:chExt cx="12192000" cy="2148830"/>
          </a:xfrm>
        </p:grpSpPr>
        <p:sp>
          <p:nvSpPr>
            <p:cNvPr id="1668" name="Google Shape;1668;p21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69" name="Google Shape;1669;p21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670" name="Google Shape;1670;p21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71" name="Google Shape;1671;p21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2" name="Google Shape;1672;p21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73" name="Google Shape;1673;p21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674" name="Google Shape;1674;p21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42.xml><?xml version="1.0" encoding="utf-8"?>
<p:sldLayout xmlns:a="http://schemas.openxmlformats.org/drawingml/2006/main" xmlns:r="http://schemas.openxmlformats.org/officeDocument/2006/relationships" xmlns:p="http://schemas.openxmlformats.org/presentationml/2006/main" matchingName="Blank">
  <p:cSld name="Blank 13">
    <p:spTree>
      <p:nvGrpSpPr>
        <p:cNvPr id="1" name="Shape 1675"/>
        <p:cNvGrpSpPr/>
        <p:nvPr/>
      </p:nvGrpSpPr>
      <p:grpSpPr>
        <a:xfrm>
          <a:off x="0" y="0"/>
          <a:ext cx="0" cy="0"/>
          <a:chOff x="0" y="0"/>
          <a:chExt cx="0" cy="0"/>
        </a:xfrm>
      </p:grpSpPr>
      <p:sp>
        <p:nvSpPr>
          <p:cNvPr id="1676" name="Google Shape;1676;p2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677" name="Google Shape;1677;p2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78" name="Google Shape;1678;p2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679" name="Google Shape;1679;p213"/>
          <p:cNvGrpSpPr/>
          <p:nvPr/>
        </p:nvGrpSpPr>
        <p:grpSpPr>
          <a:xfrm>
            <a:off x="7191542" y="1"/>
            <a:ext cx="5000459" cy="1425992"/>
            <a:chOff x="7191542" y="1"/>
            <a:chExt cx="5000459" cy="1425992"/>
          </a:xfrm>
        </p:grpSpPr>
        <p:pic>
          <p:nvPicPr>
            <p:cNvPr id="1680" name="Google Shape;1680;p2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81" name="Google Shape;1681;p213"/>
            <p:cNvGrpSpPr/>
            <p:nvPr/>
          </p:nvGrpSpPr>
          <p:grpSpPr>
            <a:xfrm>
              <a:off x="7191542" y="1"/>
              <a:ext cx="5000459" cy="1425992"/>
              <a:chOff x="7186272" y="0"/>
              <a:chExt cx="5005729" cy="1427495"/>
            </a:xfrm>
          </p:grpSpPr>
          <p:sp>
            <p:nvSpPr>
              <p:cNvPr id="1682" name="Google Shape;1682;p2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83" name="Google Shape;1683;p2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843.xml><?xml version="1.0" encoding="utf-8"?>
<p:sldLayout xmlns:a="http://schemas.openxmlformats.org/drawingml/2006/main" xmlns:r="http://schemas.openxmlformats.org/officeDocument/2006/relationships" xmlns:p="http://schemas.openxmlformats.org/presentationml/2006/main" matchingName="Cover">
  <p:cSld name="Cover 15">
    <p:spTree>
      <p:nvGrpSpPr>
        <p:cNvPr id="1" name="Shape 1684"/>
        <p:cNvGrpSpPr/>
        <p:nvPr/>
      </p:nvGrpSpPr>
      <p:grpSpPr>
        <a:xfrm>
          <a:off x="0" y="0"/>
          <a:ext cx="0" cy="0"/>
          <a:chOff x="0" y="0"/>
          <a:chExt cx="0" cy="0"/>
        </a:xfrm>
      </p:grpSpPr>
      <p:sp>
        <p:nvSpPr>
          <p:cNvPr id="1685" name="Google Shape;1685;p21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86" name="Google Shape;1686;p21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87" name="Google Shape;1687;p21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88" name="Google Shape;1688;p214"/>
          <p:cNvSpPr>
            <a:spLocks noGrp="1"/>
          </p:cNvSpPr>
          <p:nvPr>
            <p:ph type="pic" idx="2"/>
          </p:nvPr>
        </p:nvSpPr>
        <p:spPr>
          <a:xfrm>
            <a:off x="7118684" y="233915"/>
            <a:ext cx="5073316" cy="5943600"/>
          </a:xfrm>
          <a:prstGeom prst="rect">
            <a:avLst/>
          </a:prstGeom>
          <a:noFill/>
          <a:ln>
            <a:noFill/>
          </a:ln>
        </p:spPr>
      </p:sp>
      <p:grpSp>
        <p:nvGrpSpPr>
          <p:cNvPr id="1689" name="Google Shape;1689;p214"/>
          <p:cNvGrpSpPr/>
          <p:nvPr/>
        </p:nvGrpSpPr>
        <p:grpSpPr>
          <a:xfrm>
            <a:off x="0" y="5020348"/>
            <a:ext cx="12192000" cy="1837653"/>
            <a:chOff x="0" y="5020348"/>
            <a:chExt cx="12192000" cy="1837653"/>
          </a:xfrm>
        </p:grpSpPr>
        <p:sp>
          <p:nvSpPr>
            <p:cNvPr id="1690" name="Google Shape;1690;p21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91" name="Google Shape;1691;p21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692" name="Google Shape;1692;p21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44.xml><?xml version="1.0" encoding="utf-8"?>
<p:sldLayout xmlns:a="http://schemas.openxmlformats.org/drawingml/2006/main" xmlns:r="http://schemas.openxmlformats.org/officeDocument/2006/relationships" xmlns:p="http://schemas.openxmlformats.org/presentationml/2006/main" matchingName="Divider">
  <p:cSld name="Divider 16">
    <p:bg>
      <p:bgPr>
        <a:solidFill>
          <a:schemeClr val="lt2"/>
        </a:solidFill>
        <a:effectLst/>
      </p:bgPr>
    </p:bg>
    <p:spTree>
      <p:nvGrpSpPr>
        <p:cNvPr id="1" name="Shape 1693"/>
        <p:cNvGrpSpPr/>
        <p:nvPr/>
      </p:nvGrpSpPr>
      <p:grpSpPr>
        <a:xfrm>
          <a:off x="0" y="0"/>
          <a:ext cx="0" cy="0"/>
          <a:chOff x="0" y="0"/>
          <a:chExt cx="0" cy="0"/>
        </a:xfrm>
      </p:grpSpPr>
      <p:grpSp>
        <p:nvGrpSpPr>
          <p:cNvPr id="1694" name="Google Shape;1694;p215"/>
          <p:cNvGrpSpPr/>
          <p:nvPr/>
        </p:nvGrpSpPr>
        <p:grpSpPr>
          <a:xfrm>
            <a:off x="0" y="5020347"/>
            <a:ext cx="12192000" cy="1837653"/>
            <a:chOff x="0" y="5020347"/>
            <a:chExt cx="12192000" cy="1837653"/>
          </a:xfrm>
        </p:grpSpPr>
        <p:sp>
          <p:nvSpPr>
            <p:cNvPr id="1695" name="Google Shape;1695;p21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96" name="Google Shape;1696;p21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97" name="Google Shape;1697;p21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698" name="Google Shape;1698;p21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699" name="Google Shape;1699;p21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00" name="Google Shape;1700;p21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45.xml><?xml version="1.0" encoding="utf-8"?>
<p:sldLayout xmlns:a="http://schemas.openxmlformats.org/drawingml/2006/main" xmlns:r="http://schemas.openxmlformats.org/officeDocument/2006/relationships" xmlns:p="http://schemas.openxmlformats.org/presentationml/2006/main" matchingName="Photo Slide">
  <p:cSld name="Photo Slide 14">
    <p:spTree>
      <p:nvGrpSpPr>
        <p:cNvPr id="1" name="Shape 1701"/>
        <p:cNvGrpSpPr/>
        <p:nvPr/>
      </p:nvGrpSpPr>
      <p:grpSpPr>
        <a:xfrm>
          <a:off x="0" y="0"/>
          <a:ext cx="0" cy="0"/>
          <a:chOff x="0" y="0"/>
          <a:chExt cx="0" cy="0"/>
        </a:xfrm>
      </p:grpSpPr>
      <p:sp>
        <p:nvSpPr>
          <p:cNvPr id="1702" name="Google Shape;1702;p21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703" name="Google Shape;1703;p21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704" name="Google Shape;1704;p216"/>
          <p:cNvGrpSpPr/>
          <p:nvPr/>
        </p:nvGrpSpPr>
        <p:grpSpPr>
          <a:xfrm>
            <a:off x="0" y="5379426"/>
            <a:ext cx="2807368" cy="753891"/>
            <a:chOff x="0" y="5379426"/>
            <a:chExt cx="2807368" cy="753891"/>
          </a:xfrm>
        </p:grpSpPr>
        <p:sp>
          <p:nvSpPr>
            <p:cNvPr id="1705" name="Google Shape;1705;p21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06" name="Google Shape;1706;p21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707" name="Google Shape;1707;p216"/>
          <p:cNvSpPr>
            <a:spLocks noGrp="1"/>
          </p:cNvSpPr>
          <p:nvPr>
            <p:ph type="pic" idx="2"/>
          </p:nvPr>
        </p:nvSpPr>
        <p:spPr>
          <a:xfrm>
            <a:off x="2807368" y="457202"/>
            <a:ext cx="8915400" cy="5943598"/>
          </a:xfrm>
          <a:prstGeom prst="rect">
            <a:avLst/>
          </a:prstGeom>
          <a:noFill/>
          <a:ln>
            <a:noFill/>
          </a:ln>
        </p:spPr>
      </p:sp>
      <p:pic>
        <p:nvPicPr>
          <p:cNvPr id="1708" name="Google Shape;1708;p216"/>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46.xml><?xml version="1.0" encoding="utf-8"?>
<p:sldLayout xmlns:a="http://schemas.openxmlformats.org/drawingml/2006/main" xmlns:r="http://schemas.openxmlformats.org/officeDocument/2006/relationships" xmlns:p="http://schemas.openxmlformats.org/presentationml/2006/main" matchingName="Quotation">
  <p:cSld name="Quotation 24">
    <p:spTree>
      <p:nvGrpSpPr>
        <p:cNvPr id="1" name="Shape 1709"/>
        <p:cNvGrpSpPr/>
        <p:nvPr/>
      </p:nvGrpSpPr>
      <p:grpSpPr>
        <a:xfrm>
          <a:off x="0" y="0"/>
          <a:ext cx="0" cy="0"/>
          <a:chOff x="0" y="0"/>
          <a:chExt cx="0" cy="0"/>
        </a:xfrm>
      </p:grpSpPr>
      <p:sp>
        <p:nvSpPr>
          <p:cNvPr id="1710" name="Google Shape;1710;p21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11" name="Google Shape;1711;p21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12" name="Google Shape;1712;p21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3" name="Google Shape;1713;p21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14" name="Google Shape;1714;p21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15" name="Google Shape;1715;p2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716" name="Google Shape;1716;p217"/>
          <p:cNvGrpSpPr/>
          <p:nvPr/>
        </p:nvGrpSpPr>
        <p:grpSpPr>
          <a:xfrm>
            <a:off x="7191542" y="1"/>
            <a:ext cx="5000459" cy="1425992"/>
            <a:chOff x="7191542" y="1"/>
            <a:chExt cx="5000459" cy="1425992"/>
          </a:xfrm>
        </p:grpSpPr>
        <p:pic>
          <p:nvPicPr>
            <p:cNvPr id="1717" name="Google Shape;1717;p21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18" name="Google Shape;1718;p217"/>
            <p:cNvGrpSpPr/>
            <p:nvPr/>
          </p:nvGrpSpPr>
          <p:grpSpPr>
            <a:xfrm>
              <a:off x="7191542" y="1"/>
              <a:ext cx="5000459" cy="1425992"/>
              <a:chOff x="7186272" y="0"/>
              <a:chExt cx="5005729" cy="1427495"/>
            </a:xfrm>
          </p:grpSpPr>
          <p:sp>
            <p:nvSpPr>
              <p:cNvPr id="1719" name="Google Shape;1719;p21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20" name="Google Shape;1720;p21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721" name="Google Shape;1721;p21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47.xml><?xml version="1.0" encoding="utf-8"?>
<p:sldLayout xmlns:a="http://schemas.openxmlformats.org/drawingml/2006/main" xmlns:r="http://schemas.openxmlformats.org/officeDocument/2006/relationships" xmlns:p="http://schemas.openxmlformats.org/presentationml/2006/main" matchingName="Title and Content">
  <p:cSld name="Title and Content 17">
    <p:spTree>
      <p:nvGrpSpPr>
        <p:cNvPr id="1" name="Shape 1722"/>
        <p:cNvGrpSpPr/>
        <p:nvPr/>
      </p:nvGrpSpPr>
      <p:grpSpPr>
        <a:xfrm>
          <a:off x="0" y="0"/>
          <a:ext cx="0" cy="0"/>
          <a:chOff x="0" y="0"/>
          <a:chExt cx="0" cy="0"/>
        </a:xfrm>
      </p:grpSpPr>
      <p:grpSp>
        <p:nvGrpSpPr>
          <p:cNvPr id="1723" name="Google Shape;1723;p218"/>
          <p:cNvGrpSpPr/>
          <p:nvPr/>
        </p:nvGrpSpPr>
        <p:grpSpPr>
          <a:xfrm>
            <a:off x="7191542" y="1"/>
            <a:ext cx="5000459" cy="1425992"/>
            <a:chOff x="7191542" y="1"/>
            <a:chExt cx="5000459" cy="1425992"/>
          </a:xfrm>
        </p:grpSpPr>
        <p:pic>
          <p:nvPicPr>
            <p:cNvPr id="1724" name="Google Shape;1724;p2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25" name="Google Shape;1725;p218"/>
            <p:cNvGrpSpPr/>
            <p:nvPr/>
          </p:nvGrpSpPr>
          <p:grpSpPr>
            <a:xfrm>
              <a:off x="7191542" y="1"/>
              <a:ext cx="5000459" cy="1425992"/>
              <a:chOff x="7186272" y="0"/>
              <a:chExt cx="5005729" cy="1427495"/>
            </a:xfrm>
          </p:grpSpPr>
          <p:sp>
            <p:nvSpPr>
              <p:cNvPr id="1726" name="Google Shape;1726;p2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27" name="Google Shape;1727;p2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28" name="Google Shape;1728;p21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29" name="Google Shape;1729;p21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30" name="Google Shape;1730;p21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31" name="Google Shape;1731;p2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32" name="Google Shape;1732;p2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48.xml><?xml version="1.0" encoding="utf-8"?>
<p:sldLayout xmlns:a="http://schemas.openxmlformats.org/drawingml/2006/main" xmlns:r="http://schemas.openxmlformats.org/officeDocument/2006/relationships" xmlns:p="http://schemas.openxmlformats.org/presentationml/2006/main" matchingName="Two Content">
  <p:cSld name="Two Content 13">
    <p:spTree>
      <p:nvGrpSpPr>
        <p:cNvPr id="1" name="Shape 1733"/>
        <p:cNvGrpSpPr/>
        <p:nvPr/>
      </p:nvGrpSpPr>
      <p:grpSpPr>
        <a:xfrm>
          <a:off x="0" y="0"/>
          <a:ext cx="0" cy="0"/>
          <a:chOff x="0" y="0"/>
          <a:chExt cx="0" cy="0"/>
        </a:xfrm>
      </p:grpSpPr>
      <p:sp>
        <p:nvSpPr>
          <p:cNvPr id="1734" name="Google Shape;1734;p21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35" name="Google Shape;1735;p21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736" name="Google Shape;1736;p219"/>
          <p:cNvGrpSpPr/>
          <p:nvPr/>
        </p:nvGrpSpPr>
        <p:grpSpPr>
          <a:xfrm>
            <a:off x="7191542" y="1"/>
            <a:ext cx="5000459" cy="1425992"/>
            <a:chOff x="7191542" y="1"/>
            <a:chExt cx="5000459" cy="1425992"/>
          </a:xfrm>
        </p:grpSpPr>
        <p:pic>
          <p:nvPicPr>
            <p:cNvPr id="1737" name="Google Shape;1737;p21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38" name="Google Shape;1738;p219"/>
            <p:cNvGrpSpPr/>
            <p:nvPr/>
          </p:nvGrpSpPr>
          <p:grpSpPr>
            <a:xfrm>
              <a:off x="7191542" y="1"/>
              <a:ext cx="5000459" cy="1425992"/>
              <a:chOff x="7186272" y="0"/>
              <a:chExt cx="5005729" cy="1427495"/>
            </a:xfrm>
          </p:grpSpPr>
          <p:sp>
            <p:nvSpPr>
              <p:cNvPr id="1739" name="Google Shape;1739;p2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40" name="Google Shape;1740;p2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41" name="Google Shape;1741;p21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42" name="Google Shape;1742;p21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43" name="Google Shape;1743;p2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44" name="Google Shape;1744;p2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49.xml><?xml version="1.0" encoding="utf-8"?>
<p:sldLayout xmlns:a="http://schemas.openxmlformats.org/drawingml/2006/main" xmlns:r="http://schemas.openxmlformats.org/officeDocument/2006/relationships" xmlns:p="http://schemas.openxmlformats.org/presentationml/2006/main" matchingName="Comparison">
  <p:cSld name="Comparison 13">
    <p:spTree>
      <p:nvGrpSpPr>
        <p:cNvPr id="1" name="Shape 1745"/>
        <p:cNvGrpSpPr/>
        <p:nvPr/>
      </p:nvGrpSpPr>
      <p:grpSpPr>
        <a:xfrm>
          <a:off x="0" y="0"/>
          <a:ext cx="0" cy="0"/>
          <a:chOff x="0" y="0"/>
          <a:chExt cx="0" cy="0"/>
        </a:xfrm>
      </p:grpSpPr>
      <p:grpSp>
        <p:nvGrpSpPr>
          <p:cNvPr id="1746" name="Google Shape;1746;p220"/>
          <p:cNvGrpSpPr/>
          <p:nvPr/>
        </p:nvGrpSpPr>
        <p:grpSpPr>
          <a:xfrm>
            <a:off x="7191542" y="1"/>
            <a:ext cx="5000459" cy="1425992"/>
            <a:chOff x="7191542" y="1"/>
            <a:chExt cx="5000459" cy="1425992"/>
          </a:xfrm>
        </p:grpSpPr>
        <p:pic>
          <p:nvPicPr>
            <p:cNvPr id="1747" name="Google Shape;1747;p2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48" name="Google Shape;1748;p220"/>
            <p:cNvGrpSpPr/>
            <p:nvPr/>
          </p:nvGrpSpPr>
          <p:grpSpPr>
            <a:xfrm>
              <a:off x="7191542" y="1"/>
              <a:ext cx="5000459" cy="1425992"/>
              <a:chOff x="7186272" y="0"/>
              <a:chExt cx="5005729" cy="1427495"/>
            </a:xfrm>
          </p:grpSpPr>
          <p:sp>
            <p:nvSpPr>
              <p:cNvPr id="1749" name="Google Shape;1749;p2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50" name="Google Shape;1750;p2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51" name="Google Shape;1751;p22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52" name="Google Shape;1752;p22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53" name="Google Shape;1753;p22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54" name="Google Shape;1754;p22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55" name="Google Shape;1755;p22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56" name="Google Shape;1756;p2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57" name="Google Shape;1757;p2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58" name="Google Shape;1758;p2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72710091"/>
      </p:ext>
    </p:extLst>
  </p:cSld>
  <p:clrMapOvr>
    <a:masterClrMapping/>
  </p:clrMapOvr>
</p:sldLayout>
</file>

<file path=ppt/slideLayouts/slideLayout850.xml><?xml version="1.0" encoding="utf-8"?>
<p:sldLayout xmlns:a="http://schemas.openxmlformats.org/drawingml/2006/main" xmlns:r="http://schemas.openxmlformats.org/officeDocument/2006/relationships" xmlns:p="http://schemas.openxmlformats.org/presentationml/2006/main" matchingName="Title Only">
  <p:cSld name="Title Only 13">
    <p:spTree>
      <p:nvGrpSpPr>
        <p:cNvPr id="1" name="Shape 1759"/>
        <p:cNvGrpSpPr/>
        <p:nvPr/>
      </p:nvGrpSpPr>
      <p:grpSpPr>
        <a:xfrm>
          <a:off x="0" y="0"/>
          <a:ext cx="0" cy="0"/>
          <a:chOff x="0" y="0"/>
          <a:chExt cx="0" cy="0"/>
        </a:xfrm>
      </p:grpSpPr>
      <p:grpSp>
        <p:nvGrpSpPr>
          <p:cNvPr id="1760" name="Google Shape;1760;p221"/>
          <p:cNvGrpSpPr/>
          <p:nvPr/>
        </p:nvGrpSpPr>
        <p:grpSpPr>
          <a:xfrm>
            <a:off x="7191542" y="1"/>
            <a:ext cx="5000459" cy="1425992"/>
            <a:chOff x="7191542" y="1"/>
            <a:chExt cx="5000459" cy="1425992"/>
          </a:xfrm>
        </p:grpSpPr>
        <p:pic>
          <p:nvPicPr>
            <p:cNvPr id="1761" name="Google Shape;1761;p2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62" name="Google Shape;1762;p221"/>
            <p:cNvGrpSpPr/>
            <p:nvPr/>
          </p:nvGrpSpPr>
          <p:grpSpPr>
            <a:xfrm>
              <a:off x="7191542" y="1"/>
              <a:ext cx="5000459" cy="1425992"/>
              <a:chOff x="7186272" y="0"/>
              <a:chExt cx="5005729" cy="1427495"/>
            </a:xfrm>
          </p:grpSpPr>
          <p:sp>
            <p:nvSpPr>
              <p:cNvPr id="1763" name="Google Shape;1763;p2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64" name="Google Shape;1764;p2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65" name="Google Shape;1765;p22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66" name="Google Shape;1766;p2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67" name="Google Shape;1767;p2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68" name="Google Shape;1768;p2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51.xml><?xml version="1.0" encoding="utf-8"?>
<p:sldLayout xmlns:a="http://schemas.openxmlformats.org/drawingml/2006/main" xmlns:r="http://schemas.openxmlformats.org/officeDocument/2006/relationships" xmlns:p="http://schemas.openxmlformats.org/presentationml/2006/main" matchingName="End">
  <p:cSld name="End 14">
    <p:spTree>
      <p:nvGrpSpPr>
        <p:cNvPr id="1" name="Shape 1769"/>
        <p:cNvGrpSpPr/>
        <p:nvPr/>
      </p:nvGrpSpPr>
      <p:grpSpPr>
        <a:xfrm>
          <a:off x="0" y="0"/>
          <a:ext cx="0" cy="0"/>
          <a:chOff x="0" y="0"/>
          <a:chExt cx="0" cy="0"/>
        </a:xfrm>
      </p:grpSpPr>
      <p:grpSp>
        <p:nvGrpSpPr>
          <p:cNvPr id="1770" name="Google Shape;1770;p222"/>
          <p:cNvGrpSpPr/>
          <p:nvPr/>
        </p:nvGrpSpPr>
        <p:grpSpPr>
          <a:xfrm>
            <a:off x="0" y="0"/>
            <a:ext cx="12192000" cy="2148830"/>
            <a:chOff x="0" y="0"/>
            <a:chExt cx="12192000" cy="2148830"/>
          </a:xfrm>
        </p:grpSpPr>
        <p:sp>
          <p:nvSpPr>
            <p:cNvPr id="1771" name="Google Shape;1771;p22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72" name="Google Shape;1772;p22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773" name="Google Shape;1773;p22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74" name="Google Shape;1774;p22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75" name="Google Shape;1775;p22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76" name="Google Shape;1776;p22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777" name="Google Shape;1777;p22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52.xml><?xml version="1.0" encoding="utf-8"?>
<p:sldLayout xmlns:a="http://schemas.openxmlformats.org/drawingml/2006/main" xmlns:r="http://schemas.openxmlformats.org/officeDocument/2006/relationships" xmlns:p="http://schemas.openxmlformats.org/presentationml/2006/main" matchingName="Blank">
  <p:cSld name="Blank 14">
    <p:spTree>
      <p:nvGrpSpPr>
        <p:cNvPr id="1" name="Shape 1778"/>
        <p:cNvGrpSpPr/>
        <p:nvPr/>
      </p:nvGrpSpPr>
      <p:grpSpPr>
        <a:xfrm>
          <a:off x="0" y="0"/>
          <a:ext cx="0" cy="0"/>
          <a:chOff x="0" y="0"/>
          <a:chExt cx="0" cy="0"/>
        </a:xfrm>
      </p:grpSpPr>
      <p:sp>
        <p:nvSpPr>
          <p:cNvPr id="1779" name="Google Shape;1779;p2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80" name="Google Shape;1780;p2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81" name="Google Shape;1781;p2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782" name="Google Shape;1782;p223"/>
          <p:cNvGrpSpPr/>
          <p:nvPr/>
        </p:nvGrpSpPr>
        <p:grpSpPr>
          <a:xfrm>
            <a:off x="7191542" y="1"/>
            <a:ext cx="5000459" cy="1425992"/>
            <a:chOff x="7191542" y="1"/>
            <a:chExt cx="5000459" cy="1425992"/>
          </a:xfrm>
        </p:grpSpPr>
        <p:pic>
          <p:nvPicPr>
            <p:cNvPr id="1783" name="Google Shape;1783;p22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84" name="Google Shape;1784;p223"/>
            <p:cNvGrpSpPr/>
            <p:nvPr/>
          </p:nvGrpSpPr>
          <p:grpSpPr>
            <a:xfrm>
              <a:off x="7191542" y="1"/>
              <a:ext cx="5000459" cy="1425992"/>
              <a:chOff x="7186272" y="0"/>
              <a:chExt cx="5005729" cy="1427495"/>
            </a:xfrm>
          </p:grpSpPr>
          <p:sp>
            <p:nvSpPr>
              <p:cNvPr id="1785" name="Google Shape;1785;p2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86" name="Google Shape;1786;p2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853.xml><?xml version="1.0" encoding="utf-8"?>
<p:sldLayout xmlns:a="http://schemas.openxmlformats.org/drawingml/2006/main" xmlns:r="http://schemas.openxmlformats.org/officeDocument/2006/relationships" xmlns:p="http://schemas.openxmlformats.org/presentationml/2006/main" matchingName="3_Quotation">
  <p:cSld name="3_Quotation 5">
    <p:spTree>
      <p:nvGrpSpPr>
        <p:cNvPr id="1" name="Shape 1787"/>
        <p:cNvGrpSpPr/>
        <p:nvPr/>
      </p:nvGrpSpPr>
      <p:grpSpPr>
        <a:xfrm>
          <a:off x="0" y="0"/>
          <a:ext cx="0" cy="0"/>
          <a:chOff x="0" y="0"/>
          <a:chExt cx="0" cy="0"/>
        </a:xfrm>
      </p:grpSpPr>
      <p:sp>
        <p:nvSpPr>
          <p:cNvPr id="1788" name="Google Shape;1788;p22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89" name="Google Shape;1789;p22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90" name="Google Shape;1790;p22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91" name="Google Shape;1791;p2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92" name="Google Shape;1792;p2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93" name="Google Shape;1793;p2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794" name="Google Shape;1794;p224"/>
          <p:cNvGrpSpPr/>
          <p:nvPr/>
        </p:nvGrpSpPr>
        <p:grpSpPr>
          <a:xfrm>
            <a:off x="7191542" y="1"/>
            <a:ext cx="5000459" cy="1425992"/>
            <a:chOff x="7191542" y="1"/>
            <a:chExt cx="5000459" cy="1425992"/>
          </a:xfrm>
        </p:grpSpPr>
        <p:pic>
          <p:nvPicPr>
            <p:cNvPr id="1795" name="Google Shape;1795;p2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96" name="Google Shape;1796;p224"/>
            <p:cNvGrpSpPr/>
            <p:nvPr/>
          </p:nvGrpSpPr>
          <p:grpSpPr>
            <a:xfrm>
              <a:off x="7191542" y="1"/>
              <a:ext cx="5000459" cy="1425992"/>
              <a:chOff x="7186272" y="0"/>
              <a:chExt cx="5005729" cy="1427495"/>
            </a:xfrm>
          </p:grpSpPr>
          <p:sp>
            <p:nvSpPr>
              <p:cNvPr id="1797" name="Google Shape;1797;p2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98" name="Google Shape;1798;p2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799" name="Google Shape;1799;p22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54.xml><?xml version="1.0" encoding="utf-8"?>
<p:sldLayout xmlns:a="http://schemas.openxmlformats.org/drawingml/2006/main" xmlns:r="http://schemas.openxmlformats.org/officeDocument/2006/relationships" xmlns:p="http://schemas.openxmlformats.org/presentationml/2006/main" showMasterSp="0" matchingName="Title Slide">
  <p:cSld name="Title Slide 2">
    <p:bg>
      <p:bgPr>
        <a:solidFill>
          <a:schemeClr val="lt1"/>
        </a:solidFill>
        <a:effectLst/>
      </p:bgPr>
    </p:bg>
    <p:spTree>
      <p:nvGrpSpPr>
        <p:cNvPr id="1" name="Shape 1800"/>
        <p:cNvGrpSpPr/>
        <p:nvPr/>
      </p:nvGrpSpPr>
      <p:grpSpPr>
        <a:xfrm>
          <a:off x="0" y="0"/>
          <a:ext cx="0" cy="0"/>
          <a:chOff x="0" y="0"/>
          <a:chExt cx="0" cy="0"/>
        </a:xfrm>
      </p:grpSpPr>
      <p:sp>
        <p:nvSpPr>
          <p:cNvPr id="1801" name="Google Shape;1801;p225"/>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02" name="Google Shape;1802;p225"/>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1803" name="Google Shape;1803;p225"/>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1804" name="Google Shape;1804;p225"/>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1805" name="Google Shape;1805;p225"/>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1806" name="Google Shape;1806;p225"/>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07" name="Google Shape;1807;p225"/>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08" name="Google Shape;1808;p225"/>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809" name="Google Shape;1809;p225"/>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810" name="Google Shape;1810;p225"/>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811" name="Google Shape;1811;p225"/>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buNone/>
              <a:defRPr sz="1200" b="0" i="0">
                <a:solidFill>
                  <a:srgbClr val="929599"/>
                </a:solidFill>
                <a:latin typeface="Arial"/>
                <a:ea typeface="Arial"/>
                <a:cs typeface="Arial"/>
                <a:sym typeface="Arial"/>
              </a:defRPr>
            </a:lvl1pPr>
            <a:lvl2pPr marL="38100" marR="0" lvl="1" indent="0" algn="r">
              <a:lnSpc>
                <a:spcPct val="118750"/>
              </a:lnSpc>
              <a:spcBef>
                <a:spcPts val="0"/>
              </a:spcBef>
              <a:buNone/>
              <a:defRPr sz="1200" b="0" i="0">
                <a:solidFill>
                  <a:srgbClr val="929599"/>
                </a:solidFill>
                <a:latin typeface="Arial"/>
                <a:ea typeface="Arial"/>
                <a:cs typeface="Arial"/>
                <a:sym typeface="Arial"/>
              </a:defRPr>
            </a:lvl2pPr>
            <a:lvl3pPr marL="38100" marR="0" lvl="2" indent="0" algn="r">
              <a:lnSpc>
                <a:spcPct val="118750"/>
              </a:lnSpc>
              <a:spcBef>
                <a:spcPts val="0"/>
              </a:spcBef>
              <a:buNone/>
              <a:defRPr sz="1200" b="0" i="0">
                <a:solidFill>
                  <a:srgbClr val="929599"/>
                </a:solidFill>
                <a:latin typeface="Arial"/>
                <a:ea typeface="Arial"/>
                <a:cs typeface="Arial"/>
                <a:sym typeface="Arial"/>
              </a:defRPr>
            </a:lvl3pPr>
            <a:lvl4pPr marL="38100" marR="0" lvl="3" indent="0" algn="r">
              <a:lnSpc>
                <a:spcPct val="118750"/>
              </a:lnSpc>
              <a:spcBef>
                <a:spcPts val="0"/>
              </a:spcBef>
              <a:buNone/>
              <a:defRPr sz="1200" b="0" i="0">
                <a:solidFill>
                  <a:srgbClr val="929599"/>
                </a:solidFill>
                <a:latin typeface="Arial"/>
                <a:ea typeface="Arial"/>
                <a:cs typeface="Arial"/>
                <a:sym typeface="Arial"/>
              </a:defRPr>
            </a:lvl4pPr>
            <a:lvl5pPr marL="38100" marR="0" lvl="4" indent="0" algn="r">
              <a:lnSpc>
                <a:spcPct val="118750"/>
              </a:lnSpc>
              <a:spcBef>
                <a:spcPts val="0"/>
              </a:spcBef>
              <a:buNone/>
              <a:defRPr sz="1200" b="0" i="0">
                <a:solidFill>
                  <a:srgbClr val="929599"/>
                </a:solidFill>
                <a:latin typeface="Arial"/>
                <a:ea typeface="Arial"/>
                <a:cs typeface="Arial"/>
                <a:sym typeface="Arial"/>
              </a:defRPr>
            </a:lvl5pPr>
            <a:lvl6pPr marL="38100" marR="0" lvl="5" indent="0" algn="r">
              <a:lnSpc>
                <a:spcPct val="118750"/>
              </a:lnSpc>
              <a:spcBef>
                <a:spcPts val="0"/>
              </a:spcBef>
              <a:buNone/>
              <a:defRPr sz="1200" b="0" i="0">
                <a:solidFill>
                  <a:srgbClr val="929599"/>
                </a:solidFill>
                <a:latin typeface="Arial"/>
                <a:ea typeface="Arial"/>
                <a:cs typeface="Arial"/>
                <a:sym typeface="Arial"/>
              </a:defRPr>
            </a:lvl6pPr>
            <a:lvl7pPr marL="38100" marR="0" lvl="6" indent="0" algn="r">
              <a:lnSpc>
                <a:spcPct val="118750"/>
              </a:lnSpc>
              <a:spcBef>
                <a:spcPts val="0"/>
              </a:spcBef>
              <a:buNone/>
              <a:defRPr sz="1200" b="0" i="0">
                <a:solidFill>
                  <a:srgbClr val="929599"/>
                </a:solidFill>
                <a:latin typeface="Arial"/>
                <a:ea typeface="Arial"/>
                <a:cs typeface="Arial"/>
                <a:sym typeface="Arial"/>
              </a:defRPr>
            </a:lvl7pPr>
            <a:lvl8pPr marL="38100" marR="0" lvl="7" indent="0" algn="r">
              <a:lnSpc>
                <a:spcPct val="118750"/>
              </a:lnSpc>
              <a:spcBef>
                <a:spcPts val="0"/>
              </a:spcBef>
              <a:buNone/>
              <a:defRPr sz="1200" b="0" i="0">
                <a:solidFill>
                  <a:srgbClr val="929599"/>
                </a:solidFill>
                <a:latin typeface="Arial"/>
                <a:ea typeface="Arial"/>
                <a:cs typeface="Arial"/>
                <a:sym typeface="Arial"/>
              </a:defRPr>
            </a:lvl8pPr>
            <a:lvl9pPr marL="38100" marR="0" lvl="8" indent="0" algn="r">
              <a:lnSpc>
                <a:spcPct val="118750"/>
              </a:lnSpc>
              <a:spcBef>
                <a:spcPts val="0"/>
              </a:spcBef>
              <a:buNone/>
              <a:defRPr sz="1200" b="0" i="0">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855.xml><?xml version="1.0" encoding="utf-8"?>
<p:sldLayout xmlns:a="http://schemas.openxmlformats.org/drawingml/2006/main" xmlns:r="http://schemas.openxmlformats.org/officeDocument/2006/relationships" xmlns:p="http://schemas.openxmlformats.org/presentationml/2006/main" matchingName="2_Quotation">
  <p:cSld name="2_Quotation 4">
    <p:spTree>
      <p:nvGrpSpPr>
        <p:cNvPr id="1" name="Shape 1812"/>
        <p:cNvGrpSpPr/>
        <p:nvPr/>
      </p:nvGrpSpPr>
      <p:grpSpPr>
        <a:xfrm>
          <a:off x="0" y="0"/>
          <a:ext cx="0" cy="0"/>
          <a:chOff x="0" y="0"/>
          <a:chExt cx="0" cy="0"/>
        </a:xfrm>
      </p:grpSpPr>
      <p:sp>
        <p:nvSpPr>
          <p:cNvPr id="1813" name="Google Shape;1813;p22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14" name="Google Shape;1814;p22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15" name="Google Shape;1815;p22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6" name="Google Shape;1816;p22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17" name="Google Shape;1817;p2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18" name="Google Shape;1818;p2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19" name="Google Shape;1819;p226"/>
          <p:cNvGrpSpPr/>
          <p:nvPr/>
        </p:nvGrpSpPr>
        <p:grpSpPr>
          <a:xfrm>
            <a:off x="7191542" y="1"/>
            <a:ext cx="5000459" cy="1425992"/>
            <a:chOff x="7191542" y="1"/>
            <a:chExt cx="5000459" cy="1425992"/>
          </a:xfrm>
        </p:grpSpPr>
        <p:pic>
          <p:nvPicPr>
            <p:cNvPr id="1820" name="Google Shape;1820;p2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21" name="Google Shape;1821;p226"/>
            <p:cNvGrpSpPr/>
            <p:nvPr/>
          </p:nvGrpSpPr>
          <p:grpSpPr>
            <a:xfrm>
              <a:off x="7191542" y="1"/>
              <a:ext cx="5000459" cy="1425992"/>
              <a:chOff x="7186272" y="0"/>
              <a:chExt cx="5005729" cy="1427495"/>
            </a:xfrm>
          </p:grpSpPr>
          <p:sp>
            <p:nvSpPr>
              <p:cNvPr id="1822" name="Google Shape;1822;p2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23" name="Google Shape;1823;p2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24" name="Google Shape;1824;p22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56.xml><?xml version="1.0" encoding="utf-8"?>
<p:sldLayout xmlns:a="http://schemas.openxmlformats.org/drawingml/2006/main" xmlns:r="http://schemas.openxmlformats.org/officeDocument/2006/relationships" xmlns:p="http://schemas.openxmlformats.org/presentationml/2006/main" matchingName="1_Quotation">
  <p:cSld name="1_Quotation">
    <p:spTree>
      <p:nvGrpSpPr>
        <p:cNvPr id="1" name="Shape 1825"/>
        <p:cNvGrpSpPr/>
        <p:nvPr/>
      </p:nvGrpSpPr>
      <p:grpSpPr>
        <a:xfrm>
          <a:off x="0" y="0"/>
          <a:ext cx="0" cy="0"/>
          <a:chOff x="0" y="0"/>
          <a:chExt cx="0" cy="0"/>
        </a:xfrm>
      </p:grpSpPr>
      <p:sp>
        <p:nvSpPr>
          <p:cNvPr id="1826" name="Google Shape;1826;p22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27" name="Google Shape;1827;p22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28" name="Google Shape;1828;p22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9" name="Google Shape;1829;p2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30" name="Google Shape;1830;p2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31" name="Google Shape;1831;p2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32" name="Google Shape;1832;p227"/>
          <p:cNvGrpSpPr/>
          <p:nvPr/>
        </p:nvGrpSpPr>
        <p:grpSpPr>
          <a:xfrm>
            <a:off x="7191542" y="1"/>
            <a:ext cx="5000459" cy="1425992"/>
            <a:chOff x="7191542" y="1"/>
            <a:chExt cx="5000459" cy="1425992"/>
          </a:xfrm>
        </p:grpSpPr>
        <p:pic>
          <p:nvPicPr>
            <p:cNvPr id="1833" name="Google Shape;1833;p2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34" name="Google Shape;1834;p227"/>
            <p:cNvGrpSpPr/>
            <p:nvPr/>
          </p:nvGrpSpPr>
          <p:grpSpPr>
            <a:xfrm>
              <a:off x="7191542" y="1"/>
              <a:ext cx="5000459" cy="1425992"/>
              <a:chOff x="7186272" y="0"/>
              <a:chExt cx="5005729" cy="1427495"/>
            </a:xfrm>
          </p:grpSpPr>
          <p:sp>
            <p:nvSpPr>
              <p:cNvPr id="1835" name="Google Shape;1835;p2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36" name="Google Shape;1836;p2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37" name="Google Shape;1837;p22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57.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1838"/>
        <p:cNvGrpSpPr/>
        <p:nvPr/>
      </p:nvGrpSpPr>
      <p:grpSpPr>
        <a:xfrm>
          <a:off x="0" y="0"/>
          <a:ext cx="0" cy="0"/>
          <a:chOff x="0" y="0"/>
          <a:chExt cx="0" cy="0"/>
        </a:xfrm>
      </p:grpSpPr>
      <p:sp>
        <p:nvSpPr>
          <p:cNvPr id="1839" name="Google Shape;1839;p228"/>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40" name="Google Shape;1840;p228"/>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41" name="Google Shape;1841;p22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842" name="Google Shape;1842;p2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843" name="Google Shape;1843;p22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858.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p:spTree>
      <p:nvGrpSpPr>
        <p:cNvPr id="1" name="Shape 1844"/>
        <p:cNvGrpSpPr/>
        <p:nvPr/>
      </p:nvGrpSpPr>
      <p:grpSpPr>
        <a:xfrm>
          <a:off x="0" y="0"/>
          <a:ext cx="0" cy="0"/>
          <a:chOff x="0" y="0"/>
          <a:chExt cx="0" cy="0"/>
        </a:xfrm>
      </p:grpSpPr>
      <p:sp>
        <p:nvSpPr>
          <p:cNvPr id="1845" name="Google Shape;1845;p229"/>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46" name="Google Shape;1846;p229"/>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47" name="Google Shape;1847;p22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848" name="Google Shape;1848;p2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849" name="Google Shape;1849;p2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850" name="Google Shape;1850;p229"/>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851" name="Google Shape;1851;p229"/>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852" name="Google Shape;1852;p229"/>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853" name="Google Shape;1853;p229"/>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859.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2">
    <p:spTree>
      <p:nvGrpSpPr>
        <p:cNvPr id="1" name="Shape 1854"/>
        <p:cNvGrpSpPr/>
        <p:nvPr/>
      </p:nvGrpSpPr>
      <p:grpSpPr>
        <a:xfrm>
          <a:off x="0" y="0"/>
          <a:ext cx="0" cy="0"/>
          <a:chOff x="0" y="0"/>
          <a:chExt cx="0" cy="0"/>
        </a:xfrm>
      </p:grpSpPr>
      <p:sp>
        <p:nvSpPr>
          <p:cNvPr id="1855" name="Google Shape;1855;p230"/>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6" name="Google Shape;1856;p230"/>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57" name="Google Shape;1857;p23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858" name="Google Shape;1858;p2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859" name="Google Shape;1859;p2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860" name="Google Shape;1860;p230"/>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861" name="Google Shape;1861;p230"/>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862" name="Google Shape;1862;p230"/>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863" name="Google Shape;1863;p230"/>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62430371"/>
      </p:ext>
    </p:extLst>
  </p:cSld>
  <p:clrMapOvr>
    <a:masterClrMapping/>
  </p:clrMapOvr>
</p:sldLayout>
</file>

<file path=ppt/slideLayouts/slideLayout860.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p:spTree>
      <p:nvGrpSpPr>
        <p:cNvPr id="1" name="Shape 1864"/>
        <p:cNvGrpSpPr/>
        <p:nvPr/>
      </p:nvGrpSpPr>
      <p:grpSpPr>
        <a:xfrm>
          <a:off x="0" y="0"/>
          <a:ext cx="0" cy="0"/>
          <a:chOff x="0" y="0"/>
          <a:chExt cx="0" cy="0"/>
        </a:xfrm>
      </p:grpSpPr>
      <p:sp>
        <p:nvSpPr>
          <p:cNvPr id="1865" name="Google Shape;1865;p231"/>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66" name="Google Shape;1866;p23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867" name="Google Shape;1867;p23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868" name="Google Shape;1868;p231"/>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869" name="Google Shape;1869;p23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861.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1870"/>
        <p:cNvGrpSpPr/>
        <p:nvPr/>
      </p:nvGrpSpPr>
      <p:grpSpPr>
        <a:xfrm>
          <a:off x="0" y="0"/>
          <a:ext cx="0" cy="0"/>
          <a:chOff x="0" y="0"/>
          <a:chExt cx="0" cy="0"/>
        </a:xfrm>
      </p:grpSpPr>
      <p:sp>
        <p:nvSpPr>
          <p:cNvPr id="1871" name="Google Shape;1871;p23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872" name="Google Shape;1872;p232"/>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873" name="Google Shape;1873;p23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874" name="Google Shape;1874;p232"/>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75" name="Google Shape;1875;p232"/>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62.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p:spTree>
      <p:nvGrpSpPr>
        <p:cNvPr id="1" name="Shape 1876"/>
        <p:cNvGrpSpPr/>
        <p:nvPr/>
      </p:nvGrpSpPr>
      <p:grpSpPr>
        <a:xfrm>
          <a:off x="0" y="0"/>
          <a:ext cx="0" cy="0"/>
          <a:chOff x="0" y="0"/>
          <a:chExt cx="0" cy="0"/>
        </a:xfrm>
      </p:grpSpPr>
      <p:sp>
        <p:nvSpPr>
          <p:cNvPr id="1877" name="Google Shape;1877;p23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878" name="Google Shape;1878;p23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879" name="Google Shape;1879;p233"/>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80" name="Google Shape;1880;p233"/>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81" name="Google Shape;1881;p233"/>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882" name="Google Shape;1882;p23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863.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3">
    <p:spTree>
      <p:nvGrpSpPr>
        <p:cNvPr id="1" name="Shape 1883"/>
        <p:cNvGrpSpPr/>
        <p:nvPr/>
      </p:nvGrpSpPr>
      <p:grpSpPr>
        <a:xfrm>
          <a:off x="0" y="0"/>
          <a:ext cx="0" cy="0"/>
          <a:chOff x="0" y="0"/>
          <a:chExt cx="0" cy="0"/>
        </a:xfrm>
      </p:grpSpPr>
      <p:sp>
        <p:nvSpPr>
          <p:cNvPr id="1884" name="Google Shape;1884;p234"/>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85" name="Google Shape;1885;p234"/>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86" name="Google Shape;1886;p23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887" name="Google Shape;1887;p2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888" name="Google Shape;1888;p2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889" name="Google Shape;1889;p234"/>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890" name="Google Shape;1890;p234"/>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891" name="Google Shape;1891;p234"/>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892" name="Google Shape;1892;p234"/>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864.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2">
    <p:spTree>
      <p:nvGrpSpPr>
        <p:cNvPr id="1" name="Shape 1893"/>
        <p:cNvGrpSpPr/>
        <p:nvPr/>
      </p:nvGrpSpPr>
      <p:grpSpPr>
        <a:xfrm>
          <a:off x="0" y="0"/>
          <a:ext cx="0" cy="0"/>
          <a:chOff x="0" y="0"/>
          <a:chExt cx="0" cy="0"/>
        </a:xfrm>
      </p:grpSpPr>
      <p:sp>
        <p:nvSpPr>
          <p:cNvPr id="1894" name="Google Shape;1894;p235"/>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95" name="Google Shape;1895;p23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896" name="Google Shape;1896;p23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897" name="Google Shape;1897;p235"/>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898" name="Google Shape;1898;p23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865.xml><?xml version="1.0" encoding="utf-8"?>
<p:sldLayout xmlns:a="http://schemas.openxmlformats.org/drawingml/2006/main" xmlns:r="http://schemas.openxmlformats.org/officeDocument/2006/relationships" xmlns:p="http://schemas.openxmlformats.org/presentationml/2006/main" matchingName="1_Title and Content">
  <p:cSld name="1_Title and Content 2">
    <p:spTree>
      <p:nvGrpSpPr>
        <p:cNvPr id="1" name="Shape 1899"/>
        <p:cNvGrpSpPr/>
        <p:nvPr/>
      </p:nvGrpSpPr>
      <p:grpSpPr>
        <a:xfrm>
          <a:off x="0" y="0"/>
          <a:ext cx="0" cy="0"/>
          <a:chOff x="0" y="0"/>
          <a:chExt cx="0" cy="0"/>
        </a:xfrm>
      </p:grpSpPr>
      <p:sp>
        <p:nvSpPr>
          <p:cNvPr id="1900" name="Google Shape;1900;p23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901" name="Google Shape;1901;p236"/>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902" name="Google Shape;1902;p23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903" name="Google Shape;1903;p236"/>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04" name="Google Shape;1904;p236"/>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66.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2">
    <p:spTree>
      <p:nvGrpSpPr>
        <p:cNvPr id="1" name="Shape 1905"/>
        <p:cNvGrpSpPr/>
        <p:nvPr/>
      </p:nvGrpSpPr>
      <p:grpSpPr>
        <a:xfrm>
          <a:off x="0" y="0"/>
          <a:ext cx="0" cy="0"/>
          <a:chOff x="0" y="0"/>
          <a:chExt cx="0" cy="0"/>
        </a:xfrm>
      </p:grpSpPr>
      <p:sp>
        <p:nvSpPr>
          <p:cNvPr id="1906" name="Google Shape;1906;p23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907" name="Google Shape;1907;p23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908" name="Google Shape;1908;p237"/>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09" name="Google Shape;1909;p237"/>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0" name="Google Shape;1910;p237"/>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911" name="Google Shape;1911;p23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867.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4">
    <p:spTree>
      <p:nvGrpSpPr>
        <p:cNvPr id="1" name="Shape 1912"/>
        <p:cNvGrpSpPr/>
        <p:nvPr/>
      </p:nvGrpSpPr>
      <p:grpSpPr>
        <a:xfrm>
          <a:off x="0" y="0"/>
          <a:ext cx="0" cy="0"/>
          <a:chOff x="0" y="0"/>
          <a:chExt cx="0" cy="0"/>
        </a:xfrm>
      </p:grpSpPr>
      <p:sp>
        <p:nvSpPr>
          <p:cNvPr id="1913" name="Google Shape;1913;p238"/>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4" name="Google Shape;1914;p238"/>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15" name="Google Shape;1915;p23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916" name="Google Shape;1916;p2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917" name="Google Shape;1917;p2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918" name="Google Shape;1918;p238"/>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919" name="Google Shape;1919;p238"/>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920" name="Google Shape;1920;p238"/>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921" name="Google Shape;1921;p238"/>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868.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5">
    <p:spTree>
      <p:nvGrpSpPr>
        <p:cNvPr id="1" name="Shape 1922"/>
        <p:cNvGrpSpPr/>
        <p:nvPr/>
      </p:nvGrpSpPr>
      <p:grpSpPr>
        <a:xfrm>
          <a:off x="0" y="0"/>
          <a:ext cx="0" cy="0"/>
          <a:chOff x="0" y="0"/>
          <a:chExt cx="0" cy="0"/>
        </a:xfrm>
      </p:grpSpPr>
      <p:sp>
        <p:nvSpPr>
          <p:cNvPr id="1923" name="Google Shape;1923;p239"/>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24" name="Google Shape;1924;p239"/>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25" name="Google Shape;1925;p23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926" name="Google Shape;1926;p2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927" name="Google Shape;1927;p23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928" name="Google Shape;1928;p239"/>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929" name="Google Shape;1929;p239"/>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930" name="Google Shape;1930;p239"/>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931" name="Google Shape;1931;p239"/>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869.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6">
    <p:spTree>
      <p:nvGrpSpPr>
        <p:cNvPr id="1" name="Shape 1932"/>
        <p:cNvGrpSpPr/>
        <p:nvPr/>
      </p:nvGrpSpPr>
      <p:grpSpPr>
        <a:xfrm>
          <a:off x="0" y="0"/>
          <a:ext cx="0" cy="0"/>
          <a:chOff x="0" y="0"/>
          <a:chExt cx="0" cy="0"/>
        </a:xfrm>
      </p:grpSpPr>
      <p:sp>
        <p:nvSpPr>
          <p:cNvPr id="1933" name="Google Shape;1933;p240"/>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34" name="Google Shape;1934;p240"/>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35" name="Google Shape;1935;p24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936" name="Google Shape;1936;p24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937" name="Google Shape;1937;p24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938" name="Google Shape;1938;p240"/>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939" name="Google Shape;1939;p240"/>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940" name="Google Shape;1940;p240"/>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941" name="Google Shape;1941;p240"/>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88036761"/>
      </p:ext>
    </p:extLst>
  </p:cSld>
  <p:clrMapOvr>
    <a:masterClrMapping/>
  </p:clrMapOvr>
</p:sldLayout>
</file>

<file path=ppt/slideLayouts/slideLayout870.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3">
    <p:spTree>
      <p:nvGrpSpPr>
        <p:cNvPr id="1" name="Shape 1942"/>
        <p:cNvGrpSpPr/>
        <p:nvPr/>
      </p:nvGrpSpPr>
      <p:grpSpPr>
        <a:xfrm>
          <a:off x="0" y="0"/>
          <a:ext cx="0" cy="0"/>
          <a:chOff x="0" y="0"/>
          <a:chExt cx="0" cy="0"/>
        </a:xfrm>
      </p:grpSpPr>
      <p:sp>
        <p:nvSpPr>
          <p:cNvPr id="1943" name="Google Shape;1943;p241"/>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44" name="Google Shape;1944;p24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945" name="Google Shape;1945;p24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946" name="Google Shape;1946;p241"/>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947" name="Google Shape;1947;p24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871.xml><?xml version="1.0" encoding="utf-8"?>
<p:sldLayout xmlns:a="http://schemas.openxmlformats.org/drawingml/2006/main" xmlns:r="http://schemas.openxmlformats.org/officeDocument/2006/relationships" xmlns:p="http://schemas.openxmlformats.org/presentationml/2006/main" matchingName="1_Title and Content">
  <p:cSld name="1_Title and Content 3">
    <p:spTree>
      <p:nvGrpSpPr>
        <p:cNvPr id="1" name="Shape 1948"/>
        <p:cNvGrpSpPr/>
        <p:nvPr/>
      </p:nvGrpSpPr>
      <p:grpSpPr>
        <a:xfrm>
          <a:off x="0" y="0"/>
          <a:ext cx="0" cy="0"/>
          <a:chOff x="0" y="0"/>
          <a:chExt cx="0" cy="0"/>
        </a:xfrm>
      </p:grpSpPr>
      <p:sp>
        <p:nvSpPr>
          <p:cNvPr id="1949" name="Google Shape;1949;p24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950" name="Google Shape;1950;p242"/>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951" name="Google Shape;1951;p24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952" name="Google Shape;1952;p242"/>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53" name="Google Shape;1953;p242"/>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72.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3">
    <p:spTree>
      <p:nvGrpSpPr>
        <p:cNvPr id="1" name="Shape 1954"/>
        <p:cNvGrpSpPr/>
        <p:nvPr/>
      </p:nvGrpSpPr>
      <p:grpSpPr>
        <a:xfrm>
          <a:off x="0" y="0"/>
          <a:ext cx="0" cy="0"/>
          <a:chOff x="0" y="0"/>
          <a:chExt cx="0" cy="0"/>
        </a:xfrm>
      </p:grpSpPr>
      <p:sp>
        <p:nvSpPr>
          <p:cNvPr id="1955" name="Google Shape;1955;p24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956" name="Google Shape;1956;p24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957" name="Google Shape;1957;p243"/>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58" name="Google Shape;1958;p243"/>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59" name="Google Shape;1959;p243"/>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960" name="Google Shape;1960;p24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873.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7">
    <p:spTree>
      <p:nvGrpSpPr>
        <p:cNvPr id="1" name="Shape 1961"/>
        <p:cNvGrpSpPr/>
        <p:nvPr/>
      </p:nvGrpSpPr>
      <p:grpSpPr>
        <a:xfrm>
          <a:off x="0" y="0"/>
          <a:ext cx="0" cy="0"/>
          <a:chOff x="0" y="0"/>
          <a:chExt cx="0" cy="0"/>
        </a:xfrm>
      </p:grpSpPr>
      <p:sp>
        <p:nvSpPr>
          <p:cNvPr id="1962" name="Google Shape;1962;p244"/>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63" name="Google Shape;1963;p244"/>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64" name="Google Shape;1964;p24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965" name="Google Shape;1965;p2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966" name="Google Shape;1966;p2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967" name="Google Shape;1967;p244"/>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968" name="Google Shape;1968;p244"/>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969" name="Google Shape;1969;p244"/>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970" name="Google Shape;1970;p244"/>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874.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4">
    <p:spTree>
      <p:nvGrpSpPr>
        <p:cNvPr id="1" name="Shape 1971"/>
        <p:cNvGrpSpPr/>
        <p:nvPr/>
      </p:nvGrpSpPr>
      <p:grpSpPr>
        <a:xfrm>
          <a:off x="0" y="0"/>
          <a:ext cx="0" cy="0"/>
          <a:chOff x="0" y="0"/>
          <a:chExt cx="0" cy="0"/>
        </a:xfrm>
      </p:grpSpPr>
      <p:sp>
        <p:nvSpPr>
          <p:cNvPr id="1972" name="Google Shape;1972;p245"/>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73" name="Google Shape;1973;p24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974" name="Google Shape;1974;p24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975" name="Google Shape;1975;p245"/>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976" name="Google Shape;1976;p24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875.xml><?xml version="1.0" encoding="utf-8"?>
<p:sldLayout xmlns:a="http://schemas.openxmlformats.org/drawingml/2006/main" xmlns:r="http://schemas.openxmlformats.org/officeDocument/2006/relationships" xmlns:p="http://schemas.openxmlformats.org/presentationml/2006/main" matchingName="1_Title and Content">
  <p:cSld name="1_Title and Content 4">
    <p:spTree>
      <p:nvGrpSpPr>
        <p:cNvPr id="1" name="Shape 1977"/>
        <p:cNvGrpSpPr/>
        <p:nvPr/>
      </p:nvGrpSpPr>
      <p:grpSpPr>
        <a:xfrm>
          <a:off x="0" y="0"/>
          <a:ext cx="0" cy="0"/>
          <a:chOff x="0" y="0"/>
          <a:chExt cx="0" cy="0"/>
        </a:xfrm>
      </p:grpSpPr>
      <p:sp>
        <p:nvSpPr>
          <p:cNvPr id="1978" name="Google Shape;1978;p24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979" name="Google Shape;1979;p246"/>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980" name="Google Shape;1980;p24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981" name="Google Shape;1981;p246"/>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82" name="Google Shape;1982;p246"/>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76.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4">
    <p:spTree>
      <p:nvGrpSpPr>
        <p:cNvPr id="1" name="Shape 1983"/>
        <p:cNvGrpSpPr/>
        <p:nvPr/>
      </p:nvGrpSpPr>
      <p:grpSpPr>
        <a:xfrm>
          <a:off x="0" y="0"/>
          <a:ext cx="0" cy="0"/>
          <a:chOff x="0" y="0"/>
          <a:chExt cx="0" cy="0"/>
        </a:xfrm>
      </p:grpSpPr>
      <p:sp>
        <p:nvSpPr>
          <p:cNvPr id="1984" name="Google Shape;1984;p24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985" name="Google Shape;1985;p24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986" name="Google Shape;1986;p247"/>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87" name="Google Shape;1987;p247"/>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88" name="Google Shape;1988;p247"/>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989" name="Google Shape;1989;p24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877.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5">
    <p:spTree>
      <p:nvGrpSpPr>
        <p:cNvPr id="1" name="Shape 1990"/>
        <p:cNvGrpSpPr/>
        <p:nvPr/>
      </p:nvGrpSpPr>
      <p:grpSpPr>
        <a:xfrm>
          <a:off x="0" y="0"/>
          <a:ext cx="0" cy="0"/>
          <a:chOff x="0" y="0"/>
          <a:chExt cx="0" cy="0"/>
        </a:xfrm>
      </p:grpSpPr>
      <p:sp>
        <p:nvSpPr>
          <p:cNvPr id="1991" name="Google Shape;1991;p248"/>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92" name="Google Shape;1992;p24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993" name="Google Shape;1993;p24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994" name="Google Shape;1994;p248"/>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995" name="Google Shape;1995;p24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878.xml><?xml version="1.0" encoding="utf-8"?>
<p:sldLayout xmlns:a="http://schemas.openxmlformats.org/drawingml/2006/main" xmlns:r="http://schemas.openxmlformats.org/officeDocument/2006/relationships" xmlns:p="http://schemas.openxmlformats.org/presentationml/2006/main" matchingName="1_Title and Content">
  <p:cSld name="1_Title and Content 5">
    <p:spTree>
      <p:nvGrpSpPr>
        <p:cNvPr id="1" name="Shape 1996"/>
        <p:cNvGrpSpPr/>
        <p:nvPr/>
      </p:nvGrpSpPr>
      <p:grpSpPr>
        <a:xfrm>
          <a:off x="0" y="0"/>
          <a:ext cx="0" cy="0"/>
          <a:chOff x="0" y="0"/>
          <a:chExt cx="0" cy="0"/>
        </a:xfrm>
      </p:grpSpPr>
      <p:sp>
        <p:nvSpPr>
          <p:cNvPr id="1997" name="Google Shape;1997;p24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998" name="Google Shape;1998;p249"/>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999" name="Google Shape;1999;p24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2000" name="Google Shape;2000;p249"/>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01" name="Google Shape;2001;p249"/>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79.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5">
    <p:spTree>
      <p:nvGrpSpPr>
        <p:cNvPr id="1" name="Shape 2002"/>
        <p:cNvGrpSpPr/>
        <p:nvPr/>
      </p:nvGrpSpPr>
      <p:grpSpPr>
        <a:xfrm>
          <a:off x="0" y="0"/>
          <a:ext cx="0" cy="0"/>
          <a:chOff x="0" y="0"/>
          <a:chExt cx="0" cy="0"/>
        </a:xfrm>
      </p:grpSpPr>
      <p:sp>
        <p:nvSpPr>
          <p:cNvPr id="2003" name="Google Shape;2003;p25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2004" name="Google Shape;2004;p25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2005" name="Google Shape;2005;p250"/>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06" name="Google Shape;2006;p250"/>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07" name="Google Shape;2007;p250"/>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008" name="Google Shape;2008;p25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882342115"/>
      </p:ext>
    </p:extLst>
  </p:cSld>
  <p:clrMapOvr>
    <a:masterClrMapping/>
  </p:clrMapOvr>
</p:sldLayout>
</file>

<file path=ppt/slideLayouts/slideLayout880.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8">
    <p:spTree>
      <p:nvGrpSpPr>
        <p:cNvPr id="1" name="Shape 2009"/>
        <p:cNvGrpSpPr/>
        <p:nvPr/>
      </p:nvGrpSpPr>
      <p:grpSpPr>
        <a:xfrm>
          <a:off x="0" y="0"/>
          <a:ext cx="0" cy="0"/>
          <a:chOff x="0" y="0"/>
          <a:chExt cx="0" cy="0"/>
        </a:xfrm>
      </p:grpSpPr>
      <p:sp>
        <p:nvSpPr>
          <p:cNvPr id="2010" name="Google Shape;2010;p251"/>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11" name="Google Shape;2011;p251"/>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12" name="Google Shape;2012;p25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013" name="Google Shape;2013;p2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014" name="Google Shape;2014;p2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2015" name="Google Shape;2015;p251"/>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2016" name="Google Shape;2016;p251"/>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2017" name="Google Shape;2017;p251"/>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018" name="Google Shape;2018;p251"/>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881.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9">
    <p:spTree>
      <p:nvGrpSpPr>
        <p:cNvPr id="1" name="Shape 2019"/>
        <p:cNvGrpSpPr/>
        <p:nvPr/>
      </p:nvGrpSpPr>
      <p:grpSpPr>
        <a:xfrm>
          <a:off x="0" y="0"/>
          <a:ext cx="0" cy="0"/>
          <a:chOff x="0" y="0"/>
          <a:chExt cx="0" cy="0"/>
        </a:xfrm>
      </p:grpSpPr>
      <p:sp>
        <p:nvSpPr>
          <p:cNvPr id="2020" name="Google Shape;2020;p252"/>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21" name="Google Shape;2021;p252"/>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22" name="Google Shape;2022;p25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023" name="Google Shape;2023;p2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024" name="Google Shape;2024;p25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2025" name="Google Shape;2025;p252"/>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2026" name="Google Shape;2026;p252"/>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2027" name="Google Shape;2027;p252"/>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028" name="Google Shape;2028;p252"/>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882.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6">
    <p:spTree>
      <p:nvGrpSpPr>
        <p:cNvPr id="1" name="Shape 2029"/>
        <p:cNvGrpSpPr/>
        <p:nvPr/>
      </p:nvGrpSpPr>
      <p:grpSpPr>
        <a:xfrm>
          <a:off x="0" y="0"/>
          <a:ext cx="0" cy="0"/>
          <a:chOff x="0" y="0"/>
          <a:chExt cx="0" cy="0"/>
        </a:xfrm>
      </p:grpSpPr>
      <p:sp>
        <p:nvSpPr>
          <p:cNvPr id="2030" name="Google Shape;2030;p253"/>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31" name="Google Shape;2031;p25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2032" name="Google Shape;2032;p25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2033" name="Google Shape;2033;p253"/>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034" name="Google Shape;2034;p25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883.xml><?xml version="1.0" encoding="utf-8"?>
<p:sldLayout xmlns:a="http://schemas.openxmlformats.org/drawingml/2006/main" xmlns:r="http://schemas.openxmlformats.org/officeDocument/2006/relationships" xmlns:p="http://schemas.openxmlformats.org/presentationml/2006/main" matchingName="1_Title and Content">
  <p:cSld name="1_Title and Content 6">
    <p:spTree>
      <p:nvGrpSpPr>
        <p:cNvPr id="1" name="Shape 2035"/>
        <p:cNvGrpSpPr/>
        <p:nvPr/>
      </p:nvGrpSpPr>
      <p:grpSpPr>
        <a:xfrm>
          <a:off x="0" y="0"/>
          <a:ext cx="0" cy="0"/>
          <a:chOff x="0" y="0"/>
          <a:chExt cx="0" cy="0"/>
        </a:xfrm>
      </p:grpSpPr>
      <p:sp>
        <p:nvSpPr>
          <p:cNvPr id="2036" name="Google Shape;2036;p25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2037" name="Google Shape;2037;p254"/>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2038" name="Google Shape;2038;p25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2039" name="Google Shape;2039;p254"/>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40" name="Google Shape;2040;p254"/>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84.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6">
    <p:spTree>
      <p:nvGrpSpPr>
        <p:cNvPr id="1" name="Shape 2041"/>
        <p:cNvGrpSpPr/>
        <p:nvPr/>
      </p:nvGrpSpPr>
      <p:grpSpPr>
        <a:xfrm>
          <a:off x="0" y="0"/>
          <a:ext cx="0" cy="0"/>
          <a:chOff x="0" y="0"/>
          <a:chExt cx="0" cy="0"/>
        </a:xfrm>
      </p:grpSpPr>
      <p:sp>
        <p:nvSpPr>
          <p:cNvPr id="2042" name="Google Shape;2042;p25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2043" name="Google Shape;2043;p25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2044" name="Google Shape;2044;p255"/>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45" name="Google Shape;2045;p255"/>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46" name="Google Shape;2046;p255"/>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047" name="Google Shape;2047;p25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885.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10">
    <p:spTree>
      <p:nvGrpSpPr>
        <p:cNvPr id="1" name="Shape 2048"/>
        <p:cNvGrpSpPr/>
        <p:nvPr/>
      </p:nvGrpSpPr>
      <p:grpSpPr>
        <a:xfrm>
          <a:off x="0" y="0"/>
          <a:ext cx="0" cy="0"/>
          <a:chOff x="0" y="0"/>
          <a:chExt cx="0" cy="0"/>
        </a:xfrm>
      </p:grpSpPr>
      <p:sp>
        <p:nvSpPr>
          <p:cNvPr id="2049" name="Google Shape;2049;p256"/>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50" name="Google Shape;2050;p256"/>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51" name="Google Shape;2051;p25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052" name="Google Shape;2052;p2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053" name="Google Shape;2053;p25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2054" name="Google Shape;2054;p256"/>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2055" name="Google Shape;2055;p256"/>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2056" name="Google Shape;2056;p256"/>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057" name="Google Shape;2057;p256"/>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886.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7">
    <p:spTree>
      <p:nvGrpSpPr>
        <p:cNvPr id="1" name="Shape 2058"/>
        <p:cNvGrpSpPr/>
        <p:nvPr/>
      </p:nvGrpSpPr>
      <p:grpSpPr>
        <a:xfrm>
          <a:off x="0" y="0"/>
          <a:ext cx="0" cy="0"/>
          <a:chOff x="0" y="0"/>
          <a:chExt cx="0" cy="0"/>
        </a:xfrm>
      </p:grpSpPr>
      <p:sp>
        <p:nvSpPr>
          <p:cNvPr id="2059" name="Google Shape;2059;p257"/>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60" name="Google Shape;2060;p25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2061" name="Google Shape;2061;p25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2062" name="Google Shape;2062;p257"/>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063" name="Google Shape;2063;p25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887.xml><?xml version="1.0" encoding="utf-8"?>
<p:sldLayout xmlns:a="http://schemas.openxmlformats.org/drawingml/2006/main" xmlns:r="http://schemas.openxmlformats.org/officeDocument/2006/relationships" xmlns:p="http://schemas.openxmlformats.org/presentationml/2006/main" matchingName="1_Title and Content">
  <p:cSld name="1_Title and Content 7">
    <p:spTree>
      <p:nvGrpSpPr>
        <p:cNvPr id="1" name="Shape 2064"/>
        <p:cNvGrpSpPr/>
        <p:nvPr/>
      </p:nvGrpSpPr>
      <p:grpSpPr>
        <a:xfrm>
          <a:off x="0" y="0"/>
          <a:ext cx="0" cy="0"/>
          <a:chOff x="0" y="0"/>
          <a:chExt cx="0" cy="0"/>
        </a:xfrm>
      </p:grpSpPr>
      <p:sp>
        <p:nvSpPr>
          <p:cNvPr id="2065" name="Google Shape;2065;p25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2066" name="Google Shape;2066;p258"/>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2067" name="Google Shape;2067;p25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2068" name="Google Shape;2068;p258"/>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69" name="Google Shape;2069;p258"/>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88.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7">
    <p:spTree>
      <p:nvGrpSpPr>
        <p:cNvPr id="1" name="Shape 2070"/>
        <p:cNvGrpSpPr/>
        <p:nvPr/>
      </p:nvGrpSpPr>
      <p:grpSpPr>
        <a:xfrm>
          <a:off x="0" y="0"/>
          <a:ext cx="0" cy="0"/>
          <a:chOff x="0" y="0"/>
          <a:chExt cx="0" cy="0"/>
        </a:xfrm>
      </p:grpSpPr>
      <p:sp>
        <p:nvSpPr>
          <p:cNvPr id="2071" name="Google Shape;2071;p25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2072" name="Google Shape;2072;p25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2073" name="Google Shape;2073;p259"/>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74" name="Google Shape;2074;p259"/>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75" name="Google Shape;2075;p259"/>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076" name="Google Shape;2076;p259"/>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889.xml><?xml version="1.0" encoding="utf-8"?>
<p:sldLayout xmlns:a="http://schemas.openxmlformats.org/drawingml/2006/main" xmlns:r="http://schemas.openxmlformats.org/officeDocument/2006/relationships" xmlns:p="http://schemas.openxmlformats.org/presentationml/2006/main" matchingName="Cover">
  <p:cSld name="Cover 16">
    <p:spTree>
      <p:nvGrpSpPr>
        <p:cNvPr id="1" name="Shape 2077"/>
        <p:cNvGrpSpPr/>
        <p:nvPr/>
      </p:nvGrpSpPr>
      <p:grpSpPr>
        <a:xfrm>
          <a:off x="0" y="0"/>
          <a:ext cx="0" cy="0"/>
          <a:chOff x="0" y="0"/>
          <a:chExt cx="0" cy="0"/>
        </a:xfrm>
      </p:grpSpPr>
      <p:sp>
        <p:nvSpPr>
          <p:cNvPr id="2078" name="Google Shape;2078;p26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79" name="Google Shape;2079;p26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80" name="Google Shape;2080;p26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081" name="Google Shape;2081;p260"/>
          <p:cNvSpPr>
            <a:spLocks noGrp="1"/>
          </p:cNvSpPr>
          <p:nvPr>
            <p:ph type="pic" idx="2"/>
          </p:nvPr>
        </p:nvSpPr>
        <p:spPr>
          <a:xfrm>
            <a:off x="7118684" y="233915"/>
            <a:ext cx="5073316" cy="5943600"/>
          </a:xfrm>
          <a:prstGeom prst="rect">
            <a:avLst/>
          </a:prstGeom>
          <a:noFill/>
          <a:ln>
            <a:noFill/>
          </a:ln>
        </p:spPr>
      </p:sp>
      <p:grpSp>
        <p:nvGrpSpPr>
          <p:cNvPr id="2082" name="Google Shape;2082;p260"/>
          <p:cNvGrpSpPr/>
          <p:nvPr/>
        </p:nvGrpSpPr>
        <p:grpSpPr>
          <a:xfrm>
            <a:off x="0" y="5020348"/>
            <a:ext cx="12192000" cy="1837653"/>
            <a:chOff x="0" y="5020348"/>
            <a:chExt cx="12192000" cy="1837653"/>
          </a:xfrm>
        </p:grpSpPr>
        <p:sp>
          <p:nvSpPr>
            <p:cNvPr id="2083" name="Google Shape;2083;p26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84" name="Google Shape;2084;p26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085" name="Google Shape;2085;p26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1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14054778"/>
      </p:ext>
    </p:extLst>
  </p:cSld>
  <p:clrMapOvr>
    <a:masterClrMapping/>
  </p:clrMapOvr>
</p:sldLayout>
</file>

<file path=ppt/slideLayouts/slideLayout890.xml><?xml version="1.0" encoding="utf-8"?>
<p:sldLayout xmlns:a="http://schemas.openxmlformats.org/drawingml/2006/main" xmlns:r="http://schemas.openxmlformats.org/officeDocument/2006/relationships" xmlns:p="http://schemas.openxmlformats.org/presentationml/2006/main" matchingName="Divider">
  <p:cSld name="Divider 17">
    <p:bg>
      <p:bgPr>
        <a:solidFill>
          <a:schemeClr val="lt2"/>
        </a:solidFill>
        <a:effectLst/>
      </p:bgPr>
    </p:bg>
    <p:spTree>
      <p:nvGrpSpPr>
        <p:cNvPr id="1" name="Shape 2086"/>
        <p:cNvGrpSpPr/>
        <p:nvPr/>
      </p:nvGrpSpPr>
      <p:grpSpPr>
        <a:xfrm>
          <a:off x="0" y="0"/>
          <a:ext cx="0" cy="0"/>
          <a:chOff x="0" y="0"/>
          <a:chExt cx="0" cy="0"/>
        </a:xfrm>
      </p:grpSpPr>
      <p:grpSp>
        <p:nvGrpSpPr>
          <p:cNvPr id="2087" name="Google Shape;2087;p261"/>
          <p:cNvGrpSpPr/>
          <p:nvPr/>
        </p:nvGrpSpPr>
        <p:grpSpPr>
          <a:xfrm>
            <a:off x="0" y="5020347"/>
            <a:ext cx="12192000" cy="1837653"/>
            <a:chOff x="0" y="5020347"/>
            <a:chExt cx="12192000" cy="1837653"/>
          </a:xfrm>
        </p:grpSpPr>
        <p:sp>
          <p:nvSpPr>
            <p:cNvPr id="2088" name="Google Shape;2088;p26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89" name="Google Shape;2089;p26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90" name="Google Shape;2090;p26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091" name="Google Shape;2091;p26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092" name="Google Shape;2092;p261"/>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93" name="Google Shape;2093;p261"/>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91.xml><?xml version="1.0" encoding="utf-8"?>
<p:sldLayout xmlns:a="http://schemas.openxmlformats.org/drawingml/2006/main" xmlns:r="http://schemas.openxmlformats.org/officeDocument/2006/relationships" xmlns:p="http://schemas.openxmlformats.org/presentationml/2006/main" matchingName="Photo Slide">
  <p:cSld name="Photo Slide 15">
    <p:spTree>
      <p:nvGrpSpPr>
        <p:cNvPr id="1" name="Shape 2094"/>
        <p:cNvGrpSpPr/>
        <p:nvPr/>
      </p:nvGrpSpPr>
      <p:grpSpPr>
        <a:xfrm>
          <a:off x="0" y="0"/>
          <a:ext cx="0" cy="0"/>
          <a:chOff x="0" y="0"/>
          <a:chExt cx="0" cy="0"/>
        </a:xfrm>
      </p:grpSpPr>
      <p:sp>
        <p:nvSpPr>
          <p:cNvPr id="2095" name="Google Shape;2095;p26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096" name="Google Shape;2096;p26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097" name="Google Shape;2097;p262"/>
          <p:cNvGrpSpPr/>
          <p:nvPr/>
        </p:nvGrpSpPr>
        <p:grpSpPr>
          <a:xfrm>
            <a:off x="0" y="5379426"/>
            <a:ext cx="2807368" cy="753891"/>
            <a:chOff x="0" y="5379426"/>
            <a:chExt cx="2807368" cy="753891"/>
          </a:xfrm>
        </p:grpSpPr>
        <p:sp>
          <p:nvSpPr>
            <p:cNvPr id="2098" name="Google Shape;2098;p26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99" name="Google Shape;2099;p26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100" name="Google Shape;2100;p262"/>
          <p:cNvSpPr>
            <a:spLocks noGrp="1"/>
          </p:cNvSpPr>
          <p:nvPr>
            <p:ph type="pic" idx="2"/>
          </p:nvPr>
        </p:nvSpPr>
        <p:spPr>
          <a:xfrm>
            <a:off x="2807368" y="457202"/>
            <a:ext cx="8915400" cy="5943598"/>
          </a:xfrm>
          <a:prstGeom prst="rect">
            <a:avLst/>
          </a:prstGeom>
          <a:noFill/>
          <a:ln>
            <a:noFill/>
          </a:ln>
        </p:spPr>
      </p:sp>
      <p:pic>
        <p:nvPicPr>
          <p:cNvPr id="2101" name="Google Shape;2101;p26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92.xml><?xml version="1.0" encoding="utf-8"?>
<p:sldLayout xmlns:a="http://schemas.openxmlformats.org/drawingml/2006/main" xmlns:r="http://schemas.openxmlformats.org/officeDocument/2006/relationships" xmlns:p="http://schemas.openxmlformats.org/presentationml/2006/main" matchingName="Quotation">
  <p:cSld name="Quotation 25">
    <p:spTree>
      <p:nvGrpSpPr>
        <p:cNvPr id="1" name="Shape 2102"/>
        <p:cNvGrpSpPr/>
        <p:nvPr/>
      </p:nvGrpSpPr>
      <p:grpSpPr>
        <a:xfrm>
          <a:off x="0" y="0"/>
          <a:ext cx="0" cy="0"/>
          <a:chOff x="0" y="0"/>
          <a:chExt cx="0" cy="0"/>
        </a:xfrm>
      </p:grpSpPr>
      <p:sp>
        <p:nvSpPr>
          <p:cNvPr id="2103" name="Google Shape;2103;p26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04" name="Google Shape;2104;p26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05" name="Google Shape;2105;p26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06" name="Google Shape;2106;p2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07" name="Google Shape;2107;p2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08" name="Google Shape;2108;p2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109" name="Google Shape;2109;p263"/>
          <p:cNvGrpSpPr/>
          <p:nvPr/>
        </p:nvGrpSpPr>
        <p:grpSpPr>
          <a:xfrm>
            <a:off x="7191542" y="1"/>
            <a:ext cx="5000459" cy="1425992"/>
            <a:chOff x="7191542" y="1"/>
            <a:chExt cx="5000459" cy="1425992"/>
          </a:xfrm>
        </p:grpSpPr>
        <p:pic>
          <p:nvPicPr>
            <p:cNvPr id="2110" name="Google Shape;2110;p2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11" name="Google Shape;2111;p263"/>
            <p:cNvGrpSpPr/>
            <p:nvPr/>
          </p:nvGrpSpPr>
          <p:grpSpPr>
            <a:xfrm>
              <a:off x="7191542" y="1"/>
              <a:ext cx="5000459" cy="1425992"/>
              <a:chOff x="7186272" y="0"/>
              <a:chExt cx="5005729" cy="1427495"/>
            </a:xfrm>
          </p:grpSpPr>
          <p:sp>
            <p:nvSpPr>
              <p:cNvPr id="2112" name="Google Shape;2112;p2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13" name="Google Shape;2113;p2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114" name="Google Shape;2114;p26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93.xml><?xml version="1.0" encoding="utf-8"?>
<p:sldLayout xmlns:a="http://schemas.openxmlformats.org/drawingml/2006/main" xmlns:r="http://schemas.openxmlformats.org/officeDocument/2006/relationships" xmlns:p="http://schemas.openxmlformats.org/presentationml/2006/main" matchingName="Two Content">
  <p:cSld name="Two Content 14">
    <p:spTree>
      <p:nvGrpSpPr>
        <p:cNvPr id="1" name="Shape 2115"/>
        <p:cNvGrpSpPr/>
        <p:nvPr/>
      </p:nvGrpSpPr>
      <p:grpSpPr>
        <a:xfrm>
          <a:off x="0" y="0"/>
          <a:ext cx="0" cy="0"/>
          <a:chOff x="0" y="0"/>
          <a:chExt cx="0" cy="0"/>
        </a:xfrm>
      </p:grpSpPr>
      <p:sp>
        <p:nvSpPr>
          <p:cNvPr id="2116" name="Google Shape;2116;p26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17" name="Google Shape;2117;p26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118" name="Google Shape;2118;p264"/>
          <p:cNvGrpSpPr/>
          <p:nvPr/>
        </p:nvGrpSpPr>
        <p:grpSpPr>
          <a:xfrm>
            <a:off x="7191542" y="1"/>
            <a:ext cx="5000459" cy="1425992"/>
            <a:chOff x="7191542" y="1"/>
            <a:chExt cx="5000459" cy="1425992"/>
          </a:xfrm>
        </p:grpSpPr>
        <p:pic>
          <p:nvPicPr>
            <p:cNvPr id="2119" name="Google Shape;2119;p26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20" name="Google Shape;2120;p264"/>
            <p:cNvGrpSpPr/>
            <p:nvPr/>
          </p:nvGrpSpPr>
          <p:grpSpPr>
            <a:xfrm>
              <a:off x="7191542" y="1"/>
              <a:ext cx="5000459" cy="1425992"/>
              <a:chOff x="7186272" y="0"/>
              <a:chExt cx="5005729" cy="1427495"/>
            </a:xfrm>
          </p:grpSpPr>
          <p:sp>
            <p:nvSpPr>
              <p:cNvPr id="2121" name="Google Shape;2121;p2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22" name="Google Shape;2122;p2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23" name="Google Shape;2123;p26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24" name="Google Shape;2124;p26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125" name="Google Shape;2125;p2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26" name="Google Shape;2126;p2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94.xml><?xml version="1.0" encoding="utf-8"?>
<p:sldLayout xmlns:a="http://schemas.openxmlformats.org/drawingml/2006/main" xmlns:r="http://schemas.openxmlformats.org/officeDocument/2006/relationships" xmlns:p="http://schemas.openxmlformats.org/presentationml/2006/main" matchingName="Comparison">
  <p:cSld name="Comparison 14">
    <p:spTree>
      <p:nvGrpSpPr>
        <p:cNvPr id="1" name="Shape 2127"/>
        <p:cNvGrpSpPr/>
        <p:nvPr/>
      </p:nvGrpSpPr>
      <p:grpSpPr>
        <a:xfrm>
          <a:off x="0" y="0"/>
          <a:ext cx="0" cy="0"/>
          <a:chOff x="0" y="0"/>
          <a:chExt cx="0" cy="0"/>
        </a:xfrm>
      </p:grpSpPr>
      <p:grpSp>
        <p:nvGrpSpPr>
          <p:cNvPr id="2128" name="Google Shape;2128;p265"/>
          <p:cNvGrpSpPr/>
          <p:nvPr/>
        </p:nvGrpSpPr>
        <p:grpSpPr>
          <a:xfrm>
            <a:off x="7191542" y="1"/>
            <a:ext cx="5000459" cy="1425992"/>
            <a:chOff x="7191542" y="1"/>
            <a:chExt cx="5000459" cy="1425992"/>
          </a:xfrm>
        </p:grpSpPr>
        <p:pic>
          <p:nvPicPr>
            <p:cNvPr id="2129" name="Google Shape;2129;p2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30" name="Google Shape;2130;p265"/>
            <p:cNvGrpSpPr/>
            <p:nvPr/>
          </p:nvGrpSpPr>
          <p:grpSpPr>
            <a:xfrm>
              <a:off x="7191542" y="1"/>
              <a:ext cx="5000459" cy="1425992"/>
              <a:chOff x="7186272" y="0"/>
              <a:chExt cx="5005729" cy="1427495"/>
            </a:xfrm>
          </p:grpSpPr>
          <p:sp>
            <p:nvSpPr>
              <p:cNvPr id="2131" name="Google Shape;2131;p2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32" name="Google Shape;2132;p2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33" name="Google Shape;2133;p26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34" name="Google Shape;2134;p26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135" name="Google Shape;2135;p26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36" name="Google Shape;2136;p26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137" name="Google Shape;2137;p26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38" name="Google Shape;2138;p2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139" name="Google Shape;2139;p2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40" name="Google Shape;2140;p2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95.xml><?xml version="1.0" encoding="utf-8"?>
<p:sldLayout xmlns:a="http://schemas.openxmlformats.org/drawingml/2006/main" xmlns:r="http://schemas.openxmlformats.org/officeDocument/2006/relationships" xmlns:p="http://schemas.openxmlformats.org/presentationml/2006/main" matchingName="Title Only">
  <p:cSld name="Title Only 14">
    <p:spTree>
      <p:nvGrpSpPr>
        <p:cNvPr id="1" name="Shape 2141"/>
        <p:cNvGrpSpPr/>
        <p:nvPr/>
      </p:nvGrpSpPr>
      <p:grpSpPr>
        <a:xfrm>
          <a:off x="0" y="0"/>
          <a:ext cx="0" cy="0"/>
          <a:chOff x="0" y="0"/>
          <a:chExt cx="0" cy="0"/>
        </a:xfrm>
      </p:grpSpPr>
      <p:grpSp>
        <p:nvGrpSpPr>
          <p:cNvPr id="2142" name="Google Shape;2142;p266"/>
          <p:cNvGrpSpPr/>
          <p:nvPr/>
        </p:nvGrpSpPr>
        <p:grpSpPr>
          <a:xfrm>
            <a:off x="7191542" y="1"/>
            <a:ext cx="5000459" cy="1425992"/>
            <a:chOff x="7191542" y="1"/>
            <a:chExt cx="5000459" cy="1425992"/>
          </a:xfrm>
        </p:grpSpPr>
        <p:pic>
          <p:nvPicPr>
            <p:cNvPr id="2143" name="Google Shape;2143;p2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44" name="Google Shape;2144;p266"/>
            <p:cNvGrpSpPr/>
            <p:nvPr/>
          </p:nvGrpSpPr>
          <p:grpSpPr>
            <a:xfrm>
              <a:off x="7191542" y="1"/>
              <a:ext cx="5000459" cy="1425992"/>
              <a:chOff x="7186272" y="0"/>
              <a:chExt cx="5005729" cy="1427495"/>
            </a:xfrm>
          </p:grpSpPr>
          <p:sp>
            <p:nvSpPr>
              <p:cNvPr id="2145" name="Google Shape;2145;p2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46" name="Google Shape;2146;p2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47" name="Google Shape;2147;p26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48" name="Google Shape;2148;p2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149" name="Google Shape;2149;p2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50" name="Google Shape;2150;p2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96.xml><?xml version="1.0" encoding="utf-8"?>
<p:sldLayout xmlns:a="http://schemas.openxmlformats.org/drawingml/2006/main" xmlns:r="http://schemas.openxmlformats.org/officeDocument/2006/relationships" xmlns:p="http://schemas.openxmlformats.org/presentationml/2006/main" matchingName="End">
  <p:cSld name="End 15">
    <p:spTree>
      <p:nvGrpSpPr>
        <p:cNvPr id="1" name="Shape 2151"/>
        <p:cNvGrpSpPr/>
        <p:nvPr/>
      </p:nvGrpSpPr>
      <p:grpSpPr>
        <a:xfrm>
          <a:off x="0" y="0"/>
          <a:ext cx="0" cy="0"/>
          <a:chOff x="0" y="0"/>
          <a:chExt cx="0" cy="0"/>
        </a:xfrm>
      </p:grpSpPr>
      <p:grpSp>
        <p:nvGrpSpPr>
          <p:cNvPr id="2152" name="Google Shape;2152;p267"/>
          <p:cNvGrpSpPr/>
          <p:nvPr/>
        </p:nvGrpSpPr>
        <p:grpSpPr>
          <a:xfrm>
            <a:off x="0" y="0"/>
            <a:ext cx="12192000" cy="2148830"/>
            <a:chOff x="0" y="0"/>
            <a:chExt cx="12192000" cy="2148830"/>
          </a:xfrm>
        </p:grpSpPr>
        <p:sp>
          <p:nvSpPr>
            <p:cNvPr id="2153" name="Google Shape;2153;p26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54" name="Google Shape;2154;p26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155" name="Google Shape;2155;p26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56" name="Google Shape;2156;p26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57" name="Google Shape;2157;p26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158" name="Google Shape;2158;p26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159" name="Google Shape;2159;p26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97.xml><?xml version="1.0" encoding="utf-8"?>
<p:sldLayout xmlns:a="http://schemas.openxmlformats.org/drawingml/2006/main" xmlns:r="http://schemas.openxmlformats.org/officeDocument/2006/relationships" xmlns:p="http://schemas.openxmlformats.org/presentationml/2006/main" matchingName="Blank">
  <p:cSld name="Blank 15">
    <p:spTree>
      <p:nvGrpSpPr>
        <p:cNvPr id="1" name="Shape 2160"/>
        <p:cNvGrpSpPr/>
        <p:nvPr/>
      </p:nvGrpSpPr>
      <p:grpSpPr>
        <a:xfrm>
          <a:off x="0" y="0"/>
          <a:ext cx="0" cy="0"/>
          <a:chOff x="0" y="0"/>
          <a:chExt cx="0" cy="0"/>
        </a:xfrm>
      </p:grpSpPr>
      <p:sp>
        <p:nvSpPr>
          <p:cNvPr id="2161" name="Google Shape;2161;p26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162" name="Google Shape;2162;p26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63" name="Google Shape;2163;p2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164" name="Google Shape;2164;p268"/>
          <p:cNvGrpSpPr/>
          <p:nvPr/>
        </p:nvGrpSpPr>
        <p:grpSpPr>
          <a:xfrm>
            <a:off x="7191542" y="1"/>
            <a:ext cx="5000459" cy="1425992"/>
            <a:chOff x="7191542" y="1"/>
            <a:chExt cx="5000459" cy="1425992"/>
          </a:xfrm>
        </p:grpSpPr>
        <p:pic>
          <p:nvPicPr>
            <p:cNvPr id="2165" name="Google Shape;2165;p26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66" name="Google Shape;2166;p268"/>
            <p:cNvGrpSpPr/>
            <p:nvPr/>
          </p:nvGrpSpPr>
          <p:grpSpPr>
            <a:xfrm>
              <a:off x="7191542" y="1"/>
              <a:ext cx="5000459" cy="1425992"/>
              <a:chOff x="7186272" y="0"/>
              <a:chExt cx="5005729" cy="1427495"/>
            </a:xfrm>
          </p:grpSpPr>
          <p:sp>
            <p:nvSpPr>
              <p:cNvPr id="2167" name="Google Shape;2167;p26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68" name="Google Shape;2168;p26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898.xml><?xml version="1.0" encoding="utf-8"?>
<p:sldLayout xmlns:a="http://schemas.openxmlformats.org/drawingml/2006/main" xmlns:r="http://schemas.openxmlformats.org/officeDocument/2006/relationships" xmlns:p="http://schemas.openxmlformats.org/presentationml/2006/main" matchingName="Cover">
  <p:cSld name="Cover 17">
    <p:spTree>
      <p:nvGrpSpPr>
        <p:cNvPr id="1" name="Shape 2169"/>
        <p:cNvGrpSpPr/>
        <p:nvPr/>
      </p:nvGrpSpPr>
      <p:grpSpPr>
        <a:xfrm>
          <a:off x="0" y="0"/>
          <a:ext cx="0" cy="0"/>
          <a:chOff x="0" y="0"/>
          <a:chExt cx="0" cy="0"/>
        </a:xfrm>
      </p:grpSpPr>
      <p:sp>
        <p:nvSpPr>
          <p:cNvPr id="2170" name="Google Shape;2170;p26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71" name="Google Shape;2171;p26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72" name="Google Shape;2172;p26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173" name="Google Shape;2173;p269"/>
          <p:cNvSpPr>
            <a:spLocks noGrp="1"/>
          </p:cNvSpPr>
          <p:nvPr>
            <p:ph type="pic" idx="2"/>
          </p:nvPr>
        </p:nvSpPr>
        <p:spPr>
          <a:xfrm>
            <a:off x="7118684" y="233915"/>
            <a:ext cx="5073316" cy="5943600"/>
          </a:xfrm>
          <a:prstGeom prst="rect">
            <a:avLst/>
          </a:prstGeom>
          <a:noFill/>
          <a:ln>
            <a:noFill/>
          </a:ln>
        </p:spPr>
      </p:sp>
      <p:grpSp>
        <p:nvGrpSpPr>
          <p:cNvPr id="2174" name="Google Shape;2174;p269"/>
          <p:cNvGrpSpPr/>
          <p:nvPr/>
        </p:nvGrpSpPr>
        <p:grpSpPr>
          <a:xfrm>
            <a:off x="0" y="5020348"/>
            <a:ext cx="12192000" cy="1837653"/>
            <a:chOff x="0" y="5020348"/>
            <a:chExt cx="12192000" cy="1837653"/>
          </a:xfrm>
        </p:grpSpPr>
        <p:sp>
          <p:nvSpPr>
            <p:cNvPr id="2175" name="Google Shape;2175;p26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76" name="Google Shape;2176;p26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177" name="Google Shape;2177;p26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99.xml><?xml version="1.0" encoding="utf-8"?>
<p:sldLayout xmlns:a="http://schemas.openxmlformats.org/drawingml/2006/main" xmlns:r="http://schemas.openxmlformats.org/officeDocument/2006/relationships" xmlns:p="http://schemas.openxmlformats.org/presentationml/2006/main" matchingName="Divider">
  <p:cSld name="Divider 18">
    <p:bg>
      <p:bgPr>
        <a:solidFill>
          <a:schemeClr val="lt2"/>
        </a:solidFill>
        <a:effectLst/>
      </p:bgPr>
    </p:bg>
    <p:spTree>
      <p:nvGrpSpPr>
        <p:cNvPr id="1" name="Shape 2178"/>
        <p:cNvGrpSpPr/>
        <p:nvPr/>
      </p:nvGrpSpPr>
      <p:grpSpPr>
        <a:xfrm>
          <a:off x="0" y="0"/>
          <a:ext cx="0" cy="0"/>
          <a:chOff x="0" y="0"/>
          <a:chExt cx="0" cy="0"/>
        </a:xfrm>
      </p:grpSpPr>
      <p:grpSp>
        <p:nvGrpSpPr>
          <p:cNvPr id="2179" name="Google Shape;2179;p270"/>
          <p:cNvGrpSpPr/>
          <p:nvPr/>
        </p:nvGrpSpPr>
        <p:grpSpPr>
          <a:xfrm>
            <a:off x="0" y="5020347"/>
            <a:ext cx="12192000" cy="1837653"/>
            <a:chOff x="0" y="5020347"/>
            <a:chExt cx="12192000" cy="1837653"/>
          </a:xfrm>
        </p:grpSpPr>
        <p:sp>
          <p:nvSpPr>
            <p:cNvPr id="2180" name="Google Shape;2180;p27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81" name="Google Shape;2181;p27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82" name="Google Shape;2182;p27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183" name="Google Shape;2183;p27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184" name="Google Shape;2184;p27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85" name="Google Shape;2185;p27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202018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594052774"/>
      </p:ext>
    </p:extLst>
  </p:cSld>
  <p:clrMapOvr>
    <a:masterClrMapping/>
  </p:clrMapOvr>
</p:sldLayout>
</file>

<file path=ppt/slideLayouts/slideLayout900.xml><?xml version="1.0" encoding="utf-8"?>
<p:sldLayout xmlns:a="http://schemas.openxmlformats.org/drawingml/2006/main" xmlns:r="http://schemas.openxmlformats.org/officeDocument/2006/relationships" xmlns:p="http://schemas.openxmlformats.org/presentationml/2006/main" matchingName="Photo Slide">
  <p:cSld name="Photo Slide 16">
    <p:spTree>
      <p:nvGrpSpPr>
        <p:cNvPr id="1" name="Shape 2186"/>
        <p:cNvGrpSpPr/>
        <p:nvPr/>
      </p:nvGrpSpPr>
      <p:grpSpPr>
        <a:xfrm>
          <a:off x="0" y="0"/>
          <a:ext cx="0" cy="0"/>
          <a:chOff x="0" y="0"/>
          <a:chExt cx="0" cy="0"/>
        </a:xfrm>
      </p:grpSpPr>
      <p:sp>
        <p:nvSpPr>
          <p:cNvPr id="2187" name="Google Shape;2187;p27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188" name="Google Shape;2188;p27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189" name="Google Shape;2189;p271"/>
          <p:cNvGrpSpPr/>
          <p:nvPr/>
        </p:nvGrpSpPr>
        <p:grpSpPr>
          <a:xfrm>
            <a:off x="0" y="5379426"/>
            <a:ext cx="2807368" cy="753891"/>
            <a:chOff x="0" y="5379426"/>
            <a:chExt cx="2807368" cy="753891"/>
          </a:xfrm>
        </p:grpSpPr>
        <p:sp>
          <p:nvSpPr>
            <p:cNvPr id="2190" name="Google Shape;2190;p27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91" name="Google Shape;2191;p27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192" name="Google Shape;2192;p271"/>
          <p:cNvSpPr>
            <a:spLocks noGrp="1"/>
          </p:cNvSpPr>
          <p:nvPr>
            <p:ph type="pic" idx="2"/>
          </p:nvPr>
        </p:nvSpPr>
        <p:spPr>
          <a:xfrm>
            <a:off x="2807368" y="457202"/>
            <a:ext cx="8915400" cy="5943598"/>
          </a:xfrm>
          <a:prstGeom prst="rect">
            <a:avLst/>
          </a:prstGeom>
          <a:noFill/>
          <a:ln>
            <a:noFill/>
          </a:ln>
        </p:spPr>
      </p:sp>
      <p:pic>
        <p:nvPicPr>
          <p:cNvPr id="2193" name="Google Shape;2193;p27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901.xml><?xml version="1.0" encoding="utf-8"?>
<p:sldLayout xmlns:a="http://schemas.openxmlformats.org/drawingml/2006/main" xmlns:r="http://schemas.openxmlformats.org/officeDocument/2006/relationships" xmlns:p="http://schemas.openxmlformats.org/presentationml/2006/main" matchingName="Quotation">
  <p:cSld name="Quotation 26">
    <p:spTree>
      <p:nvGrpSpPr>
        <p:cNvPr id="1" name="Shape 2194"/>
        <p:cNvGrpSpPr/>
        <p:nvPr/>
      </p:nvGrpSpPr>
      <p:grpSpPr>
        <a:xfrm>
          <a:off x="0" y="0"/>
          <a:ext cx="0" cy="0"/>
          <a:chOff x="0" y="0"/>
          <a:chExt cx="0" cy="0"/>
        </a:xfrm>
      </p:grpSpPr>
      <p:sp>
        <p:nvSpPr>
          <p:cNvPr id="2195" name="Google Shape;2195;p27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96" name="Google Shape;2196;p27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97" name="Google Shape;2197;p27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98" name="Google Shape;2198;p2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99" name="Google Shape;2199;p2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00" name="Google Shape;2200;p2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01" name="Google Shape;2201;p272"/>
          <p:cNvGrpSpPr/>
          <p:nvPr/>
        </p:nvGrpSpPr>
        <p:grpSpPr>
          <a:xfrm>
            <a:off x="7191542" y="1"/>
            <a:ext cx="5000459" cy="1425992"/>
            <a:chOff x="7191542" y="1"/>
            <a:chExt cx="5000459" cy="1425992"/>
          </a:xfrm>
        </p:grpSpPr>
        <p:pic>
          <p:nvPicPr>
            <p:cNvPr id="2202" name="Google Shape;2202;p2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03" name="Google Shape;2203;p272"/>
            <p:cNvGrpSpPr/>
            <p:nvPr/>
          </p:nvGrpSpPr>
          <p:grpSpPr>
            <a:xfrm>
              <a:off x="7191542" y="1"/>
              <a:ext cx="5000459" cy="1425992"/>
              <a:chOff x="7186272" y="0"/>
              <a:chExt cx="5005729" cy="1427495"/>
            </a:xfrm>
          </p:grpSpPr>
          <p:sp>
            <p:nvSpPr>
              <p:cNvPr id="2204" name="Google Shape;2204;p2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05" name="Google Shape;2205;p2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206" name="Google Shape;2206;p27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02.xml><?xml version="1.0" encoding="utf-8"?>
<p:sldLayout xmlns:a="http://schemas.openxmlformats.org/drawingml/2006/main" xmlns:r="http://schemas.openxmlformats.org/officeDocument/2006/relationships" xmlns:p="http://schemas.openxmlformats.org/presentationml/2006/main" matchingName="Title and Content">
  <p:cSld name="Title and Content 18">
    <p:spTree>
      <p:nvGrpSpPr>
        <p:cNvPr id="1" name="Shape 2207"/>
        <p:cNvGrpSpPr/>
        <p:nvPr/>
      </p:nvGrpSpPr>
      <p:grpSpPr>
        <a:xfrm>
          <a:off x="0" y="0"/>
          <a:ext cx="0" cy="0"/>
          <a:chOff x="0" y="0"/>
          <a:chExt cx="0" cy="0"/>
        </a:xfrm>
      </p:grpSpPr>
      <p:grpSp>
        <p:nvGrpSpPr>
          <p:cNvPr id="2208" name="Google Shape;2208;p273"/>
          <p:cNvGrpSpPr/>
          <p:nvPr/>
        </p:nvGrpSpPr>
        <p:grpSpPr>
          <a:xfrm>
            <a:off x="7191542" y="1"/>
            <a:ext cx="5000459" cy="1425992"/>
            <a:chOff x="7191542" y="1"/>
            <a:chExt cx="5000459" cy="1425992"/>
          </a:xfrm>
        </p:grpSpPr>
        <p:pic>
          <p:nvPicPr>
            <p:cNvPr id="2209" name="Google Shape;2209;p2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10" name="Google Shape;2210;p273"/>
            <p:cNvGrpSpPr/>
            <p:nvPr/>
          </p:nvGrpSpPr>
          <p:grpSpPr>
            <a:xfrm>
              <a:off x="7191542" y="1"/>
              <a:ext cx="5000459" cy="1425992"/>
              <a:chOff x="7186272" y="0"/>
              <a:chExt cx="5005729" cy="1427495"/>
            </a:xfrm>
          </p:grpSpPr>
          <p:sp>
            <p:nvSpPr>
              <p:cNvPr id="2211" name="Google Shape;2211;p2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12" name="Google Shape;2212;p2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213" name="Google Shape;2213;p27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14" name="Google Shape;2214;p27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15" name="Google Shape;2215;p27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216" name="Google Shape;2216;p2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17" name="Google Shape;2217;p2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03.xml><?xml version="1.0" encoding="utf-8"?>
<p:sldLayout xmlns:a="http://schemas.openxmlformats.org/drawingml/2006/main" xmlns:r="http://schemas.openxmlformats.org/officeDocument/2006/relationships" xmlns:p="http://schemas.openxmlformats.org/presentationml/2006/main" matchingName="Two Content">
  <p:cSld name="Two Content 15">
    <p:spTree>
      <p:nvGrpSpPr>
        <p:cNvPr id="1" name="Shape 2218"/>
        <p:cNvGrpSpPr/>
        <p:nvPr/>
      </p:nvGrpSpPr>
      <p:grpSpPr>
        <a:xfrm>
          <a:off x="0" y="0"/>
          <a:ext cx="0" cy="0"/>
          <a:chOff x="0" y="0"/>
          <a:chExt cx="0" cy="0"/>
        </a:xfrm>
      </p:grpSpPr>
      <p:sp>
        <p:nvSpPr>
          <p:cNvPr id="2219" name="Google Shape;2219;p27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20" name="Google Shape;2220;p27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221" name="Google Shape;2221;p274"/>
          <p:cNvGrpSpPr/>
          <p:nvPr/>
        </p:nvGrpSpPr>
        <p:grpSpPr>
          <a:xfrm>
            <a:off x="7191542" y="1"/>
            <a:ext cx="5000459" cy="1425992"/>
            <a:chOff x="7191542" y="1"/>
            <a:chExt cx="5000459" cy="1425992"/>
          </a:xfrm>
        </p:grpSpPr>
        <p:pic>
          <p:nvPicPr>
            <p:cNvPr id="2222" name="Google Shape;2222;p2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23" name="Google Shape;2223;p274"/>
            <p:cNvGrpSpPr/>
            <p:nvPr/>
          </p:nvGrpSpPr>
          <p:grpSpPr>
            <a:xfrm>
              <a:off x="7191542" y="1"/>
              <a:ext cx="5000459" cy="1425992"/>
              <a:chOff x="7186272" y="0"/>
              <a:chExt cx="5005729" cy="1427495"/>
            </a:xfrm>
          </p:grpSpPr>
          <p:sp>
            <p:nvSpPr>
              <p:cNvPr id="2224" name="Google Shape;2224;p2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25" name="Google Shape;2225;p2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226" name="Google Shape;2226;p27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27" name="Google Shape;2227;p27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228" name="Google Shape;2228;p2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29" name="Google Shape;2229;p2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04.xml><?xml version="1.0" encoding="utf-8"?>
<p:sldLayout xmlns:a="http://schemas.openxmlformats.org/drawingml/2006/main" xmlns:r="http://schemas.openxmlformats.org/officeDocument/2006/relationships" xmlns:p="http://schemas.openxmlformats.org/presentationml/2006/main" matchingName="Comparison">
  <p:cSld name="Comparison 15">
    <p:spTree>
      <p:nvGrpSpPr>
        <p:cNvPr id="1" name="Shape 2230"/>
        <p:cNvGrpSpPr/>
        <p:nvPr/>
      </p:nvGrpSpPr>
      <p:grpSpPr>
        <a:xfrm>
          <a:off x="0" y="0"/>
          <a:ext cx="0" cy="0"/>
          <a:chOff x="0" y="0"/>
          <a:chExt cx="0" cy="0"/>
        </a:xfrm>
      </p:grpSpPr>
      <p:grpSp>
        <p:nvGrpSpPr>
          <p:cNvPr id="2231" name="Google Shape;2231;p275"/>
          <p:cNvGrpSpPr/>
          <p:nvPr/>
        </p:nvGrpSpPr>
        <p:grpSpPr>
          <a:xfrm>
            <a:off x="7191542" y="1"/>
            <a:ext cx="5000459" cy="1425992"/>
            <a:chOff x="7191542" y="1"/>
            <a:chExt cx="5000459" cy="1425992"/>
          </a:xfrm>
        </p:grpSpPr>
        <p:pic>
          <p:nvPicPr>
            <p:cNvPr id="2232" name="Google Shape;2232;p27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33" name="Google Shape;2233;p275"/>
            <p:cNvGrpSpPr/>
            <p:nvPr/>
          </p:nvGrpSpPr>
          <p:grpSpPr>
            <a:xfrm>
              <a:off x="7191542" y="1"/>
              <a:ext cx="5000459" cy="1425992"/>
              <a:chOff x="7186272" y="0"/>
              <a:chExt cx="5005729" cy="1427495"/>
            </a:xfrm>
          </p:grpSpPr>
          <p:sp>
            <p:nvSpPr>
              <p:cNvPr id="2234" name="Google Shape;2234;p27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35" name="Google Shape;2235;p27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236" name="Google Shape;2236;p27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37" name="Google Shape;2237;p27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238" name="Google Shape;2238;p27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39" name="Google Shape;2239;p27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240" name="Google Shape;2240;p27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41" name="Google Shape;2241;p27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242" name="Google Shape;2242;p27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43" name="Google Shape;2243;p27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05.xml><?xml version="1.0" encoding="utf-8"?>
<p:sldLayout xmlns:a="http://schemas.openxmlformats.org/drawingml/2006/main" xmlns:r="http://schemas.openxmlformats.org/officeDocument/2006/relationships" xmlns:p="http://schemas.openxmlformats.org/presentationml/2006/main" matchingName="Title Only">
  <p:cSld name="Title Only 15">
    <p:spTree>
      <p:nvGrpSpPr>
        <p:cNvPr id="1" name="Shape 2244"/>
        <p:cNvGrpSpPr/>
        <p:nvPr/>
      </p:nvGrpSpPr>
      <p:grpSpPr>
        <a:xfrm>
          <a:off x="0" y="0"/>
          <a:ext cx="0" cy="0"/>
          <a:chOff x="0" y="0"/>
          <a:chExt cx="0" cy="0"/>
        </a:xfrm>
      </p:grpSpPr>
      <p:grpSp>
        <p:nvGrpSpPr>
          <p:cNvPr id="2245" name="Google Shape;2245;p276"/>
          <p:cNvGrpSpPr/>
          <p:nvPr/>
        </p:nvGrpSpPr>
        <p:grpSpPr>
          <a:xfrm>
            <a:off x="7191542" y="1"/>
            <a:ext cx="5000459" cy="1425992"/>
            <a:chOff x="7191542" y="1"/>
            <a:chExt cx="5000459" cy="1425992"/>
          </a:xfrm>
        </p:grpSpPr>
        <p:pic>
          <p:nvPicPr>
            <p:cNvPr id="2246" name="Google Shape;2246;p2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47" name="Google Shape;2247;p276"/>
            <p:cNvGrpSpPr/>
            <p:nvPr/>
          </p:nvGrpSpPr>
          <p:grpSpPr>
            <a:xfrm>
              <a:off x="7191542" y="1"/>
              <a:ext cx="5000459" cy="1425992"/>
              <a:chOff x="7186272" y="0"/>
              <a:chExt cx="5005729" cy="1427495"/>
            </a:xfrm>
          </p:grpSpPr>
          <p:sp>
            <p:nvSpPr>
              <p:cNvPr id="2248" name="Google Shape;2248;p2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49" name="Google Shape;2249;p2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250" name="Google Shape;2250;p27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51" name="Google Shape;2251;p2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252" name="Google Shape;2252;p2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53" name="Google Shape;2253;p2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06.xml><?xml version="1.0" encoding="utf-8"?>
<p:sldLayout xmlns:a="http://schemas.openxmlformats.org/drawingml/2006/main" xmlns:r="http://schemas.openxmlformats.org/officeDocument/2006/relationships" xmlns:p="http://schemas.openxmlformats.org/presentationml/2006/main" matchingName="End">
  <p:cSld name="End 16">
    <p:spTree>
      <p:nvGrpSpPr>
        <p:cNvPr id="1" name="Shape 2254"/>
        <p:cNvGrpSpPr/>
        <p:nvPr/>
      </p:nvGrpSpPr>
      <p:grpSpPr>
        <a:xfrm>
          <a:off x="0" y="0"/>
          <a:ext cx="0" cy="0"/>
          <a:chOff x="0" y="0"/>
          <a:chExt cx="0" cy="0"/>
        </a:xfrm>
      </p:grpSpPr>
      <p:grpSp>
        <p:nvGrpSpPr>
          <p:cNvPr id="2255" name="Google Shape;2255;p277"/>
          <p:cNvGrpSpPr/>
          <p:nvPr/>
        </p:nvGrpSpPr>
        <p:grpSpPr>
          <a:xfrm>
            <a:off x="0" y="0"/>
            <a:ext cx="12192000" cy="2148830"/>
            <a:chOff x="0" y="0"/>
            <a:chExt cx="12192000" cy="2148830"/>
          </a:xfrm>
        </p:grpSpPr>
        <p:sp>
          <p:nvSpPr>
            <p:cNvPr id="2256" name="Google Shape;2256;p27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57" name="Google Shape;2257;p27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258" name="Google Shape;2258;p27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59" name="Google Shape;2259;p27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0" name="Google Shape;2260;p27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261" name="Google Shape;2261;p27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262" name="Google Shape;2262;p27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907.xml><?xml version="1.0" encoding="utf-8"?>
<p:sldLayout xmlns:a="http://schemas.openxmlformats.org/drawingml/2006/main" xmlns:r="http://schemas.openxmlformats.org/officeDocument/2006/relationships" xmlns:p="http://schemas.openxmlformats.org/presentationml/2006/main" matchingName="Blank">
  <p:cSld name="Blank 16">
    <p:spTree>
      <p:nvGrpSpPr>
        <p:cNvPr id="1" name="Shape 2263"/>
        <p:cNvGrpSpPr/>
        <p:nvPr/>
      </p:nvGrpSpPr>
      <p:grpSpPr>
        <a:xfrm>
          <a:off x="0" y="0"/>
          <a:ext cx="0" cy="0"/>
          <a:chOff x="0" y="0"/>
          <a:chExt cx="0" cy="0"/>
        </a:xfrm>
      </p:grpSpPr>
      <p:sp>
        <p:nvSpPr>
          <p:cNvPr id="2264" name="Google Shape;2264;p2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265" name="Google Shape;2265;p2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66" name="Google Shape;2266;p2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67" name="Google Shape;2267;p278"/>
          <p:cNvGrpSpPr/>
          <p:nvPr/>
        </p:nvGrpSpPr>
        <p:grpSpPr>
          <a:xfrm>
            <a:off x="7191542" y="1"/>
            <a:ext cx="5000459" cy="1425992"/>
            <a:chOff x="7191542" y="1"/>
            <a:chExt cx="5000459" cy="1425992"/>
          </a:xfrm>
        </p:grpSpPr>
        <p:pic>
          <p:nvPicPr>
            <p:cNvPr id="2268" name="Google Shape;2268;p27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69" name="Google Shape;2269;p278"/>
            <p:cNvGrpSpPr/>
            <p:nvPr/>
          </p:nvGrpSpPr>
          <p:grpSpPr>
            <a:xfrm>
              <a:off x="7191542" y="1"/>
              <a:ext cx="5000459" cy="1425992"/>
              <a:chOff x="7186272" y="0"/>
              <a:chExt cx="5005729" cy="1427495"/>
            </a:xfrm>
          </p:grpSpPr>
          <p:sp>
            <p:nvSpPr>
              <p:cNvPr id="2270" name="Google Shape;2270;p2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71" name="Google Shape;2271;p2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908.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p:spTree>
      <p:nvGrpSpPr>
        <p:cNvPr id="1" name="Shape 2272"/>
        <p:cNvGrpSpPr/>
        <p:nvPr/>
      </p:nvGrpSpPr>
      <p:grpSpPr>
        <a:xfrm>
          <a:off x="0" y="0"/>
          <a:ext cx="0" cy="0"/>
          <a:chOff x="0" y="0"/>
          <a:chExt cx="0" cy="0"/>
        </a:xfrm>
      </p:grpSpPr>
      <p:sp>
        <p:nvSpPr>
          <p:cNvPr id="2273" name="Google Shape;2273;p279"/>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2274" name="Google Shape;2274;p279"/>
          <p:cNvPicPr preferRelativeResize="0"/>
          <p:nvPr/>
        </p:nvPicPr>
        <p:blipFill rotWithShape="1">
          <a:blip r:embed="rId2">
            <a:alphaModFix/>
          </a:blip>
          <a:srcRect/>
          <a:stretch/>
        </p:blipFill>
        <p:spPr>
          <a:xfrm>
            <a:off x="7945967" y="408518"/>
            <a:ext cx="3706284" cy="1813983"/>
          </a:xfrm>
          <a:prstGeom prst="rect">
            <a:avLst/>
          </a:prstGeom>
          <a:noFill/>
          <a:ln>
            <a:noFill/>
          </a:ln>
        </p:spPr>
      </p:pic>
      <p:grpSp>
        <p:nvGrpSpPr>
          <p:cNvPr id="2275" name="Google Shape;2275;p279"/>
          <p:cNvGrpSpPr/>
          <p:nvPr/>
        </p:nvGrpSpPr>
        <p:grpSpPr>
          <a:xfrm>
            <a:off x="0" y="0"/>
            <a:ext cx="1862667" cy="6629400"/>
            <a:chOff x="-15876" y="0"/>
            <a:chExt cx="1927803" cy="6858000"/>
          </a:xfrm>
        </p:grpSpPr>
        <p:sp>
          <p:nvSpPr>
            <p:cNvPr id="2276" name="Google Shape;2276;p279"/>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2277" name="Google Shape;2277;p279"/>
            <p:cNvPicPr preferRelativeResize="0"/>
            <p:nvPr/>
          </p:nvPicPr>
          <p:blipFill rotWithShape="1">
            <a:blip r:embed="rId3">
              <a:alphaModFix/>
            </a:blip>
            <a:srcRect l="7219" t="16937" r="72250" b="20588"/>
            <a:stretch/>
          </p:blipFill>
          <p:spPr>
            <a:xfrm>
              <a:off x="-15876" y="0"/>
              <a:ext cx="1927803" cy="6858000"/>
            </a:xfrm>
            <a:prstGeom prst="rect">
              <a:avLst/>
            </a:prstGeom>
            <a:solidFill>
              <a:schemeClr val="dk2"/>
            </a:solidFill>
            <a:ln>
              <a:noFill/>
            </a:ln>
          </p:spPr>
        </p:pic>
      </p:grpSp>
      <p:sp>
        <p:nvSpPr>
          <p:cNvPr id="2278" name="Google Shape;2278;p279"/>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279" name="Google Shape;2279;p279"/>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80" name="Google Shape;2280;p279"/>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81" name="Google Shape;2281;p279"/>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909.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p:spTree>
      <p:nvGrpSpPr>
        <p:cNvPr id="1" name="Shape 2282"/>
        <p:cNvGrpSpPr/>
        <p:nvPr/>
      </p:nvGrpSpPr>
      <p:grpSpPr>
        <a:xfrm>
          <a:off x="0" y="0"/>
          <a:ext cx="0" cy="0"/>
          <a:chOff x="0" y="0"/>
          <a:chExt cx="0" cy="0"/>
        </a:xfrm>
      </p:grpSpPr>
      <p:sp>
        <p:nvSpPr>
          <p:cNvPr id="2283" name="Google Shape;2283;p280"/>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2284" name="Google Shape;2284;p280"/>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85" name="Google Shape;2285;p280"/>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86" name="Google Shape;2286;p280"/>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87" name="Google Shape;2287;p2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2288" name="Google Shape;2288;p280"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847862978"/>
      </p:ext>
    </p:extLst>
  </p:cSld>
  <p:clrMapOvr>
    <a:masterClrMapping/>
  </p:clrMapOvr>
</p:sldLayout>
</file>

<file path=ppt/slideLayouts/slideLayout910.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2289"/>
        <p:cNvGrpSpPr/>
        <p:nvPr/>
      </p:nvGrpSpPr>
      <p:grpSpPr>
        <a:xfrm>
          <a:off x="0" y="0"/>
          <a:ext cx="0" cy="0"/>
          <a:chOff x="0" y="0"/>
          <a:chExt cx="0" cy="0"/>
        </a:xfrm>
      </p:grpSpPr>
      <p:grpSp>
        <p:nvGrpSpPr>
          <p:cNvPr id="2290" name="Google Shape;2290;p281"/>
          <p:cNvGrpSpPr/>
          <p:nvPr/>
        </p:nvGrpSpPr>
        <p:grpSpPr>
          <a:xfrm>
            <a:off x="7191542" y="1"/>
            <a:ext cx="5000459" cy="1425992"/>
            <a:chOff x="7191542" y="1"/>
            <a:chExt cx="5000459" cy="1425992"/>
          </a:xfrm>
        </p:grpSpPr>
        <p:pic>
          <p:nvPicPr>
            <p:cNvPr id="2291" name="Google Shape;2291;p2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92" name="Google Shape;2292;p281"/>
            <p:cNvGrpSpPr/>
            <p:nvPr/>
          </p:nvGrpSpPr>
          <p:grpSpPr>
            <a:xfrm>
              <a:off x="7191542" y="1"/>
              <a:ext cx="5000459" cy="1425992"/>
              <a:chOff x="7186272" y="0"/>
              <a:chExt cx="5005729" cy="1427495"/>
            </a:xfrm>
          </p:grpSpPr>
          <p:sp>
            <p:nvSpPr>
              <p:cNvPr id="2293" name="Google Shape;2293;p2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2294" name="Google Shape;2294;p2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grpSp>
      </p:grpSp>
      <p:sp>
        <p:nvSpPr>
          <p:cNvPr id="2295" name="Google Shape;2295;p28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96" name="Google Shape;2296;p28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97" name="Google Shape;2297;p2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1pPr>
            <a:lvl2pPr marL="0" marR="0" lvl="1"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2pPr>
            <a:lvl3pPr marL="0" marR="0" lvl="2"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3pPr>
            <a:lvl4pPr marL="0" marR="0" lvl="3"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4pPr>
            <a:lvl5pPr marL="0" marR="0" lvl="4"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5pPr>
            <a:lvl6pPr marL="0" marR="0" lvl="5"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6pPr>
            <a:lvl7pPr marL="0" marR="0" lvl="6"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7pPr>
            <a:lvl8pPr marL="0" marR="0" lvl="7"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8pPr>
            <a:lvl9pPr marL="0" marR="0" lvl="8"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298" name="Google Shape;2298;p2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99" name="Google Shape;2299;p2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911.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2300"/>
        <p:cNvGrpSpPr/>
        <p:nvPr/>
      </p:nvGrpSpPr>
      <p:grpSpPr>
        <a:xfrm>
          <a:off x="0" y="0"/>
          <a:ext cx="0" cy="0"/>
          <a:chOff x="0" y="0"/>
          <a:chExt cx="0" cy="0"/>
        </a:xfrm>
      </p:grpSpPr>
      <p:sp>
        <p:nvSpPr>
          <p:cNvPr id="2301" name="Google Shape;2301;p28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302" name="Google Shape;2302;p28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303" name="Google Shape;2303;p282"/>
          <p:cNvGrpSpPr/>
          <p:nvPr/>
        </p:nvGrpSpPr>
        <p:grpSpPr>
          <a:xfrm>
            <a:off x="0" y="5379426"/>
            <a:ext cx="2807368" cy="753891"/>
            <a:chOff x="0" y="5379426"/>
            <a:chExt cx="2807368" cy="753891"/>
          </a:xfrm>
        </p:grpSpPr>
        <p:sp>
          <p:nvSpPr>
            <p:cNvPr id="2304" name="Google Shape;2304;p28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sp>
          <p:nvSpPr>
            <p:cNvPr id="2305" name="Google Shape;2305;p28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grpSp>
      <p:sp>
        <p:nvSpPr>
          <p:cNvPr id="2306" name="Google Shape;2306;p282"/>
          <p:cNvSpPr>
            <a:spLocks noGrp="1"/>
          </p:cNvSpPr>
          <p:nvPr>
            <p:ph type="pic" idx="2"/>
          </p:nvPr>
        </p:nvSpPr>
        <p:spPr>
          <a:xfrm>
            <a:off x="2807368" y="457202"/>
            <a:ext cx="8915400" cy="5943598"/>
          </a:xfrm>
          <a:prstGeom prst="rect">
            <a:avLst/>
          </a:prstGeom>
          <a:noFill/>
          <a:ln>
            <a:noFill/>
          </a:ln>
        </p:spPr>
      </p:sp>
      <p:pic>
        <p:nvPicPr>
          <p:cNvPr id="2307" name="Google Shape;2307;p28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912.xml><?xml version="1.0" encoding="utf-8"?>
<p:sldLayout xmlns:a="http://schemas.openxmlformats.org/drawingml/2006/main" xmlns:r="http://schemas.openxmlformats.org/officeDocument/2006/relationships" xmlns:p="http://schemas.openxmlformats.org/presentationml/2006/main" matchingName="2_Title Slide">
  <p:cSld name="2_Title Slide">
    <p:spTree>
      <p:nvGrpSpPr>
        <p:cNvPr id="1" name="Shape 2308"/>
        <p:cNvGrpSpPr/>
        <p:nvPr/>
      </p:nvGrpSpPr>
      <p:grpSpPr>
        <a:xfrm>
          <a:off x="0" y="0"/>
          <a:ext cx="0" cy="0"/>
          <a:chOff x="0" y="0"/>
          <a:chExt cx="0" cy="0"/>
        </a:xfrm>
      </p:grpSpPr>
      <p:pic>
        <p:nvPicPr>
          <p:cNvPr id="2309" name="Google Shape;2309;p283"/>
          <p:cNvPicPr preferRelativeResize="0"/>
          <p:nvPr/>
        </p:nvPicPr>
        <p:blipFill rotWithShape="1">
          <a:blip r:embed="rId2">
            <a:alphaModFix/>
          </a:blip>
          <a:srcRect/>
          <a:stretch/>
        </p:blipFill>
        <p:spPr>
          <a:xfrm>
            <a:off x="1524" y="857"/>
            <a:ext cx="12188952" cy="6856285"/>
          </a:xfrm>
          <a:prstGeom prst="rect">
            <a:avLst/>
          </a:prstGeom>
          <a:noFill/>
          <a:ln>
            <a:noFill/>
          </a:ln>
        </p:spPr>
      </p:pic>
      <p:pic>
        <p:nvPicPr>
          <p:cNvPr id="2310" name="Google Shape;2310;p283"/>
          <p:cNvPicPr preferRelativeResize="0"/>
          <p:nvPr/>
        </p:nvPicPr>
        <p:blipFill rotWithShape="1">
          <a:blip r:embed="rId3">
            <a:alphaModFix/>
          </a:blip>
          <a:srcRect/>
          <a:stretch/>
        </p:blipFill>
        <p:spPr>
          <a:xfrm>
            <a:off x="10802516" y="5915003"/>
            <a:ext cx="938786" cy="493777"/>
          </a:xfrm>
          <a:prstGeom prst="rect">
            <a:avLst/>
          </a:prstGeom>
          <a:noFill/>
          <a:ln>
            <a:noFill/>
          </a:ln>
        </p:spPr>
      </p:pic>
      <p:sp>
        <p:nvSpPr>
          <p:cNvPr id="2311" name="Google Shape;2311;p283"/>
          <p:cNvSpPr txBox="1">
            <a:spLocks noGrp="1"/>
          </p:cNvSpPr>
          <p:nvPr>
            <p:ph type="body" idx="1"/>
          </p:nvPr>
        </p:nvSpPr>
        <p:spPr>
          <a:xfrm>
            <a:off x="7459662"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4000"/>
              <a:buNone/>
              <a:defRPr sz="40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12" name="Google Shape;2312;p283"/>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2000"/>
              <a:buNone/>
              <a:defRPr sz="20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913.xml><?xml version="1.0" encoding="utf-8"?>
<p:sldLayout xmlns:a="http://schemas.openxmlformats.org/drawingml/2006/main" xmlns:r="http://schemas.openxmlformats.org/officeDocument/2006/relationships" xmlns:p="http://schemas.openxmlformats.org/presentationml/2006/main" matchingName="2_Title and Content">
  <p:cSld name="2_Title and Content 2">
    <p:spTree>
      <p:nvGrpSpPr>
        <p:cNvPr id="1" name="Shape 2313"/>
        <p:cNvGrpSpPr/>
        <p:nvPr/>
      </p:nvGrpSpPr>
      <p:grpSpPr>
        <a:xfrm>
          <a:off x="0" y="0"/>
          <a:ext cx="0" cy="0"/>
          <a:chOff x="0" y="0"/>
          <a:chExt cx="0" cy="0"/>
        </a:xfrm>
      </p:grpSpPr>
      <p:pic>
        <p:nvPicPr>
          <p:cNvPr id="2314" name="Google Shape;2314;p284"/>
          <p:cNvPicPr preferRelativeResize="0"/>
          <p:nvPr/>
        </p:nvPicPr>
        <p:blipFill rotWithShape="1">
          <a:blip r:embed="rId2">
            <a:alphaModFix/>
          </a:blip>
          <a:srcRect/>
          <a:stretch/>
        </p:blipFill>
        <p:spPr>
          <a:xfrm>
            <a:off x="2119" y="762"/>
            <a:ext cx="12189292" cy="6856476"/>
          </a:xfrm>
          <a:prstGeom prst="rect">
            <a:avLst/>
          </a:prstGeom>
          <a:noFill/>
          <a:ln>
            <a:noFill/>
          </a:ln>
        </p:spPr>
      </p:pic>
      <p:sp>
        <p:nvSpPr>
          <p:cNvPr id="2315" name="Google Shape;2315;p28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16" name="Google Shape;2316;p28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solidFill>
                  <a:srgbClr val="59CBE8"/>
                </a:solidFill>
              </a:defRPr>
            </a:lvl1pPr>
            <a:lvl2pPr marL="0" lvl="1" indent="0" algn="r">
              <a:spcBef>
                <a:spcPts val="0"/>
              </a:spcBef>
              <a:buNone/>
              <a:defRPr>
                <a:solidFill>
                  <a:srgbClr val="59CBE8"/>
                </a:solidFill>
              </a:defRPr>
            </a:lvl2pPr>
            <a:lvl3pPr marL="0" lvl="2" indent="0" algn="r">
              <a:spcBef>
                <a:spcPts val="0"/>
              </a:spcBef>
              <a:buNone/>
              <a:defRPr>
                <a:solidFill>
                  <a:srgbClr val="59CBE8"/>
                </a:solidFill>
              </a:defRPr>
            </a:lvl3pPr>
            <a:lvl4pPr marL="0" lvl="3" indent="0" algn="r">
              <a:spcBef>
                <a:spcPts val="0"/>
              </a:spcBef>
              <a:buNone/>
              <a:defRPr>
                <a:solidFill>
                  <a:srgbClr val="59CBE8"/>
                </a:solidFill>
              </a:defRPr>
            </a:lvl4pPr>
            <a:lvl5pPr marL="0" lvl="4" indent="0" algn="r">
              <a:spcBef>
                <a:spcPts val="0"/>
              </a:spcBef>
              <a:buNone/>
              <a:defRPr>
                <a:solidFill>
                  <a:srgbClr val="59CBE8"/>
                </a:solidFill>
              </a:defRPr>
            </a:lvl5pPr>
            <a:lvl6pPr marL="0" lvl="5" indent="0" algn="r">
              <a:spcBef>
                <a:spcPts val="0"/>
              </a:spcBef>
              <a:buNone/>
              <a:defRPr>
                <a:solidFill>
                  <a:srgbClr val="59CBE8"/>
                </a:solidFill>
              </a:defRPr>
            </a:lvl6pPr>
            <a:lvl7pPr marL="0" lvl="6" indent="0" algn="r">
              <a:spcBef>
                <a:spcPts val="0"/>
              </a:spcBef>
              <a:buNone/>
              <a:defRPr>
                <a:solidFill>
                  <a:srgbClr val="59CBE8"/>
                </a:solidFill>
              </a:defRPr>
            </a:lvl7pPr>
            <a:lvl8pPr marL="0" lvl="7" indent="0" algn="r">
              <a:spcBef>
                <a:spcPts val="0"/>
              </a:spcBef>
              <a:buNone/>
              <a:defRPr>
                <a:solidFill>
                  <a:srgbClr val="59CBE8"/>
                </a:solidFill>
              </a:defRPr>
            </a:lvl8pPr>
            <a:lvl9pPr marL="0" lvl="8" indent="0" algn="r">
              <a:spcBef>
                <a:spcPts val="0"/>
              </a:spcBef>
              <a:buNone/>
              <a:defRPr>
                <a:solidFill>
                  <a:srgbClr val="59CBE8"/>
                </a:solidFill>
              </a:defRPr>
            </a:lvl9pPr>
          </a:lstStyle>
          <a:p>
            <a:pPr marL="0" lvl="0" indent="0" algn="r" rtl="0">
              <a:spcBef>
                <a:spcPts val="0"/>
              </a:spcBef>
              <a:spcAft>
                <a:spcPts val="0"/>
              </a:spcAft>
              <a:buNone/>
            </a:pPr>
            <a:fld id="{00000000-1234-1234-1234-123412341234}" type="slidenum">
              <a:rPr lang="en-US"/>
              <a:t>‹#›</a:t>
            </a:fld>
            <a:endParaRPr/>
          </a:p>
        </p:txBody>
      </p:sp>
      <p:sp>
        <p:nvSpPr>
          <p:cNvPr id="2317" name="Google Shape;2317;p284"/>
          <p:cNvSpPr txBox="1">
            <a:spLocks noGrp="1"/>
          </p:cNvSpPr>
          <p:nvPr>
            <p:ph type="body" idx="1"/>
          </p:nvPr>
        </p:nvSpPr>
        <p:spPr>
          <a:xfrm>
            <a:off x="838200" y="1825629"/>
            <a:ext cx="10515600" cy="4016375"/>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lvl1pPr>
            <a:lvl2pPr marL="914400" lvl="1" indent="-355600" algn="l">
              <a:lnSpc>
                <a:spcPct val="100000"/>
              </a:lnSpc>
              <a:spcBef>
                <a:spcPts val="1000"/>
              </a:spcBef>
              <a:spcAft>
                <a:spcPts val="0"/>
              </a:spcAft>
              <a:buSzPts val="20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914.xml><?xml version="1.0" encoding="utf-8"?>
<p:sldLayout xmlns:a="http://schemas.openxmlformats.org/drawingml/2006/main" xmlns:r="http://schemas.openxmlformats.org/officeDocument/2006/relationships" xmlns:p="http://schemas.openxmlformats.org/presentationml/2006/main" matchingName="Image Left">
  <p:cSld name="Image Left">
    <p:spTree>
      <p:nvGrpSpPr>
        <p:cNvPr id="1" name="Shape 2318"/>
        <p:cNvGrpSpPr/>
        <p:nvPr/>
      </p:nvGrpSpPr>
      <p:grpSpPr>
        <a:xfrm>
          <a:off x="0" y="0"/>
          <a:ext cx="0" cy="0"/>
          <a:chOff x="0" y="0"/>
          <a:chExt cx="0" cy="0"/>
        </a:xfrm>
      </p:grpSpPr>
      <p:pic>
        <p:nvPicPr>
          <p:cNvPr id="2319" name="Google Shape;2319;p285"/>
          <p:cNvPicPr preferRelativeResize="0"/>
          <p:nvPr/>
        </p:nvPicPr>
        <p:blipFill rotWithShape="1">
          <a:blip r:embed="rId2">
            <a:alphaModFix/>
          </a:blip>
          <a:srcRect/>
          <a:stretch/>
        </p:blipFill>
        <p:spPr>
          <a:xfrm>
            <a:off x="1524" y="858"/>
            <a:ext cx="12188952" cy="6856284"/>
          </a:xfrm>
          <a:prstGeom prst="rect">
            <a:avLst/>
          </a:prstGeom>
          <a:noFill/>
          <a:ln>
            <a:noFill/>
          </a:ln>
        </p:spPr>
      </p:pic>
      <p:sp>
        <p:nvSpPr>
          <p:cNvPr id="2320" name="Google Shape;2320;p285"/>
          <p:cNvSpPr txBox="1">
            <a:spLocks noGrp="1"/>
          </p:cNvSpPr>
          <p:nvPr>
            <p:ph type="title"/>
          </p:nvPr>
        </p:nvSpPr>
        <p:spPr>
          <a:xfrm>
            <a:off x="6905173" y="365129"/>
            <a:ext cx="4927259"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21" name="Google Shape;2321;p28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solidFill>
                  <a:srgbClr val="59CBE8"/>
                </a:solidFill>
              </a:defRPr>
            </a:lvl1pPr>
            <a:lvl2pPr marL="0" lvl="1" indent="0" algn="r">
              <a:spcBef>
                <a:spcPts val="0"/>
              </a:spcBef>
              <a:buNone/>
              <a:defRPr>
                <a:solidFill>
                  <a:srgbClr val="59CBE8"/>
                </a:solidFill>
              </a:defRPr>
            </a:lvl2pPr>
            <a:lvl3pPr marL="0" lvl="2" indent="0" algn="r">
              <a:spcBef>
                <a:spcPts val="0"/>
              </a:spcBef>
              <a:buNone/>
              <a:defRPr>
                <a:solidFill>
                  <a:srgbClr val="59CBE8"/>
                </a:solidFill>
              </a:defRPr>
            </a:lvl3pPr>
            <a:lvl4pPr marL="0" lvl="3" indent="0" algn="r">
              <a:spcBef>
                <a:spcPts val="0"/>
              </a:spcBef>
              <a:buNone/>
              <a:defRPr>
                <a:solidFill>
                  <a:srgbClr val="59CBE8"/>
                </a:solidFill>
              </a:defRPr>
            </a:lvl4pPr>
            <a:lvl5pPr marL="0" lvl="4" indent="0" algn="r">
              <a:spcBef>
                <a:spcPts val="0"/>
              </a:spcBef>
              <a:buNone/>
              <a:defRPr>
                <a:solidFill>
                  <a:srgbClr val="59CBE8"/>
                </a:solidFill>
              </a:defRPr>
            </a:lvl5pPr>
            <a:lvl6pPr marL="0" lvl="5" indent="0" algn="r">
              <a:spcBef>
                <a:spcPts val="0"/>
              </a:spcBef>
              <a:buNone/>
              <a:defRPr>
                <a:solidFill>
                  <a:srgbClr val="59CBE8"/>
                </a:solidFill>
              </a:defRPr>
            </a:lvl6pPr>
            <a:lvl7pPr marL="0" lvl="6" indent="0" algn="r">
              <a:spcBef>
                <a:spcPts val="0"/>
              </a:spcBef>
              <a:buNone/>
              <a:defRPr>
                <a:solidFill>
                  <a:srgbClr val="59CBE8"/>
                </a:solidFill>
              </a:defRPr>
            </a:lvl7pPr>
            <a:lvl8pPr marL="0" lvl="7" indent="0" algn="r">
              <a:spcBef>
                <a:spcPts val="0"/>
              </a:spcBef>
              <a:buNone/>
              <a:defRPr>
                <a:solidFill>
                  <a:srgbClr val="59CBE8"/>
                </a:solidFill>
              </a:defRPr>
            </a:lvl8pPr>
            <a:lvl9pPr marL="0" lvl="8" indent="0" algn="r">
              <a:spcBef>
                <a:spcPts val="0"/>
              </a:spcBef>
              <a:buNone/>
              <a:defRPr>
                <a:solidFill>
                  <a:srgbClr val="59CBE8"/>
                </a:solidFill>
              </a:defRPr>
            </a:lvl9pPr>
          </a:lstStyle>
          <a:p>
            <a:pPr marL="0" lvl="0" indent="0" algn="r" rtl="0">
              <a:spcBef>
                <a:spcPts val="0"/>
              </a:spcBef>
              <a:spcAft>
                <a:spcPts val="0"/>
              </a:spcAft>
              <a:buNone/>
            </a:pPr>
            <a:fld id="{00000000-1234-1234-1234-123412341234}" type="slidenum">
              <a:rPr lang="en-US"/>
              <a:t>‹#›</a:t>
            </a:fld>
            <a:endParaRPr/>
          </a:p>
        </p:txBody>
      </p:sp>
      <p:sp>
        <p:nvSpPr>
          <p:cNvPr id="2322" name="Google Shape;2322;p285"/>
          <p:cNvSpPr txBox="1">
            <a:spLocks noGrp="1"/>
          </p:cNvSpPr>
          <p:nvPr>
            <p:ph type="body" idx="1"/>
          </p:nvPr>
        </p:nvSpPr>
        <p:spPr>
          <a:xfrm>
            <a:off x="6905173" y="1825629"/>
            <a:ext cx="4927259"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915.xml><?xml version="1.0" encoding="utf-8"?>
<p:sldLayout xmlns:a="http://schemas.openxmlformats.org/drawingml/2006/main" xmlns:r="http://schemas.openxmlformats.org/officeDocument/2006/relationships" xmlns:p="http://schemas.openxmlformats.org/presentationml/2006/main" matchingName="Breaker-4">
  <p:cSld name="Breaker-4">
    <p:spTree>
      <p:nvGrpSpPr>
        <p:cNvPr id="1" name="Shape 2323"/>
        <p:cNvGrpSpPr/>
        <p:nvPr/>
      </p:nvGrpSpPr>
      <p:grpSpPr>
        <a:xfrm>
          <a:off x="0" y="0"/>
          <a:ext cx="0" cy="0"/>
          <a:chOff x="0" y="0"/>
          <a:chExt cx="0" cy="0"/>
        </a:xfrm>
      </p:grpSpPr>
      <p:pic>
        <p:nvPicPr>
          <p:cNvPr id="2324" name="Google Shape;2324;p286"/>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2325" name="Google Shape;2325;p286"/>
          <p:cNvPicPr preferRelativeResize="0"/>
          <p:nvPr/>
        </p:nvPicPr>
        <p:blipFill rotWithShape="1">
          <a:blip r:embed="rId3">
            <a:alphaModFix/>
          </a:blip>
          <a:srcRect/>
          <a:stretch/>
        </p:blipFill>
        <p:spPr>
          <a:xfrm>
            <a:off x="10425152" y="5894636"/>
            <a:ext cx="1312781" cy="562270"/>
          </a:xfrm>
          <a:prstGeom prst="rect">
            <a:avLst/>
          </a:prstGeom>
          <a:noFill/>
          <a:ln>
            <a:noFill/>
          </a:ln>
        </p:spPr>
      </p:pic>
      <p:sp>
        <p:nvSpPr>
          <p:cNvPr id="2326" name="Google Shape;2326;p286"/>
          <p:cNvSpPr txBox="1">
            <a:spLocks noGrp="1"/>
          </p:cNvSpPr>
          <p:nvPr>
            <p:ph type="body" idx="1"/>
          </p:nvPr>
        </p:nvSpPr>
        <p:spPr>
          <a:xfrm>
            <a:off x="7459665"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27" name="Google Shape;2327;p286"/>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916.xml><?xml version="1.0" encoding="utf-8"?>
<p:sldLayout xmlns:a="http://schemas.openxmlformats.org/drawingml/2006/main" xmlns:r="http://schemas.openxmlformats.org/officeDocument/2006/relationships" xmlns:p="http://schemas.openxmlformats.org/presentationml/2006/main" matchingName="6_Title and Content">
  <p:cSld name="6_Title and Content">
    <p:spTree>
      <p:nvGrpSpPr>
        <p:cNvPr id="1" name="Shape 2328"/>
        <p:cNvGrpSpPr/>
        <p:nvPr/>
      </p:nvGrpSpPr>
      <p:grpSpPr>
        <a:xfrm>
          <a:off x="0" y="0"/>
          <a:ext cx="0" cy="0"/>
          <a:chOff x="0" y="0"/>
          <a:chExt cx="0" cy="0"/>
        </a:xfrm>
      </p:grpSpPr>
      <p:pic>
        <p:nvPicPr>
          <p:cNvPr id="2329" name="Google Shape;2329;p287"/>
          <p:cNvPicPr preferRelativeResize="0"/>
          <p:nvPr/>
        </p:nvPicPr>
        <p:blipFill rotWithShape="1">
          <a:blip r:embed="rId2">
            <a:alphaModFix/>
          </a:blip>
          <a:srcRect/>
          <a:stretch/>
        </p:blipFill>
        <p:spPr>
          <a:xfrm>
            <a:off x="1524" y="0"/>
            <a:ext cx="12190476" cy="6858000"/>
          </a:xfrm>
          <a:prstGeom prst="rect">
            <a:avLst/>
          </a:prstGeom>
          <a:noFill/>
          <a:ln>
            <a:noFill/>
          </a:ln>
        </p:spPr>
      </p:pic>
      <p:sp>
        <p:nvSpPr>
          <p:cNvPr id="2330" name="Google Shape;2330;p28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31" name="Google Shape;2331;p28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2332" name="Google Shape;2332;p287"/>
          <p:cNvSpPr txBox="1">
            <a:spLocks noGrp="1"/>
          </p:cNvSpPr>
          <p:nvPr>
            <p:ph type="body" idx="1"/>
          </p:nvPr>
        </p:nvSpPr>
        <p:spPr>
          <a:xfrm>
            <a:off x="838200" y="1825625"/>
            <a:ext cx="10515600"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917.xml><?xml version="1.0" encoding="utf-8"?>
<p:sldLayout xmlns:a="http://schemas.openxmlformats.org/drawingml/2006/main" xmlns:r="http://schemas.openxmlformats.org/officeDocument/2006/relationships" xmlns:p="http://schemas.openxmlformats.org/presentationml/2006/main" matchingName="Blue Graphic Right">
  <p:cSld name="Blue Graphic Right">
    <p:spTree>
      <p:nvGrpSpPr>
        <p:cNvPr id="1" name="Shape 2333"/>
        <p:cNvGrpSpPr/>
        <p:nvPr/>
      </p:nvGrpSpPr>
      <p:grpSpPr>
        <a:xfrm>
          <a:off x="0" y="0"/>
          <a:ext cx="0" cy="0"/>
          <a:chOff x="0" y="0"/>
          <a:chExt cx="0" cy="0"/>
        </a:xfrm>
      </p:grpSpPr>
      <p:pic>
        <p:nvPicPr>
          <p:cNvPr id="2334" name="Google Shape;2334;p288"/>
          <p:cNvPicPr preferRelativeResize="0"/>
          <p:nvPr/>
        </p:nvPicPr>
        <p:blipFill rotWithShape="1">
          <a:blip r:embed="rId2">
            <a:alphaModFix/>
          </a:blip>
          <a:srcRect/>
          <a:stretch/>
        </p:blipFill>
        <p:spPr>
          <a:xfrm>
            <a:off x="0" y="0"/>
            <a:ext cx="12188952" cy="6858000"/>
          </a:xfrm>
          <a:prstGeom prst="rect">
            <a:avLst/>
          </a:prstGeom>
          <a:noFill/>
          <a:ln>
            <a:noFill/>
          </a:ln>
        </p:spPr>
      </p:pic>
      <p:sp>
        <p:nvSpPr>
          <p:cNvPr id="2335" name="Google Shape;2335;p288"/>
          <p:cNvSpPr txBox="1">
            <a:spLocks noGrp="1"/>
          </p:cNvSpPr>
          <p:nvPr>
            <p:ph type="title"/>
          </p:nvPr>
        </p:nvSpPr>
        <p:spPr>
          <a:xfrm>
            <a:off x="838200" y="365125"/>
            <a:ext cx="6085114"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36" name="Google Shape;2336;p288"/>
          <p:cNvSpPr txBox="1">
            <a:spLocks noGrp="1"/>
          </p:cNvSpPr>
          <p:nvPr>
            <p:ph type="body" idx="1"/>
          </p:nvPr>
        </p:nvSpPr>
        <p:spPr>
          <a:xfrm>
            <a:off x="838200" y="1825625"/>
            <a:ext cx="6085114"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37" name="Google Shape;2337;p288"/>
          <p:cNvSpPr txBox="1">
            <a:spLocks noGrp="1"/>
          </p:cNvSpPr>
          <p:nvPr>
            <p:ph type="sldNum" idx="12"/>
          </p:nvPr>
        </p:nvSpPr>
        <p:spPr>
          <a:xfrm>
            <a:off x="9292771" y="6464300"/>
            <a:ext cx="2539660" cy="181800"/>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chemeClr val="dk2"/>
                </a:solidFill>
                <a:latin typeface="Calibri"/>
                <a:ea typeface="Calibri"/>
                <a:cs typeface="Calibri"/>
                <a:sym typeface="Calibri"/>
              </a:defRPr>
            </a:lvl1pPr>
            <a:lvl2pPr marL="0" lvl="1" indent="0" algn="r">
              <a:spcBef>
                <a:spcPts val="0"/>
              </a:spcBef>
              <a:buNone/>
              <a:defRPr sz="1200">
                <a:solidFill>
                  <a:schemeClr val="dk2"/>
                </a:solidFill>
                <a:latin typeface="Calibri"/>
                <a:ea typeface="Calibri"/>
                <a:cs typeface="Calibri"/>
                <a:sym typeface="Calibri"/>
              </a:defRPr>
            </a:lvl2pPr>
            <a:lvl3pPr marL="0" lvl="2" indent="0" algn="r">
              <a:spcBef>
                <a:spcPts val="0"/>
              </a:spcBef>
              <a:buNone/>
              <a:defRPr sz="1200">
                <a:solidFill>
                  <a:schemeClr val="dk2"/>
                </a:solidFill>
                <a:latin typeface="Calibri"/>
                <a:ea typeface="Calibri"/>
                <a:cs typeface="Calibri"/>
                <a:sym typeface="Calibri"/>
              </a:defRPr>
            </a:lvl3pPr>
            <a:lvl4pPr marL="0" lvl="3" indent="0" algn="r">
              <a:spcBef>
                <a:spcPts val="0"/>
              </a:spcBef>
              <a:buNone/>
              <a:defRPr sz="1200">
                <a:solidFill>
                  <a:schemeClr val="dk2"/>
                </a:solidFill>
                <a:latin typeface="Calibri"/>
                <a:ea typeface="Calibri"/>
                <a:cs typeface="Calibri"/>
                <a:sym typeface="Calibri"/>
              </a:defRPr>
            </a:lvl4pPr>
            <a:lvl5pPr marL="0" lvl="4" indent="0" algn="r">
              <a:spcBef>
                <a:spcPts val="0"/>
              </a:spcBef>
              <a:buNone/>
              <a:defRPr sz="1200">
                <a:solidFill>
                  <a:schemeClr val="dk2"/>
                </a:solidFill>
                <a:latin typeface="Calibri"/>
                <a:ea typeface="Calibri"/>
                <a:cs typeface="Calibri"/>
                <a:sym typeface="Calibri"/>
              </a:defRPr>
            </a:lvl5pPr>
            <a:lvl6pPr marL="0" lvl="5" indent="0" algn="r">
              <a:spcBef>
                <a:spcPts val="0"/>
              </a:spcBef>
              <a:buNone/>
              <a:defRPr sz="1200">
                <a:solidFill>
                  <a:schemeClr val="dk2"/>
                </a:solidFill>
                <a:latin typeface="Calibri"/>
                <a:ea typeface="Calibri"/>
                <a:cs typeface="Calibri"/>
                <a:sym typeface="Calibri"/>
              </a:defRPr>
            </a:lvl6pPr>
            <a:lvl7pPr marL="0" lvl="6" indent="0" algn="r">
              <a:spcBef>
                <a:spcPts val="0"/>
              </a:spcBef>
              <a:buNone/>
              <a:defRPr sz="1200">
                <a:solidFill>
                  <a:schemeClr val="dk2"/>
                </a:solidFill>
                <a:latin typeface="Calibri"/>
                <a:ea typeface="Calibri"/>
                <a:cs typeface="Calibri"/>
                <a:sym typeface="Calibri"/>
              </a:defRPr>
            </a:lvl7pPr>
            <a:lvl8pPr marL="0" lvl="7" indent="0" algn="r">
              <a:spcBef>
                <a:spcPts val="0"/>
              </a:spcBef>
              <a:buNone/>
              <a:defRPr sz="1200">
                <a:solidFill>
                  <a:schemeClr val="dk2"/>
                </a:solidFill>
                <a:latin typeface="Calibri"/>
                <a:ea typeface="Calibri"/>
                <a:cs typeface="Calibri"/>
                <a:sym typeface="Calibri"/>
              </a:defRPr>
            </a:lvl8pPr>
            <a:lvl9pPr marL="0" lvl="8" indent="0" algn="r">
              <a:spcBef>
                <a:spcPts val="0"/>
              </a:spcBef>
              <a:buNone/>
              <a:defRPr sz="1200">
                <a:solidFill>
                  <a:schemeClr val="dk2"/>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918.xml><?xml version="1.0" encoding="utf-8"?>
<p:sldLayout xmlns:a="http://schemas.openxmlformats.org/drawingml/2006/main" xmlns:r="http://schemas.openxmlformats.org/officeDocument/2006/relationships" xmlns:p="http://schemas.openxmlformats.org/presentationml/2006/main" matchingName="3-Closing Slide">
  <p:cSld name="3-Closing Slide">
    <p:spTree>
      <p:nvGrpSpPr>
        <p:cNvPr id="1" name="Shape 2338"/>
        <p:cNvGrpSpPr/>
        <p:nvPr/>
      </p:nvGrpSpPr>
      <p:grpSpPr>
        <a:xfrm>
          <a:off x="0" y="0"/>
          <a:ext cx="0" cy="0"/>
          <a:chOff x="0" y="0"/>
          <a:chExt cx="0" cy="0"/>
        </a:xfrm>
      </p:grpSpPr>
      <p:pic>
        <p:nvPicPr>
          <p:cNvPr id="2339" name="Google Shape;2339;p289"/>
          <p:cNvPicPr preferRelativeResize="0"/>
          <p:nvPr/>
        </p:nvPicPr>
        <p:blipFill rotWithShape="1">
          <a:blip r:embed="rId2">
            <a:alphaModFix/>
          </a:blip>
          <a:srcRect/>
          <a:stretch/>
        </p:blipFill>
        <p:spPr>
          <a:xfrm>
            <a:off x="1524" y="0"/>
            <a:ext cx="12188952" cy="6858000"/>
          </a:xfrm>
          <a:prstGeom prst="rect">
            <a:avLst/>
          </a:prstGeom>
          <a:noFill/>
          <a:ln>
            <a:noFill/>
          </a:ln>
        </p:spPr>
      </p:pic>
      <p:pic>
        <p:nvPicPr>
          <p:cNvPr id="2340" name="Google Shape;2340;p289"/>
          <p:cNvPicPr preferRelativeResize="0"/>
          <p:nvPr/>
        </p:nvPicPr>
        <p:blipFill rotWithShape="1">
          <a:blip r:embed="rId3">
            <a:alphaModFix/>
          </a:blip>
          <a:srcRect/>
          <a:stretch/>
        </p:blipFill>
        <p:spPr>
          <a:xfrm>
            <a:off x="5185224" y="2949956"/>
            <a:ext cx="1821552" cy="958089"/>
          </a:xfrm>
          <a:prstGeom prst="rect">
            <a:avLst/>
          </a:prstGeom>
          <a:noFill/>
          <a:ln>
            <a:noFill/>
          </a:ln>
        </p:spPr>
      </p:pic>
    </p:spTree>
  </p:cSld>
  <p:clrMapOvr>
    <a:masterClrMapping/>
  </p:clrMapOvr>
</p:sldLayout>
</file>

<file path=ppt/slideLayouts/slideLayout919.xml><?xml version="1.0" encoding="utf-8"?>
<p:sldLayout xmlns:a="http://schemas.openxmlformats.org/drawingml/2006/main" xmlns:r="http://schemas.openxmlformats.org/officeDocument/2006/relationships" xmlns:p="http://schemas.openxmlformats.org/presentationml/2006/main" matchingName="Title and Content">
  <p:cSld name="2_Title and Content 3">
    <p:spTree>
      <p:nvGrpSpPr>
        <p:cNvPr id="1" name="Shape 2341"/>
        <p:cNvGrpSpPr/>
        <p:nvPr/>
      </p:nvGrpSpPr>
      <p:grpSpPr>
        <a:xfrm>
          <a:off x="0" y="0"/>
          <a:ext cx="0" cy="0"/>
          <a:chOff x="0" y="0"/>
          <a:chExt cx="0" cy="0"/>
        </a:xfrm>
      </p:grpSpPr>
      <p:grpSp>
        <p:nvGrpSpPr>
          <p:cNvPr id="2342" name="Google Shape;2342;p290"/>
          <p:cNvGrpSpPr/>
          <p:nvPr/>
        </p:nvGrpSpPr>
        <p:grpSpPr>
          <a:xfrm>
            <a:off x="7191542" y="1"/>
            <a:ext cx="5000459" cy="1425992"/>
            <a:chOff x="7191542" y="1"/>
            <a:chExt cx="5000459" cy="1425992"/>
          </a:xfrm>
        </p:grpSpPr>
        <p:pic>
          <p:nvPicPr>
            <p:cNvPr id="2343" name="Google Shape;2343;p2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44" name="Google Shape;2344;p290"/>
            <p:cNvGrpSpPr/>
            <p:nvPr/>
          </p:nvGrpSpPr>
          <p:grpSpPr>
            <a:xfrm>
              <a:off x="7191542" y="1"/>
              <a:ext cx="5000459" cy="1425992"/>
              <a:chOff x="7186272" y="0"/>
              <a:chExt cx="5005729" cy="1427495"/>
            </a:xfrm>
          </p:grpSpPr>
          <p:sp>
            <p:nvSpPr>
              <p:cNvPr id="2345" name="Google Shape;2345;p2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2346" name="Google Shape;2346;p2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grpSp>
      </p:grpSp>
      <p:sp>
        <p:nvSpPr>
          <p:cNvPr id="2347" name="Google Shape;2347;p29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48" name="Google Shape;2348;p29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49" name="Google Shape;2349;p2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1pPr>
            <a:lvl2pPr marL="0" marR="0" lvl="1"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2pPr>
            <a:lvl3pPr marL="0" marR="0" lvl="2"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3pPr>
            <a:lvl4pPr marL="0" marR="0" lvl="3"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4pPr>
            <a:lvl5pPr marL="0" marR="0" lvl="4"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5pPr>
            <a:lvl6pPr marL="0" marR="0" lvl="5"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6pPr>
            <a:lvl7pPr marL="0" marR="0" lvl="6"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7pPr>
            <a:lvl8pPr marL="0" marR="0" lvl="7"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8pPr>
            <a:lvl9pPr marL="0" marR="0" lvl="8" indent="0" algn="r">
              <a:spcBef>
                <a:spcPts val="0"/>
              </a:spcBef>
              <a:spcAft>
                <a:spcPts val="0"/>
              </a:spcAft>
              <a:buClr>
                <a:srgbClr val="AEB3B7"/>
              </a:buClr>
              <a:buSzPts val="1200"/>
              <a:buFont typeface="Calibri"/>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50" name="Google Shape;2350;p2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51" name="Google Shape;2351;p2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76877181"/>
      </p:ext>
    </p:extLst>
  </p:cSld>
  <p:clrMapOvr>
    <a:masterClrMapping/>
  </p:clrMapOvr>
</p:sldLayout>
</file>

<file path=ppt/slideLayouts/slideLayout920.xml><?xml version="1.0" encoding="utf-8"?>
<p:sldLayout xmlns:a="http://schemas.openxmlformats.org/drawingml/2006/main" xmlns:r="http://schemas.openxmlformats.org/officeDocument/2006/relationships" xmlns:p="http://schemas.openxmlformats.org/presentationml/2006/main" matchingName="Photo Slide">
  <p:cSld name="1_Photo Slide 2">
    <p:spTree>
      <p:nvGrpSpPr>
        <p:cNvPr id="1" name="Shape 2352"/>
        <p:cNvGrpSpPr/>
        <p:nvPr/>
      </p:nvGrpSpPr>
      <p:grpSpPr>
        <a:xfrm>
          <a:off x="0" y="0"/>
          <a:ext cx="0" cy="0"/>
          <a:chOff x="0" y="0"/>
          <a:chExt cx="0" cy="0"/>
        </a:xfrm>
      </p:grpSpPr>
      <p:sp>
        <p:nvSpPr>
          <p:cNvPr id="2353" name="Google Shape;2353;p29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354" name="Google Shape;2354;p29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355" name="Google Shape;2355;p291"/>
          <p:cNvGrpSpPr/>
          <p:nvPr/>
        </p:nvGrpSpPr>
        <p:grpSpPr>
          <a:xfrm>
            <a:off x="0" y="5379426"/>
            <a:ext cx="2807368" cy="753891"/>
            <a:chOff x="0" y="5379426"/>
            <a:chExt cx="2807368" cy="753891"/>
          </a:xfrm>
        </p:grpSpPr>
        <p:sp>
          <p:nvSpPr>
            <p:cNvPr id="2356" name="Google Shape;2356;p29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sp>
          <p:nvSpPr>
            <p:cNvPr id="2357" name="Google Shape;2357;p29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grpSp>
      <p:sp>
        <p:nvSpPr>
          <p:cNvPr id="2358" name="Google Shape;2358;p291"/>
          <p:cNvSpPr>
            <a:spLocks noGrp="1"/>
          </p:cNvSpPr>
          <p:nvPr>
            <p:ph type="pic" idx="2"/>
          </p:nvPr>
        </p:nvSpPr>
        <p:spPr>
          <a:xfrm>
            <a:off x="2807368" y="457202"/>
            <a:ext cx="8915400" cy="5943598"/>
          </a:xfrm>
          <a:prstGeom prst="rect">
            <a:avLst/>
          </a:prstGeom>
          <a:noFill/>
          <a:ln>
            <a:noFill/>
          </a:ln>
        </p:spPr>
      </p:sp>
      <p:pic>
        <p:nvPicPr>
          <p:cNvPr id="2359" name="Google Shape;2359;p29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921.xml><?xml version="1.0" encoding="utf-8"?>
<p:sldLayout xmlns:a="http://schemas.openxmlformats.org/drawingml/2006/main" xmlns:r="http://schemas.openxmlformats.org/officeDocument/2006/relationships" xmlns:p="http://schemas.openxmlformats.org/presentationml/2006/main" matchingName="2_Title Slide">
  <p:cSld name="2_Title Slide 2">
    <p:spTree>
      <p:nvGrpSpPr>
        <p:cNvPr id="1" name="Shape 2360"/>
        <p:cNvGrpSpPr/>
        <p:nvPr/>
      </p:nvGrpSpPr>
      <p:grpSpPr>
        <a:xfrm>
          <a:off x="0" y="0"/>
          <a:ext cx="0" cy="0"/>
          <a:chOff x="0" y="0"/>
          <a:chExt cx="0" cy="0"/>
        </a:xfrm>
      </p:grpSpPr>
      <p:pic>
        <p:nvPicPr>
          <p:cNvPr id="2361" name="Google Shape;2361;p292"/>
          <p:cNvPicPr preferRelativeResize="0"/>
          <p:nvPr/>
        </p:nvPicPr>
        <p:blipFill rotWithShape="1">
          <a:blip r:embed="rId2">
            <a:alphaModFix/>
          </a:blip>
          <a:srcRect/>
          <a:stretch/>
        </p:blipFill>
        <p:spPr>
          <a:xfrm>
            <a:off x="1524" y="857"/>
            <a:ext cx="12188952" cy="6856285"/>
          </a:xfrm>
          <a:prstGeom prst="rect">
            <a:avLst/>
          </a:prstGeom>
          <a:noFill/>
          <a:ln>
            <a:noFill/>
          </a:ln>
        </p:spPr>
      </p:pic>
      <p:pic>
        <p:nvPicPr>
          <p:cNvPr id="2362" name="Google Shape;2362;p292"/>
          <p:cNvPicPr preferRelativeResize="0"/>
          <p:nvPr/>
        </p:nvPicPr>
        <p:blipFill rotWithShape="1">
          <a:blip r:embed="rId3">
            <a:alphaModFix/>
          </a:blip>
          <a:srcRect/>
          <a:stretch/>
        </p:blipFill>
        <p:spPr>
          <a:xfrm>
            <a:off x="10802516" y="5915003"/>
            <a:ext cx="938786" cy="493777"/>
          </a:xfrm>
          <a:prstGeom prst="rect">
            <a:avLst/>
          </a:prstGeom>
          <a:noFill/>
          <a:ln>
            <a:noFill/>
          </a:ln>
        </p:spPr>
      </p:pic>
      <p:sp>
        <p:nvSpPr>
          <p:cNvPr id="2363" name="Google Shape;2363;p292"/>
          <p:cNvSpPr txBox="1">
            <a:spLocks noGrp="1"/>
          </p:cNvSpPr>
          <p:nvPr>
            <p:ph type="body" idx="1"/>
          </p:nvPr>
        </p:nvSpPr>
        <p:spPr>
          <a:xfrm>
            <a:off x="7459662"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4000"/>
              <a:buNone/>
              <a:defRPr sz="40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64" name="Google Shape;2364;p292"/>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2000"/>
              <a:buNone/>
              <a:defRPr sz="20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922.xml><?xml version="1.0" encoding="utf-8"?>
<p:sldLayout xmlns:a="http://schemas.openxmlformats.org/drawingml/2006/main" xmlns:r="http://schemas.openxmlformats.org/officeDocument/2006/relationships" xmlns:p="http://schemas.openxmlformats.org/presentationml/2006/main" matchingName="Image Left">
  <p:cSld name="Image Left 2">
    <p:spTree>
      <p:nvGrpSpPr>
        <p:cNvPr id="1" name="Shape 2365"/>
        <p:cNvGrpSpPr/>
        <p:nvPr/>
      </p:nvGrpSpPr>
      <p:grpSpPr>
        <a:xfrm>
          <a:off x="0" y="0"/>
          <a:ext cx="0" cy="0"/>
          <a:chOff x="0" y="0"/>
          <a:chExt cx="0" cy="0"/>
        </a:xfrm>
      </p:grpSpPr>
      <p:pic>
        <p:nvPicPr>
          <p:cNvPr id="2366" name="Google Shape;2366;p293"/>
          <p:cNvPicPr preferRelativeResize="0"/>
          <p:nvPr/>
        </p:nvPicPr>
        <p:blipFill rotWithShape="1">
          <a:blip r:embed="rId2">
            <a:alphaModFix/>
          </a:blip>
          <a:srcRect/>
          <a:stretch/>
        </p:blipFill>
        <p:spPr>
          <a:xfrm>
            <a:off x="1524" y="858"/>
            <a:ext cx="12188952" cy="6856284"/>
          </a:xfrm>
          <a:prstGeom prst="rect">
            <a:avLst/>
          </a:prstGeom>
          <a:noFill/>
          <a:ln>
            <a:noFill/>
          </a:ln>
        </p:spPr>
      </p:pic>
      <p:sp>
        <p:nvSpPr>
          <p:cNvPr id="2367" name="Google Shape;2367;p293"/>
          <p:cNvSpPr txBox="1">
            <a:spLocks noGrp="1"/>
          </p:cNvSpPr>
          <p:nvPr>
            <p:ph type="title"/>
          </p:nvPr>
        </p:nvSpPr>
        <p:spPr>
          <a:xfrm>
            <a:off x="6905173" y="365129"/>
            <a:ext cx="4927259"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68" name="Google Shape;2368;p2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solidFill>
                  <a:srgbClr val="59CBE8"/>
                </a:solidFill>
              </a:defRPr>
            </a:lvl1pPr>
            <a:lvl2pPr marL="0" lvl="1" indent="0" algn="r">
              <a:spcBef>
                <a:spcPts val="0"/>
              </a:spcBef>
              <a:buNone/>
              <a:defRPr>
                <a:solidFill>
                  <a:srgbClr val="59CBE8"/>
                </a:solidFill>
              </a:defRPr>
            </a:lvl2pPr>
            <a:lvl3pPr marL="0" lvl="2" indent="0" algn="r">
              <a:spcBef>
                <a:spcPts val="0"/>
              </a:spcBef>
              <a:buNone/>
              <a:defRPr>
                <a:solidFill>
                  <a:srgbClr val="59CBE8"/>
                </a:solidFill>
              </a:defRPr>
            </a:lvl3pPr>
            <a:lvl4pPr marL="0" lvl="3" indent="0" algn="r">
              <a:spcBef>
                <a:spcPts val="0"/>
              </a:spcBef>
              <a:buNone/>
              <a:defRPr>
                <a:solidFill>
                  <a:srgbClr val="59CBE8"/>
                </a:solidFill>
              </a:defRPr>
            </a:lvl4pPr>
            <a:lvl5pPr marL="0" lvl="4" indent="0" algn="r">
              <a:spcBef>
                <a:spcPts val="0"/>
              </a:spcBef>
              <a:buNone/>
              <a:defRPr>
                <a:solidFill>
                  <a:srgbClr val="59CBE8"/>
                </a:solidFill>
              </a:defRPr>
            </a:lvl5pPr>
            <a:lvl6pPr marL="0" lvl="5" indent="0" algn="r">
              <a:spcBef>
                <a:spcPts val="0"/>
              </a:spcBef>
              <a:buNone/>
              <a:defRPr>
                <a:solidFill>
                  <a:srgbClr val="59CBE8"/>
                </a:solidFill>
              </a:defRPr>
            </a:lvl6pPr>
            <a:lvl7pPr marL="0" lvl="6" indent="0" algn="r">
              <a:spcBef>
                <a:spcPts val="0"/>
              </a:spcBef>
              <a:buNone/>
              <a:defRPr>
                <a:solidFill>
                  <a:srgbClr val="59CBE8"/>
                </a:solidFill>
              </a:defRPr>
            </a:lvl7pPr>
            <a:lvl8pPr marL="0" lvl="7" indent="0" algn="r">
              <a:spcBef>
                <a:spcPts val="0"/>
              </a:spcBef>
              <a:buNone/>
              <a:defRPr>
                <a:solidFill>
                  <a:srgbClr val="59CBE8"/>
                </a:solidFill>
              </a:defRPr>
            </a:lvl8pPr>
            <a:lvl9pPr marL="0" lvl="8" indent="0" algn="r">
              <a:spcBef>
                <a:spcPts val="0"/>
              </a:spcBef>
              <a:buNone/>
              <a:defRPr>
                <a:solidFill>
                  <a:srgbClr val="59CBE8"/>
                </a:solidFill>
              </a:defRPr>
            </a:lvl9pPr>
          </a:lstStyle>
          <a:p>
            <a:pPr marL="0" lvl="0" indent="0" algn="r" rtl="0">
              <a:spcBef>
                <a:spcPts val="0"/>
              </a:spcBef>
              <a:spcAft>
                <a:spcPts val="0"/>
              </a:spcAft>
              <a:buNone/>
            </a:pPr>
            <a:fld id="{00000000-1234-1234-1234-123412341234}" type="slidenum">
              <a:rPr lang="en-US"/>
              <a:t>‹#›</a:t>
            </a:fld>
            <a:endParaRPr/>
          </a:p>
        </p:txBody>
      </p:sp>
      <p:sp>
        <p:nvSpPr>
          <p:cNvPr id="2369" name="Google Shape;2369;p293"/>
          <p:cNvSpPr txBox="1">
            <a:spLocks noGrp="1"/>
          </p:cNvSpPr>
          <p:nvPr>
            <p:ph type="body" idx="1"/>
          </p:nvPr>
        </p:nvSpPr>
        <p:spPr>
          <a:xfrm>
            <a:off x="6905173" y="1825629"/>
            <a:ext cx="4927259"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923.xml><?xml version="1.0" encoding="utf-8"?>
<p:sldLayout xmlns:a="http://schemas.openxmlformats.org/drawingml/2006/main" xmlns:r="http://schemas.openxmlformats.org/officeDocument/2006/relationships" xmlns:p="http://schemas.openxmlformats.org/presentationml/2006/main" matchingName="Breaker-4">
  <p:cSld name="Breaker-4 2">
    <p:spTree>
      <p:nvGrpSpPr>
        <p:cNvPr id="1" name="Shape 2370"/>
        <p:cNvGrpSpPr/>
        <p:nvPr/>
      </p:nvGrpSpPr>
      <p:grpSpPr>
        <a:xfrm>
          <a:off x="0" y="0"/>
          <a:ext cx="0" cy="0"/>
          <a:chOff x="0" y="0"/>
          <a:chExt cx="0" cy="0"/>
        </a:xfrm>
      </p:grpSpPr>
      <p:pic>
        <p:nvPicPr>
          <p:cNvPr id="2371" name="Google Shape;2371;p294"/>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2372" name="Google Shape;2372;p294"/>
          <p:cNvPicPr preferRelativeResize="0"/>
          <p:nvPr/>
        </p:nvPicPr>
        <p:blipFill rotWithShape="1">
          <a:blip r:embed="rId3">
            <a:alphaModFix/>
          </a:blip>
          <a:srcRect/>
          <a:stretch/>
        </p:blipFill>
        <p:spPr>
          <a:xfrm>
            <a:off x="10425152" y="5894636"/>
            <a:ext cx="1312781" cy="562270"/>
          </a:xfrm>
          <a:prstGeom prst="rect">
            <a:avLst/>
          </a:prstGeom>
          <a:noFill/>
          <a:ln>
            <a:noFill/>
          </a:ln>
        </p:spPr>
      </p:pic>
      <p:sp>
        <p:nvSpPr>
          <p:cNvPr id="2373" name="Google Shape;2373;p294"/>
          <p:cNvSpPr txBox="1">
            <a:spLocks noGrp="1"/>
          </p:cNvSpPr>
          <p:nvPr>
            <p:ph type="body" idx="1"/>
          </p:nvPr>
        </p:nvSpPr>
        <p:spPr>
          <a:xfrm>
            <a:off x="7459665"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74" name="Google Shape;2374;p294"/>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924.xml><?xml version="1.0" encoding="utf-8"?>
<p:sldLayout xmlns:a="http://schemas.openxmlformats.org/drawingml/2006/main" xmlns:r="http://schemas.openxmlformats.org/officeDocument/2006/relationships" xmlns:p="http://schemas.openxmlformats.org/presentationml/2006/main" matchingName="6_Title and Content">
  <p:cSld name="6_Title and Content 2">
    <p:spTree>
      <p:nvGrpSpPr>
        <p:cNvPr id="1" name="Shape 2375"/>
        <p:cNvGrpSpPr/>
        <p:nvPr/>
      </p:nvGrpSpPr>
      <p:grpSpPr>
        <a:xfrm>
          <a:off x="0" y="0"/>
          <a:ext cx="0" cy="0"/>
          <a:chOff x="0" y="0"/>
          <a:chExt cx="0" cy="0"/>
        </a:xfrm>
      </p:grpSpPr>
      <p:pic>
        <p:nvPicPr>
          <p:cNvPr id="2376" name="Google Shape;2376;p295"/>
          <p:cNvPicPr preferRelativeResize="0"/>
          <p:nvPr/>
        </p:nvPicPr>
        <p:blipFill rotWithShape="1">
          <a:blip r:embed="rId2">
            <a:alphaModFix/>
          </a:blip>
          <a:srcRect t="12181" r="12170"/>
          <a:stretch/>
        </p:blipFill>
        <p:spPr>
          <a:xfrm>
            <a:off x="1524" y="0"/>
            <a:ext cx="12190476" cy="6858000"/>
          </a:xfrm>
          <a:prstGeom prst="rect">
            <a:avLst/>
          </a:prstGeom>
          <a:noFill/>
          <a:ln>
            <a:noFill/>
          </a:ln>
        </p:spPr>
      </p:pic>
      <p:sp>
        <p:nvSpPr>
          <p:cNvPr id="2377" name="Google Shape;2377;p29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78" name="Google Shape;2378;p29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2379" name="Google Shape;2379;p295"/>
          <p:cNvSpPr txBox="1">
            <a:spLocks noGrp="1"/>
          </p:cNvSpPr>
          <p:nvPr>
            <p:ph type="body" idx="1"/>
          </p:nvPr>
        </p:nvSpPr>
        <p:spPr>
          <a:xfrm>
            <a:off x="838200" y="1825625"/>
            <a:ext cx="10515600"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925.xml><?xml version="1.0" encoding="utf-8"?>
<p:sldLayout xmlns:a="http://schemas.openxmlformats.org/drawingml/2006/main" xmlns:r="http://schemas.openxmlformats.org/officeDocument/2006/relationships" xmlns:p="http://schemas.openxmlformats.org/presentationml/2006/main" matchingName="Blue Graphic Right">
  <p:cSld name="Blue Graphic Right 2">
    <p:spTree>
      <p:nvGrpSpPr>
        <p:cNvPr id="1" name="Shape 2380"/>
        <p:cNvGrpSpPr/>
        <p:nvPr/>
      </p:nvGrpSpPr>
      <p:grpSpPr>
        <a:xfrm>
          <a:off x="0" y="0"/>
          <a:ext cx="0" cy="0"/>
          <a:chOff x="0" y="0"/>
          <a:chExt cx="0" cy="0"/>
        </a:xfrm>
      </p:grpSpPr>
      <p:pic>
        <p:nvPicPr>
          <p:cNvPr id="2381" name="Google Shape;2381;p296"/>
          <p:cNvPicPr preferRelativeResize="0"/>
          <p:nvPr/>
        </p:nvPicPr>
        <p:blipFill rotWithShape="1">
          <a:blip r:embed="rId2">
            <a:alphaModFix/>
          </a:blip>
          <a:srcRect/>
          <a:stretch/>
        </p:blipFill>
        <p:spPr>
          <a:xfrm>
            <a:off x="0" y="0"/>
            <a:ext cx="12188952" cy="6858000"/>
          </a:xfrm>
          <a:prstGeom prst="rect">
            <a:avLst/>
          </a:prstGeom>
          <a:noFill/>
          <a:ln>
            <a:noFill/>
          </a:ln>
        </p:spPr>
      </p:pic>
      <p:sp>
        <p:nvSpPr>
          <p:cNvPr id="2382" name="Google Shape;2382;p296"/>
          <p:cNvSpPr txBox="1">
            <a:spLocks noGrp="1"/>
          </p:cNvSpPr>
          <p:nvPr>
            <p:ph type="title"/>
          </p:nvPr>
        </p:nvSpPr>
        <p:spPr>
          <a:xfrm>
            <a:off x="838200" y="365125"/>
            <a:ext cx="6085114"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83" name="Google Shape;2383;p296"/>
          <p:cNvSpPr txBox="1">
            <a:spLocks noGrp="1"/>
          </p:cNvSpPr>
          <p:nvPr>
            <p:ph type="body" idx="1"/>
          </p:nvPr>
        </p:nvSpPr>
        <p:spPr>
          <a:xfrm>
            <a:off x="838200" y="1825625"/>
            <a:ext cx="6085114"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84" name="Google Shape;2384;p296"/>
          <p:cNvSpPr txBox="1">
            <a:spLocks noGrp="1"/>
          </p:cNvSpPr>
          <p:nvPr>
            <p:ph type="sldNum" idx="12"/>
          </p:nvPr>
        </p:nvSpPr>
        <p:spPr>
          <a:xfrm>
            <a:off x="9292771" y="6464300"/>
            <a:ext cx="2539660" cy="181800"/>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chemeClr val="dk2"/>
                </a:solidFill>
                <a:latin typeface="Calibri"/>
                <a:ea typeface="Calibri"/>
                <a:cs typeface="Calibri"/>
                <a:sym typeface="Calibri"/>
              </a:defRPr>
            </a:lvl1pPr>
            <a:lvl2pPr marL="0" lvl="1" indent="0" algn="r">
              <a:spcBef>
                <a:spcPts val="0"/>
              </a:spcBef>
              <a:buNone/>
              <a:defRPr sz="1200">
                <a:solidFill>
                  <a:schemeClr val="dk2"/>
                </a:solidFill>
                <a:latin typeface="Calibri"/>
                <a:ea typeface="Calibri"/>
                <a:cs typeface="Calibri"/>
                <a:sym typeface="Calibri"/>
              </a:defRPr>
            </a:lvl2pPr>
            <a:lvl3pPr marL="0" lvl="2" indent="0" algn="r">
              <a:spcBef>
                <a:spcPts val="0"/>
              </a:spcBef>
              <a:buNone/>
              <a:defRPr sz="1200">
                <a:solidFill>
                  <a:schemeClr val="dk2"/>
                </a:solidFill>
                <a:latin typeface="Calibri"/>
                <a:ea typeface="Calibri"/>
                <a:cs typeface="Calibri"/>
                <a:sym typeface="Calibri"/>
              </a:defRPr>
            </a:lvl3pPr>
            <a:lvl4pPr marL="0" lvl="3" indent="0" algn="r">
              <a:spcBef>
                <a:spcPts val="0"/>
              </a:spcBef>
              <a:buNone/>
              <a:defRPr sz="1200">
                <a:solidFill>
                  <a:schemeClr val="dk2"/>
                </a:solidFill>
                <a:latin typeface="Calibri"/>
                <a:ea typeface="Calibri"/>
                <a:cs typeface="Calibri"/>
                <a:sym typeface="Calibri"/>
              </a:defRPr>
            </a:lvl4pPr>
            <a:lvl5pPr marL="0" lvl="4" indent="0" algn="r">
              <a:spcBef>
                <a:spcPts val="0"/>
              </a:spcBef>
              <a:buNone/>
              <a:defRPr sz="1200">
                <a:solidFill>
                  <a:schemeClr val="dk2"/>
                </a:solidFill>
                <a:latin typeface="Calibri"/>
                <a:ea typeface="Calibri"/>
                <a:cs typeface="Calibri"/>
                <a:sym typeface="Calibri"/>
              </a:defRPr>
            </a:lvl5pPr>
            <a:lvl6pPr marL="0" lvl="5" indent="0" algn="r">
              <a:spcBef>
                <a:spcPts val="0"/>
              </a:spcBef>
              <a:buNone/>
              <a:defRPr sz="1200">
                <a:solidFill>
                  <a:schemeClr val="dk2"/>
                </a:solidFill>
                <a:latin typeface="Calibri"/>
                <a:ea typeface="Calibri"/>
                <a:cs typeface="Calibri"/>
                <a:sym typeface="Calibri"/>
              </a:defRPr>
            </a:lvl6pPr>
            <a:lvl7pPr marL="0" lvl="6" indent="0" algn="r">
              <a:spcBef>
                <a:spcPts val="0"/>
              </a:spcBef>
              <a:buNone/>
              <a:defRPr sz="1200">
                <a:solidFill>
                  <a:schemeClr val="dk2"/>
                </a:solidFill>
                <a:latin typeface="Calibri"/>
                <a:ea typeface="Calibri"/>
                <a:cs typeface="Calibri"/>
                <a:sym typeface="Calibri"/>
              </a:defRPr>
            </a:lvl7pPr>
            <a:lvl8pPr marL="0" lvl="7" indent="0" algn="r">
              <a:spcBef>
                <a:spcPts val="0"/>
              </a:spcBef>
              <a:buNone/>
              <a:defRPr sz="1200">
                <a:solidFill>
                  <a:schemeClr val="dk2"/>
                </a:solidFill>
                <a:latin typeface="Calibri"/>
                <a:ea typeface="Calibri"/>
                <a:cs typeface="Calibri"/>
                <a:sym typeface="Calibri"/>
              </a:defRPr>
            </a:lvl8pPr>
            <a:lvl9pPr marL="0" lvl="8" indent="0" algn="r">
              <a:spcBef>
                <a:spcPts val="0"/>
              </a:spcBef>
              <a:buNone/>
              <a:defRPr sz="1200">
                <a:solidFill>
                  <a:schemeClr val="dk2"/>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926.xml><?xml version="1.0" encoding="utf-8"?>
<p:sldLayout xmlns:a="http://schemas.openxmlformats.org/drawingml/2006/main" xmlns:r="http://schemas.openxmlformats.org/officeDocument/2006/relationships" xmlns:p="http://schemas.openxmlformats.org/presentationml/2006/main" matchingName="3-Closing Slide">
  <p:cSld name="3-Closing Slide 2">
    <p:spTree>
      <p:nvGrpSpPr>
        <p:cNvPr id="1" name="Shape 2385"/>
        <p:cNvGrpSpPr/>
        <p:nvPr/>
      </p:nvGrpSpPr>
      <p:grpSpPr>
        <a:xfrm>
          <a:off x="0" y="0"/>
          <a:ext cx="0" cy="0"/>
          <a:chOff x="0" y="0"/>
          <a:chExt cx="0" cy="0"/>
        </a:xfrm>
      </p:grpSpPr>
      <p:pic>
        <p:nvPicPr>
          <p:cNvPr id="2386" name="Google Shape;2386;p297"/>
          <p:cNvPicPr preferRelativeResize="0"/>
          <p:nvPr/>
        </p:nvPicPr>
        <p:blipFill rotWithShape="1">
          <a:blip r:embed="rId2">
            <a:alphaModFix/>
          </a:blip>
          <a:srcRect/>
          <a:stretch/>
        </p:blipFill>
        <p:spPr>
          <a:xfrm>
            <a:off x="1524" y="0"/>
            <a:ext cx="12188952" cy="6858000"/>
          </a:xfrm>
          <a:prstGeom prst="rect">
            <a:avLst/>
          </a:prstGeom>
          <a:noFill/>
          <a:ln>
            <a:noFill/>
          </a:ln>
        </p:spPr>
      </p:pic>
      <p:pic>
        <p:nvPicPr>
          <p:cNvPr id="2387" name="Google Shape;2387;p297"/>
          <p:cNvPicPr preferRelativeResize="0"/>
          <p:nvPr/>
        </p:nvPicPr>
        <p:blipFill rotWithShape="1">
          <a:blip r:embed="rId3">
            <a:alphaModFix/>
          </a:blip>
          <a:srcRect/>
          <a:stretch/>
        </p:blipFill>
        <p:spPr>
          <a:xfrm>
            <a:off x="5185224" y="2949956"/>
            <a:ext cx="1821552" cy="958089"/>
          </a:xfrm>
          <a:prstGeom prst="rect">
            <a:avLst/>
          </a:prstGeom>
          <a:noFill/>
          <a:ln>
            <a:noFill/>
          </a:ln>
        </p:spPr>
      </p:pic>
    </p:spTree>
  </p:cSld>
  <p:clrMapOvr>
    <a:masterClrMapping/>
  </p:clrMapOvr>
</p:sldLayout>
</file>

<file path=ppt/slideLayouts/slideLayout927.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11">
    <p:spTree>
      <p:nvGrpSpPr>
        <p:cNvPr id="1" name="Shape 2388"/>
        <p:cNvGrpSpPr/>
        <p:nvPr/>
      </p:nvGrpSpPr>
      <p:grpSpPr>
        <a:xfrm>
          <a:off x="0" y="0"/>
          <a:ext cx="0" cy="0"/>
          <a:chOff x="0" y="0"/>
          <a:chExt cx="0" cy="0"/>
        </a:xfrm>
      </p:grpSpPr>
      <p:sp>
        <p:nvSpPr>
          <p:cNvPr id="2389" name="Google Shape;2389;p298"/>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90" name="Google Shape;2390;p298"/>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91" name="Google Shape;2391;p29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392" name="Google Shape;2392;p2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393" name="Google Shape;2393;p2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2394" name="Google Shape;2394;p298"/>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2395" name="Google Shape;2395;p298"/>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2396" name="Google Shape;2396;p298"/>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397" name="Google Shape;2397;p298"/>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928.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2">
    <p:spTree>
      <p:nvGrpSpPr>
        <p:cNvPr id="1" name="Shape 2398"/>
        <p:cNvGrpSpPr/>
        <p:nvPr/>
      </p:nvGrpSpPr>
      <p:grpSpPr>
        <a:xfrm>
          <a:off x="0" y="0"/>
          <a:ext cx="0" cy="0"/>
          <a:chOff x="0" y="0"/>
          <a:chExt cx="0" cy="0"/>
        </a:xfrm>
      </p:grpSpPr>
      <p:sp>
        <p:nvSpPr>
          <p:cNvPr id="2399" name="Google Shape;2399;p299"/>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2400" name="Google Shape;2400;p299"/>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01" name="Google Shape;2401;p299"/>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02" name="Google Shape;2402;p299"/>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03" name="Google Shape;2403;p29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2404" name="Google Shape;2404;p299"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cSld>
  <p:clrMapOvr>
    <a:masterClrMapping/>
  </p:clrMapOvr>
</p:sldLayout>
</file>

<file path=ppt/slideLayouts/slideLayout929.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8">
    <p:spTree>
      <p:nvGrpSpPr>
        <p:cNvPr id="1" name="Shape 2405"/>
        <p:cNvGrpSpPr/>
        <p:nvPr/>
      </p:nvGrpSpPr>
      <p:grpSpPr>
        <a:xfrm>
          <a:off x="0" y="0"/>
          <a:ext cx="0" cy="0"/>
          <a:chOff x="0" y="0"/>
          <a:chExt cx="0" cy="0"/>
        </a:xfrm>
      </p:grpSpPr>
      <p:sp>
        <p:nvSpPr>
          <p:cNvPr id="2406" name="Google Shape;2406;p300"/>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07" name="Google Shape;2407;p30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2408" name="Google Shape;2408;p30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2409" name="Google Shape;2409;p300"/>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410" name="Google Shape;2410;p30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050889900"/>
      </p:ext>
    </p:extLst>
  </p:cSld>
  <p:clrMapOvr>
    <a:masterClrMapping/>
  </p:clrMapOvr>
</p:sldLayout>
</file>

<file path=ppt/slideLayouts/slideLayout930.xml><?xml version="1.0" encoding="utf-8"?>
<p:sldLayout xmlns:a="http://schemas.openxmlformats.org/drawingml/2006/main" xmlns:r="http://schemas.openxmlformats.org/officeDocument/2006/relationships" xmlns:p="http://schemas.openxmlformats.org/presentationml/2006/main" matchingName="1_Title and Content">
  <p:cSld name="1_Title and Content 8">
    <p:spTree>
      <p:nvGrpSpPr>
        <p:cNvPr id="1" name="Shape 2411"/>
        <p:cNvGrpSpPr/>
        <p:nvPr/>
      </p:nvGrpSpPr>
      <p:grpSpPr>
        <a:xfrm>
          <a:off x="0" y="0"/>
          <a:ext cx="0" cy="0"/>
          <a:chOff x="0" y="0"/>
          <a:chExt cx="0" cy="0"/>
        </a:xfrm>
      </p:grpSpPr>
      <p:sp>
        <p:nvSpPr>
          <p:cNvPr id="2412" name="Google Shape;2412;p30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2413" name="Google Shape;2413;p301"/>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2414" name="Google Shape;2414;p30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2415" name="Google Shape;2415;p301"/>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16" name="Google Shape;2416;p301"/>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931.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8">
    <p:spTree>
      <p:nvGrpSpPr>
        <p:cNvPr id="1" name="Shape 2417"/>
        <p:cNvGrpSpPr/>
        <p:nvPr/>
      </p:nvGrpSpPr>
      <p:grpSpPr>
        <a:xfrm>
          <a:off x="0" y="0"/>
          <a:ext cx="0" cy="0"/>
          <a:chOff x="0" y="0"/>
          <a:chExt cx="0" cy="0"/>
        </a:xfrm>
      </p:grpSpPr>
      <p:sp>
        <p:nvSpPr>
          <p:cNvPr id="2418" name="Google Shape;2418;p30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2419" name="Google Shape;2419;p30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2420" name="Google Shape;2420;p302"/>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21" name="Google Shape;2421;p302"/>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22" name="Google Shape;2422;p302"/>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423" name="Google Shape;2423;p30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93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2424"/>
        <p:cNvGrpSpPr/>
        <p:nvPr/>
      </p:nvGrpSpPr>
      <p:grpSpPr>
        <a:xfrm>
          <a:off x="0" y="0"/>
          <a:ext cx="0" cy="0"/>
          <a:chOff x="0" y="0"/>
          <a:chExt cx="0" cy="0"/>
        </a:xfrm>
      </p:grpSpPr>
      <p:sp>
        <p:nvSpPr>
          <p:cNvPr id="2425" name="Google Shape;2425;p303"/>
          <p:cNvSpPr txBox="1">
            <a:spLocks noGrp="1"/>
          </p:cNvSpPr>
          <p:nvPr>
            <p:ph type="title"/>
          </p:nvPr>
        </p:nvSpPr>
        <p:spPr>
          <a:xfrm>
            <a:off x="963084" y="4406903"/>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26" name="Google Shape;2426;p303"/>
          <p:cNvSpPr txBox="1">
            <a:spLocks noGrp="1"/>
          </p:cNvSpPr>
          <p:nvPr>
            <p:ph type="body" idx="1"/>
          </p:nvPr>
        </p:nvSpPr>
        <p:spPr>
          <a:xfrm>
            <a:off x="963084" y="2906713"/>
            <a:ext cx="10363200" cy="1500187"/>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2000"/>
              <a:buNone/>
              <a:defRPr sz="2000">
                <a:solidFill>
                  <a:srgbClr val="919497"/>
                </a:solidFill>
              </a:defRPr>
            </a:lvl1pPr>
            <a:lvl2pPr marL="914400" lvl="1" indent="-228600" algn="l">
              <a:lnSpc>
                <a:spcPct val="100000"/>
              </a:lnSpc>
              <a:spcBef>
                <a:spcPts val="1000"/>
              </a:spcBef>
              <a:spcAft>
                <a:spcPts val="0"/>
              </a:spcAft>
              <a:buSzPts val="1800"/>
              <a:buNone/>
              <a:defRPr sz="1800">
                <a:solidFill>
                  <a:srgbClr val="919497"/>
                </a:solidFill>
              </a:defRPr>
            </a:lvl2pPr>
            <a:lvl3pPr marL="1371600" lvl="2" indent="-228600" algn="l">
              <a:lnSpc>
                <a:spcPct val="100000"/>
              </a:lnSpc>
              <a:spcBef>
                <a:spcPts val="1000"/>
              </a:spcBef>
              <a:spcAft>
                <a:spcPts val="0"/>
              </a:spcAft>
              <a:buSzPts val="1600"/>
              <a:buNone/>
              <a:defRPr sz="1600">
                <a:solidFill>
                  <a:srgbClr val="919497"/>
                </a:solidFill>
              </a:defRPr>
            </a:lvl3pPr>
            <a:lvl4pPr marL="1828800" lvl="3" indent="-228600" algn="l">
              <a:lnSpc>
                <a:spcPct val="100000"/>
              </a:lnSpc>
              <a:spcBef>
                <a:spcPts val="1000"/>
              </a:spcBef>
              <a:spcAft>
                <a:spcPts val="0"/>
              </a:spcAft>
              <a:buSzPts val="1400"/>
              <a:buNone/>
              <a:defRPr sz="1400">
                <a:solidFill>
                  <a:srgbClr val="919497"/>
                </a:solidFill>
              </a:defRPr>
            </a:lvl4pPr>
            <a:lvl5pPr marL="2286000" lvl="4" indent="-228600" algn="l">
              <a:lnSpc>
                <a:spcPct val="100000"/>
              </a:lnSpc>
              <a:spcBef>
                <a:spcPts val="1000"/>
              </a:spcBef>
              <a:spcAft>
                <a:spcPts val="0"/>
              </a:spcAft>
              <a:buSzPts val="1400"/>
              <a:buNone/>
              <a:defRPr sz="1400">
                <a:solidFill>
                  <a:srgbClr val="919497"/>
                </a:solidFill>
              </a:defRPr>
            </a:lvl5pPr>
            <a:lvl6pPr marL="2743200" lvl="5" indent="-228600" algn="l">
              <a:lnSpc>
                <a:spcPct val="90000"/>
              </a:lnSpc>
              <a:spcBef>
                <a:spcPts val="1000"/>
              </a:spcBef>
              <a:spcAft>
                <a:spcPts val="0"/>
              </a:spcAft>
              <a:buClr>
                <a:srgbClr val="919497"/>
              </a:buClr>
              <a:buSzPts val="1400"/>
              <a:buNone/>
              <a:defRPr sz="1400">
                <a:solidFill>
                  <a:srgbClr val="919497"/>
                </a:solidFill>
              </a:defRPr>
            </a:lvl6pPr>
            <a:lvl7pPr marL="3200400" lvl="6" indent="-228600" algn="l">
              <a:lnSpc>
                <a:spcPct val="90000"/>
              </a:lnSpc>
              <a:spcBef>
                <a:spcPts val="500"/>
              </a:spcBef>
              <a:spcAft>
                <a:spcPts val="0"/>
              </a:spcAft>
              <a:buClr>
                <a:srgbClr val="919497"/>
              </a:buClr>
              <a:buSzPts val="1400"/>
              <a:buNone/>
              <a:defRPr sz="1400">
                <a:solidFill>
                  <a:srgbClr val="919497"/>
                </a:solidFill>
              </a:defRPr>
            </a:lvl7pPr>
            <a:lvl8pPr marL="3657600" lvl="7" indent="-228600" algn="l">
              <a:lnSpc>
                <a:spcPct val="90000"/>
              </a:lnSpc>
              <a:spcBef>
                <a:spcPts val="500"/>
              </a:spcBef>
              <a:spcAft>
                <a:spcPts val="0"/>
              </a:spcAft>
              <a:buClr>
                <a:srgbClr val="919497"/>
              </a:buClr>
              <a:buSzPts val="1400"/>
              <a:buNone/>
              <a:defRPr sz="1400">
                <a:solidFill>
                  <a:srgbClr val="919497"/>
                </a:solidFill>
              </a:defRPr>
            </a:lvl8pPr>
            <a:lvl9pPr marL="4114800" lvl="8" indent="-228600"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2427" name="Google Shape;2427;p303"/>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428" name="Google Shape;2428;p3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29" name="Google Shape;2429;p30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933.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2430"/>
        <p:cNvGrpSpPr/>
        <p:nvPr/>
      </p:nvGrpSpPr>
      <p:grpSpPr>
        <a:xfrm>
          <a:off x="0" y="0"/>
          <a:ext cx="0" cy="0"/>
          <a:chOff x="0" y="0"/>
          <a:chExt cx="0" cy="0"/>
        </a:xfrm>
      </p:grpSpPr>
      <p:sp>
        <p:nvSpPr>
          <p:cNvPr id="2431" name="Google Shape;2431;p304"/>
          <p:cNvSpPr txBox="1">
            <a:spLocks noGrp="1"/>
          </p:cNvSpPr>
          <p:nvPr>
            <p:ph type="title"/>
          </p:nvPr>
        </p:nvSpPr>
        <p:spPr>
          <a:xfrm>
            <a:off x="609605" y="273051"/>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32" name="Google Shape;2432;p304"/>
          <p:cNvSpPr txBox="1">
            <a:spLocks noGrp="1"/>
          </p:cNvSpPr>
          <p:nvPr>
            <p:ph type="body" idx="1"/>
          </p:nvPr>
        </p:nvSpPr>
        <p:spPr>
          <a:xfrm>
            <a:off x="4766733" y="273054"/>
            <a:ext cx="6815667" cy="5853113"/>
          </a:xfrm>
          <a:prstGeom prst="rect">
            <a:avLst/>
          </a:prstGeom>
          <a:noFill/>
          <a:ln>
            <a:noFill/>
          </a:ln>
        </p:spPr>
        <p:txBody>
          <a:bodyPr spcFirstLastPara="1" wrap="square" lIns="91425" tIns="45700" rIns="91425"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406400" algn="l">
              <a:lnSpc>
                <a:spcPct val="100000"/>
              </a:lnSpc>
              <a:spcBef>
                <a:spcPts val="1000"/>
              </a:spcBef>
              <a:spcAft>
                <a:spcPts val="0"/>
              </a:spcAft>
              <a:buSzPts val="2800"/>
              <a:buChar char="•"/>
              <a:defRPr sz="2800"/>
            </a:lvl2pPr>
            <a:lvl3pPr marL="1371600" lvl="2" indent="-381000" algn="l">
              <a:lnSpc>
                <a:spcPct val="100000"/>
              </a:lnSpc>
              <a:spcBef>
                <a:spcPts val="1000"/>
              </a:spcBef>
              <a:spcAft>
                <a:spcPts val="0"/>
              </a:spcAft>
              <a:buSzPts val="2400"/>
              <a:buChar char="•"/>
              <a:defRPr sz="2400"/>
            </a:lvl3pPr>
            <a:lvl4pPr marL="1828800" lvl="3" indent="-355600" algn="l">
              <a:lnSpc>
                <a:spcPct val="100000"/>
              </a:lnSpc>
              <a:spcBef>
                <a:spcPts val="1000"/>
              </a:spcBef>
              <a:spcAft>
                <a:spcPts val="0"/>
              </a:spcAft>
              <a:buSzPts val="2000"/>
              <a:buChar char="•"/>
              <a:defRPr sz="2000"/>
            </a:lvl4pPr>
            <a:lvl5pPr marL="2286000" lvl="4" indent="-355600" algn="l">
              <a:lnSpc>
                <a:spcPct val="100000"/>
              </a:lnSpc>
              <a:spcBef>
                <a:spcPts val="1000"/>
              </a:spcBef>
              <a:spcAft>
                <a:spcPts val="0"/>
              </a:spcAft>
              <a:buSzPts val="2000"/>
              <a:buChar char="•"/>
              <a:defRPr sz="2000"/>
            </a:lvl5pPr>
            <a:lvl6pPr marL="2743200" lvl="5" indent="-355600" algn="l">
              <a:lnSpc>
                <a:spcPct val="90000"/>
              </a:lnSpc>
              <a:spcBef>
                <a:spcPts val="10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2433" name="Google Shape;2433;p304"/>
          <p:cNvSpPr txBox="1">
            <a:spLocks noGrp="1"/>
          </p:cNvSpPr>
          <p:nvPr>
            <p:ph type="body" idx="2"/>
          </p:nvPr>
        </p:nvSpPr>
        <p:spPr>
          <a:xfrm>
            <a:off x="609605" y="1435103"/>
            <a:ext cx="4011084" cy="46910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400"/>
              <a:buNone/>
              <a:defRPr sz="1400"/>
            </a:lvl1pPr>
            <a:lvl2pPr marL="914400" lvl="1" indent="-228600" algn="l">
              <a:lnSpc>
                <a:spcPct val="100000"/>
              </a:lnSpc>
              <a:spcBef>
                <a:spcPts val="1000"/>
              </a:spcBef>
              <a:spcAft>
                <a:spcPts val="0"/>
              </a:spcAft>
              <a:buSzPts val="1200"/>
              <a:buNone/>
              <a:defRPr sz="1200"/>
            </a:lvl2pPr>
            <a:lvl3pPr marL="1371600" lvl="2" indent="-228600" algn="l">
              <a:lnSpc>
                <a:spcPct val="100000"/>
              </a:lnSpc>
              <a:spcBef>
                <a:spcPts val="1000"/>
              </a:spcBef>
              <a:spcAft>
                <a:spcPts val="0"/>
              </a:spcAft>
              <a:buSzPts val="1000"/>
              <a:buNone/>
              <a:defRPr sz="1000"/>
            </a:lvl3pPr>
            <a:lvl4pPr marL="1828800" lvl="3" indent="-228600" algn="l">
              <a:lnSpc>
                <a:spcPct val="100000"/>
              </a:lnSpc>
              <a:spcBef>
                <a:spcPts val="1000"/>
              </a:spcBef>
              <a:spcAft>
                <a:spcPts val="0"/>
              </a:spcAft>
              <a:buSzPts val="900"/>
              <a:buNone/>
              <a:defRPr sz="900"/>
            </a:lvl4pPr>
            <a:lvl5pPr marL="2286000" lvl="4" indent="-228600" algn="l">
              <a:lnSpc>
                <a:spcPct val="100000"/>
              </a:lnSpc>
              <a:spcBef>
                <a:spcPts val="1000"/>
              </a:spcBef>
              <a:spcAft>
                <a:spcPts val="0"/>
              </a:spcAft>
              <a:buSzPts val="900"/>
              <a:buNone/>
              <a:defRPr sz="900"/>
            </a:lvl5pPr>
            <a:lvl6pPr marL="2743200" lvl="5" indent="-228600" algn="l">
              <a:lnSpc>
                <a:spcPct val="90000"/>
              </a:lnSpc>
              <a:spcBef>
                <a:spcPts val="1000"/>
              </a:spcBef>
              <a:spcAft>
                <a:spcPts val="0"/>
              </a:spcAft>
              <a:buClr>
                <a:schemeClr val="dk1"/>
              </a:buClr>
              <a:buSzPts val="900"/>
              <a:buNone/>
              <a:defRPr sz="900"/>
            </a:lvl6pPr>
            <a:lvl7pPr marL="3200400" lvl="6" indent="-228600" algn="l">
              <a:lnSpc>
                <a:spcPct val="90000"/>
              </a:lnSpc>
              <a:spcBef>
                <a:spcPts val="500"/>
              </a:spcBef>
              <a:spcAft>
                <a:spcPts val="0"/>
              </a:spcAft>
              <a:buClr>
                <a:schemeClr val="dk1"/>
              </a:buClr>
              <a:buSzPts val="900"/>
              <a:buNone/>
              <a:defRPr sz="900"/>
            </a:lvl7pPr>
            <a:lvl8pPr marL="3657600" lvl="7" indent="-228600" algn="l">
              <a:lnSpc>
                <a:spcPct val="90000"/>
              </a:lnSpc>
              <a:spcBef>
                <a:spcPts val="500"/>
              </a:spcBef>
              <a:spcAft>
                <a:spcPts val="0"/>
              </a:spcAft>
              <a:buClr>
                <a:schemeClr val="dk1"/>
              </a:buClr>
              <a:buSzPts val="900"/>
              <a:buNone/>
              <a:defRPr sz="900"/>
            </a:lvl8pPr>
            <a:lvl9pPr marL="4114800" lvl="8" indent="-228600" algn="l">
              <a:lnSpc>
                <a:spcPct val="90000"/>
              </a:lnSpc>
              <a:spcBef>
                <a:spcPts val="500"/>
              </a:spcBef>
              <a:spcAft>
                <a:spcPts val="0"/>
              </a:spcAft>
              <a:buClr>
                <a:schemeClr val="dk1"/>
              </a:buClr>
              <a:buSzPts val="900"/>
              <a:buNone/>
              <a:defRPr sz="900"/>
            </a:lvl9pPr>
          </a:lstStyle>
          <a:p>
            <a:endParaRPr/>
          </a:p>
        </p:txBody>
      </p:sp>
      <p:sp>
        <p:nvSpPr>
          <p:cNvPr id="2434" name="Google Shape;2434;p30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435" name="Google Shape;2435;p3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36" name="Google Shape;2436;p30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934.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p:spTree>
      <p:nvGrpSpPr>
        <p:cNvPr id="1" name="Shape 2437"/>
        <p:cNvGrpSpPr/>
        <p:nvPr/>
      </p:nvGrpSpPr>
      <p:grpSpPr>
        <a:xfrm>
          <a:off x="0" y="0"/>
          <a:ext cx="0" cy="0"/>
          <a:chOff x="0" y="0"/>
          <a:chExt cx="0" cy="0"/>
        </a:xfrm>
      </p:grpSpPr>
      <p:sp>
        <p:nvSpPr>
          <p:cNvPr id="2438" name="Google Shape;2438;p305"/>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39" name="Google Shape;2439;p305"/>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2440" name="Google Shape;2440;p305"/>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41" name="Google Shape;2441;p305"/>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2442" name="Google Shape;2442;p305"/>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43" name="Google Shape;2443;p305"/>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444" name="Google Shape;2444;p305"/>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2445" name="Google Shape;2445;p305"/>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2446" name="Google Shape;2446;p305"/>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cSld>
  <p:clrMapOvr>
    <a:masterClrMapping/>
  </p:clrMapOvr>
</p:sldLayout>
</file>

<file path=ppt/slideLayouts/slideLayout935.xml><?xml version="1.0" encoding="utf-8"?>
<p:sldLayout xmlns:a="http://schemas.openxmlformats.org/drawingml/2006/main" xmlns:r="http://schemas.openxmlformats.org/officeDocument/2006/relationships" xmlns:p="http://schemas.openxmlformats.org/presentationml/2006/main" matchingName="4_Quotation">
  <p:cSld name="4_Quotation 2">
    <p:spTree>
      <p:nvGrpSpPr>
        <p:cNvPr id="1" name="Shape 2447"/>
        <p:cNvGrpSpPr/>
        <p:nvPr/>
      </p:nvGrpSpPr>
      <p:grpSpPr>
        <a:xfrm>
          <a:off x="0" y="0"/>
          <a:ext cx="0" cy="0"/>
          <a:chOff x="0" y="0"/>
          <a:chExt cx="0" cy="0"/>
        </a:xfrm>
      </p:grpSpPr>
      <p:sp>
        <p:nvSpPr>
          <p:cNvPr id="2448" name="Google Shape;2448;p30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49" name="Google Shape;2449;p30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50" name="Google Shape;2450;p30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51" name="Google Shape;2451;p30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452" name="Google Shape;2452;p3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53" name="Google Shape;2453;p3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454" name="Google Shape;2454;p306"/>
          <p:cNvGrpSpPr/>
          <p:nvPr/>
        </p:nvGrpSpPr>
        <p:grpSpPr>
          <a:xfrm>
            <a:off x="7191542" y="1"/>
            <a:ext cx="5000459" cy="1425992"/>
            <a:chOff x="7191542" y="1"/>
            <a:chExt cx="5000459" cy="1425992"/>
          </a:xfrm>
        </p:grpSpPr>
        <p:pic>
          <p:nvPicPr>
            <p:cNvPr id="2455" name="Google Shape;2455;p3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56" name="Google Shape;2456;p306"/>
            <p:cNvGrpSpPr/>
            <p:nvPr/>
          </p:nvGrpSpPr>
          <p:grpSpPr>
            <a:xfrm>
              <a:off x="7191542" y="1"/>
              <a:ext cx="5000459" cy="1425992"/>
              <a:chOff x="7186272" y="0"/>
              <a:chExt cx="5005729" cy="1427495"/>
            </a:xfrm>
          </p:grpSpPr>
          <p:sp>
            <p:nvSpPr>
              <p:cNvPr id="2457" name="Google Shape;2457;p3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8" name="Google Shape;2458;p3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459" name="Google Shape;2459;p30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36.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2">
    <p:spTree>
      <p:nvGrpSpPr>
        <p:cNvPr id="1" name="Shape 2460"/>
        <p:cNvGrpSpPr/>
        <p:nvPr/>
      </p:nvGrpSpPr>
      <p:grpSpPr>
        <a:xfrm>
          <a:off x="0" y="0"/>
          <a:ext cx="0" cy="0"/>
          <a:chOff x="0" y="0"/>
          <a:chExt cx="0" cy="0"/>
        </a:xfrm>
      </p:grpSpPr>
      <p:sp>
        <p:nvSpPr>
          <p:cNvPr id="2461" name="Google Shape;2461;p307"/>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62" name="Google Shape;2462;p307"/>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2463" name="Google Shape;2463;p307"/>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64" name="Google Shape;2464;p307"/>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2465" name="Google Shape;2465;p307"/>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66" name="Google Shape;2466;p307"/>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467" name="Google Shape;2467;p307"/>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2468" name="Google Shape;2468;p307"/>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2469" name="Google Shape;2469;p307"/>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cSld>
  <p:clrMapOvr>
    <a:masterClrMapping/>
  </p:clrMapOvr>
</p:sldLayout>
</file>

<file path=ppt/slideLayouts/slideLayout937.xml><?xml version="1.0" encoding="utf-8"?>
<p:sldLayout xmlns:a="http://schemas.openxmlformats.org/drawingml/2006/main" xmlns:r="http://schemas.openxmlformats.org/officeDocument/2006/relationships" xmlns:p="http://schemas.openxmlformats.org/presentationml/2006/main" matchingName="Title and Content">
  <p:cSld name="2_Title and Content 4">
    <p:spTree>
      <p:nvGrpSpPr>
        <p:cNvPr id="1" name="Shape 2470"/>
        <p:cNvGrpSpPr/>
        <p:nvPr/>
      </p:nvGrpSpPr>
      <p:grpSpPr>
        <a:xfrm>
          <a:off x="0" y="0"/>
          <a:ext cx="0" cy="0"/>
          <a:chOff x="0" y="0"/>
          <a:chExt cx="0" cy="0"/>
        </a:xfrm>
      </p:grpSpPr>
      <p:grpSp>
        <p:nvGrpSpPr>
          <p:cNvPr id="2471" name="Google Shape;2471;p308"/>
          <p:cNvGrpSpPr/>
          <p:nvPr/>
        </p:nvGrpSpPr>
        <p:grpSpPr>
          <a:xfrm>
            <a:off x="7191542" y="1"/>
            <a:ext cx="5000459" cy="1425992"/>
            <a:chOff x="7191542" y="1"/>
            <a:chExt cx="5000459" cy="1425992"/>
          </a:xfrm>
        </p:grpSpPr>
        <p:pic>
          <p:nvPicPr>
            <p:cNvPr id="2472" name="Google Shape;2472;p30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73" name="Google Shape;2473;p308"/>
            <p:cNvGrpSpPr/>
            <p:nvPr/>
          </p:nvGrpSpPr>
          <p:grpSpPr>
            <a:xfrm>
              <a:off x="7191542" y="1"/>
              <a:ext cx="5000459" cy="1425992"/>
              <a:chOff x="7186272" y="0"/>
              <a:chExt cx="5005729" cy="1427495"/>
            </a:xfrm>
          </p:grpSpPr>
          <p:sp>
            <p:nvSpPr>
              <p:cNvPr id="2474" name="Google Shape;2474;p3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475" name="Google Shape;2475;p3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476" name="Google Shape;2476;p30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77" name="Google Shape;2477;p30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78" name="Google Shape;2478;p3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479" name="Google Shape;2479;p3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80" name="Google Shape;2480;p3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938.xml><?xml version="1.0" encoding="utf-8"?>
<p:sldLayout xmlns:a="http://schemas.openxmlformats.org/drawingml/2006/main" xmlns:r="http://schemas.openxmlformats.org/officeDocument/2006/relationships" xmlns:p="http://schemas.openxmlformats.org/presentationml/2006/main" matchingName="Photo Slide">
  <p:cSld name="1_Photo Slide 3">
    <p:spTree>
      <p:nvGrpSpPr>
        <p:cNvPr id="1" name="Shape 2481"/>
        <p:cNvGrpSpPr/>
        <p:nvPr/>
      </p:nvGrpSpPr>
      <p:grpSpPr>
        <a:xfrm>
          <a:off x="0" y="0"/>
          <a:ext cx="0" cy="0"/>
          <a:chOff x="0" y="0"/>
          <a:chExt cx="0" cy="0"/>
        </a:xfrm>
      </p:grpSpPr>
      <p:sp>
        <p:nvSpPr>
          <p:cNvPr id="2482" name="Google Shape;2482;p30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483" name="Google Shape;2483;p30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484" name="Google Shape;2484;p309"/>
          <p:cNvGrpSpPr/>
          <p:nvPr/>
        </p:nvGrpSpPr>
        <p:grpSpPr>
          <a:xfrm>
            <a:off x="0" y="5379426"/>
            <a:ext cx="2807368" cy="753891"/>
            <a:chOff x="0" y="5379426"/>
            <a:chExt cx="2807368" cy="753891"/>
          </a:xfrm>
        </p:grpSpPr>
        <p:sp>
          <p:nvSpPr>
            <p:cNvPr id="2485" name="Google Shape;2485;p30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86" name="Google Shape;2486;p30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2487" name="Google Shape;2487;p309"/>
          <p:cNvSpPr>
            <a:spLocks noGrp="1"/>
          </p:cNvSpPr>
          <p:nvPr>
            <p:ph type="pic" idx="2"/>
          </p:nvPr>
        </p:nvSpPr>
        <p:spPr>
          <a:xfrm>
            <a:off x="2807368" y="457202"/>
            <a:ext cx="8915400" cy="5943598"/>
          </a:xfrm>
          <a:prstGeom prst="rect">
            <a:avLst/>
          </a:prstGeom>
          <a:noFill/>
          <a:ln>
            <a:noFill/>
          </a:ln>
        </p:spPr>
      </p:sp>
      <p:pic>
        <p:nvPicPr>
          <p:cNvPr id="2488" name="Google Shape;2488;p309"/>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939.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3">
    <p:spTree>
      <p:nvGrpSpPr>
        <p:cNvPr id="1" name="Shape 2489"/>
        <p:cNvGrpSpPr/>
        <p:nvPr/>
      </p:nvGrpSpPr>
      <p:grpSpPr>
        <a:xfrm>
          <a:off x="0" y="0"/>
          <a:ext cx="0" cy="0"/>
          <a:chOff x="0" y="0"/>
          <a:chExt cx="0" cy="0"/>
        </a:xfrm>
      </p:grpSpPr>
      <p:sp>
        <p:nvSpPr>
          <p:cNvPr id="2490" name="Google Shape;2490;p310"/>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91" name="Google Shape;2491;p310"/>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2492" name="Google Shape;2492;p310"/>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93" name="Google Shape;2493;p310"/>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2494" name="Google Shape;2494;p310"/>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95" name="Google Shape;2495;p310"/>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496" name="Google Shape;2496;p310"/>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2497" name="Google Shape;2497;p310"/>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2498" name="Google Shape;2498;p310"/>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1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56107529"/>
      </p:ext>
    </p:extLst>
  </p:cSld>
  <p:clrMapOvr>
    <a:masterClrMapping/>
  </p:clrMapOvr>
</p:sldLayout>
</file>

<file path=ppt/slideLayouts/slideLayout940.xml><?xml version="1.0" encoding="utf-8"?>
<p:sldLayout xmlns:a="http://schemas.openxmlformats.org/drawingml/2006/main" xmlns:r="http://schemas.openxmlformats.org/officeDocument/2006/relationships" xmlns:p="http://schemas.openxmlformats.org/presentationml/2006/main" matchingName="Quotation">
  <p:cSld name="Quotation 27">
    <p:spTree>
      <p:nvGrpSpPr>
        <p:cNvPr id="1" name="Shape 2499"/>
        <p:cNvGrpSpPr/>
        <p:nvPr/>
      </p:nvGrpSpPr>
      <p:grpSpPr>
        <a:xfrm>
          <a:off x="0" y="0"/>
          <a:ext cx="0" cy="0"/>
          <a:chOff x="0" y="0"/>
          <a:chExt cx="0" cy="0"/>
        </a:xfrm>
      </p:grpSpPr>
      <p:sp>
        <p:nvSpPr>
          <p:cNvPr id="2500" name="Google Shape;2500;p31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01" name="Google Shape;2501;p31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02" name="Google Shape;2502;p31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03" name="Google Shape;2503;p3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04" name="Google Shape;2504;p3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05" name="Google Shape;2505;p3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06" name="Google Shape;2506;p311"/>
          <p:cNvGrpSpPr/>
          <p:nvPr/>
        </p:nvGrpSpPr>
        <p:grpSpPr>
          <a:xfrm>
            <a:off x="7191542" y="1"/>
            <a:ext cx="5000459" cy="1425992"/>
            <a:chOff x="7191542" y="1"/>
            <a:chExt cx="5000459" cy="1425992"/>
          </a:xfrm>
        </p:grpSpPr>
        <p:pic>
          <p:nvPicPr>
            <p:cNvPr id="2507" name="Google Shape;2507;p31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08" name="Google Shape;2508;p311"/>
            <p:cNvGrpSpPr/>
            <p:nvPr/>
          </p:nvGrpSpPr>
          <p:grpSpPr>
            <a:xfrm>
              <a:off x="7191542" y="1"/>
              <a:ext cx="5000459" cy="1425992"/>
              <a:chOff x="7186272" y="0"/>
              <a:chExt cx="5005729" cy="1427495"/>
            </a:xfrm>
          </p:grpSpPr>
          <p:sp>
            <p:nvSpPr>
              <p:cNvPr id="2509" name="Google Shape;2509;p3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0" name="Google Shape;2510;p3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511" name="Google Shape;2511;p31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41.xml><?xml version="1.0" encoding="utf-8"?>
<p:sldLayout xmlns:a="http://schemas.openxmlformats.org/drawingml/2006/main" xmlns:r="http://schemas.openxmlformats.org/officeDocument/2006/relationships" xmlns:p="http://schemas.openxmlformats.org/presentationml/2006/main" matchingName="4_Quotation">
  <p:cSld name="4_Quotation 3">
    <p:spTree>
      <p:nvGrpSpPr>
        <p:cNvPr id="1" name="Shape 2512"/>
        <p:cNvGrpSpPr/>
        <p:nvPr/>
      </p:nvGrpSpPr>
      <p:grpSpPr>
        <a:xfrm>
          <a:off x="0" y="0"/>
          <a:ext cx="0" cy="0"/>
          <a:chOff x="0" y="0"/>
          <a:chExt cx="0" cy="0"/>
        </a:xfrm>
      </p:grpSpPr>
      <p:sp>
        <p:nvSpPr>
          <p:cNvPr id="2513" name="Google Shape;2513;p31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14" name="Google Shape;2514;p31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15" name="Google Shape;2515;p31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16" name="Google Shape;2516;p31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17" name="Google Shape;2517;p3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18" name="Google Shape;2518;p3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19" name="Google Shape;2519;p312"/>
          <p:cNvGrpSpPr/>
          <p:nvPr/>
        </p:nvGrpSpPr>
        <p:grpSpPr>
          <a:xfrm>
            <a:off x="7191542" y="1"/>
            <a:ext cx="5000459" cy="1425992"/>
            <a:chOff x="7191542" y="1"/>
            <a:chExt cx="5000459" cy="1425992"/>
          </a:xfrm>
        </p:grpSpPr>
        <p:pic>
          <p:nvPicPr>
            <p:cNvPr id="2520" name="Google Shape;2520;p3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21" name="Google Shape;2521;p312"/>
            <p:cNvGrpSpPr/>
            <p:nvPr/>
          </p:nvGrpSpPr>
          <p:grpSpPr>
            <a:xfrm>
              <a:off x="7191542" y="1"/>
              <a:ext cx="5000459" cy="1425992"/>
              <a:chOff x="7186272" y="0"/>
              <a:chExt cx="5005729" cy="1427495"/>
            </a:xfrm>
          </p:grpSpPr>
          <p:sp>
            <p:nvSpPr>
              <p:cNvPr id="2522" name="Google Shape;2522;p3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3" name="Google Shape;2523;p3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524" name="Google Shape;2524;p31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42.xml><?xml version="1.0" encoding="utf-8"?>
<p:sldLayout xmlns:a="http://schemas.openxmlformats.org/drawingml/2006/main" xmlns:r="http://schemas.openxmlformats.org/officeDocument/2006/relationships" xmlns:p="http://schemas.openxmlformats.org/presentationml/2006/main" matchingName="Quotation">
  <p:cSld name="Quotation 28">
    <p:spTree>
      <p:nvGrpSpPr>
        <p:cNvPr id="1" name="Shape 2525"/>
        <p:cNvGrpSpPr/>
        <p:nvPr/>
      </p:nvGrpSpPr>
      <p:grpSpPr>
        <a:xfrm>
          <a:off x="0" y="0"/>
          <a:ext cx="0" cy="0"/>
          <a:chOff x="0" y="0"/>
          <a:chExt cx="0" cy="0"/>
        </a:xfrm>
      </p:grpSpPr>
      <p:sp>
        <p:nvSpPr>
          <p:cNvPr id="2526" name="Google Shape;2526;p31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27" name="Google Shape;2527;p31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28" name="Google Shape;2528;p31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29" name="Google Shape;2529;p3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30" name="Google Shape;2530;p3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31" name="Google Shape;2531;p3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32" name="Google Shape;2532;p313"/>
          <p:cNvGrpSpPr/>
          <p:nvPr/>
        </p:nvGrpSpPr>
        <p:grpSpPr>
          <a:xfrm>
            <a:off x="7191542" y="1"/>
            <a:ext cx="5000459" cy="1425992"/>
            <a:chOff x="7191542" y="1"/>
            <a:chExt cx="5000459" cy="1425992"/>
          </a:xfrm>
        </p:grpSpPr>
        <p:pic>
          <p:nvPicPr>
            <p:cNvPr id="2533" name="Google Shape;2533;p3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34" name="Google Shape;2534;p313"/>
            <p:cNvGrpSpPr/>
            <p:nvPr/>
          </p:nvGrpSpPr>
          <p:grpSpPr>
            <a:xfrm>
              <a:off x="7191542" y="1"/>
              <a:ext cx="5000459" cy="1425992"/>
              <a:chOff x="7186272" y="0"/>
              <a:chExt cx="5005729" cy="1427495"/>
            </a:xfrm>
          </p:grpSpPr>
          <p:sp>
            <p:nvSpPr>
              <p:cNvPr id="2535" name="Google Shape;2535;p3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6" name="Google Shape;2536;p3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537" name="Google Shape;2537;p31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43.xml><?xml version="1.0" encoding="utf-8"?>
<p:sldLayout xmlns:a="http://schemas.openxmlformats.org/drawingml/2006/main" xmlns:r="http://schemas.openxmlformats.org/officeDocument/2006/relationships" xmlns:p="http://schemas.openxmlformats.org/presentationml/2006/main" matchingName="4_Quotation">
  <p:cSld name="4_Quotation 4">
    <p:spTree>
      <p:nvGrpSpPr>
        <p:cNvPr id="1" name="Shape 2538"/>
        <p:cNvGrpSpPr/>
        <p:nvPr/>
      </p:nvGrpSpPr>
      <p:grpSpPr>
        <a:xfrm>
          <a:off x="0" y="0"/>
          <a:ext cx="0" cy="0"/>
          <a:chOff x="0" y="0"/>
          <a:chExt cx="0" cy="0"/>
        </a:xfrm>
      </p:grpSpPr>
      <p:sp>
        <p:nvSpPr>
          <p:cNvPr id="2539" name="Google Shape;2539;p31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40" name="Google Shape;2540;p31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41" name="Google Shape;2541;p31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42" name="Google Shape;2542;p3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43" name="Google Shape;2543;p3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44" name="Google Shape;2544;p3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45" name="Google Shape;2545;p314"/>
          <p:cNvGrpSpPr/>
          <p:nvPr/>
        </p:nvGrpSpPr>
        <p:grpSpPr>
          <a:xfrm>
            <a:off x="7191542" y="1"/>
            <a:ext cx="5000459" cy="1425992"/>
            <a:chOff x="7191542" y="1"/>
            <a:chExt cx="5000459" cy="1425992"/>
          </a:xfrm>
        </p:grpSpPr>
        <p:pic>
          <p:nvPicPr>
            <p:cNvPr id="2546" name="Google Shape;2546;p3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47" name="Google Shape;2547;p314"/>
            <p:cNvGrpSpPr/>
            <p:nvPr/>
          </p:nvGrpSpPr>
          <p:grpSpPr>
            <a:xfrm>
              <a:off x="7191542" y="1"/>
              <a:ext cx="5000459" cy="1425992"/>
              <a:chOff x="7186272" y="0"/>
              <a:chExt cx="5005729" cy="1427495"/>
            </a:xfrm>
          </p:grpSpPr>
          <p:sp>
            <p:nvSpPr>
              <p:cNvPr id="2548" name="Google Shape;2548;p3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9" name="Google Shape;2549;p3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550" name="Google Shape;2550;p31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44.xml><?xml version="1.0" encoding="utf-8"?>
<p:sldLayout xmlns:a="http://schemas.openxmlformats.org/drawingml/2006/main" xmlns:r="http://schemas.openxmlformats.org/officeDocument/2006/relationships" xmlns:p="http://schemas.openxmlformats.org/presentationml/2006/main" matchingName="Cover">
  <p:cSld name="Cover 18">
    <p:spTree>
      <p:nvGrpSpPr>
        <p:cNvPr id="1" name="Shape 2551"/>
        <p:cNvGrpSpPr/>
        <p:nvPr/>
      </p:nvGrpSpPr>
      <p:grpSpPr>
        <a:xfrm>
          <a:off x="0" y="0"/>
          <a:ext cx="0" cy="0"/>
          <a:chOff x="0" y="0"/>
          <a:chExt cx="0" cy="0"/>
        </a:xfrm>
      </p:grpSpPr>
      <p:sp>
        <p:nvSpPr>
          <p:cNvPr id="2552" name="Google Shape;2552;p315"/>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53" name="Google Shape;2553;p315"/>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54" name="Google Shape;2554;p315"/>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555" name="Google Shape;2555;p315"/>
          <p:cNvSpPr>
            <a:spLocks noGrp="1"/>
          </p:cNvSpPr>
          <p:nvPr>
            <p:ph type="pic" idx="2"/>
          </p:nvPr>
        </p:nvSpPr>
        <p:spPr>
          <a:xfrm>
            <a:off x="7118684" y="233915"/>
            <a:ext cx="5073316" cy="5943600"/>
          </a:xfrm>
          <a:prstGeom prst="rect">
            <a:avLst/>
          </a:prstGeom>
          <a:noFill/>
          <a:ln>
            <a:noFill/>
          </a:ln>
        </p:spPr>
      </p:sp>
      <p:grpSp>
        <p:nvGrpSpPr>
          <p:cNvPr id="2556" name="Google Shape;2556;p315"/>
          <p:cNvGrpSpPr/>
          <p:nvPr/>
        </p:nvGrpSpPr>
        <p:grpSpPr>
          <a:xfrm>
            <a:off x="0" y="5020348"/>
            <a:ext cx="12192000" cy="1837653"/>
            <a:chOff x="0" y="5020348"/>
            <a:chExt cx="12192000" cy="1837653"/>
          </a:xfrm>
        </p:grpSpPr>
        <p:sp>
          <p:nvSpPr>
            <p:cNvPr id="2557" name="Google Shape;2557;p31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58" name="Google Shape;2558;p31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559" name="Google Shape;2559;p31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945.xml><?xml version="1.0" encoding="utf-8"?>
<p:sldLayout xmlns:a="http://schemas.openxmlformats.org/drawingml/2006/main" xmlns:r="http://schemas.openxmlformats.org/officeDocument/2006/relationships" xmlns:p="http://schemas.openxmlformats.org/presentationml/2006/main" matchingName="Divider">
  <p:cSld name="Divider 19">
    <p:bg>
      <p:bgPr>
        <a:solidFill>
          <a:schemeClr val="lt2"/>
        </a:solidFill>
        <a:effectLst/>
      </p:bgPr>
    </p:bg>
    <p:spTree>
      <p:nvGrpSpPr>
        <p:cNvPr id="1" name="Shape 2560"/>
        <p:cNvGrpSpPr/>
        <p:nvPr/>
      </p:nvGrpSpPr>
      <p:grpSpPr>
        <a:xfrm>
          <a:off x="0" y="0"/>
          <a:ext cx="0" cy="0"/>
          <a:chOff x="0" y="0"/>
          <a:chExt cx="0" cy="0"/>
        </a:xfrm>
      </p:grpSpPr>
      <p:grpSp>
        <p:nvGrpSpPr>
          <p:cNvPr id="2561" name="Google Shape;2561;p316"/>
          <p:cNvGrpSpPr/>
          <p:nvPr/>
        </p:nvGrpSpPr>
        <p:grpSpPr>
          <a:xfrm>
            <a:off x="0" y="5020347"/>
            <a:ext cx="12192000" cy="1837653"/>
            <a:chOff x="0" y="5020347"/>
            <a:chExt cx="12192000" cy="1837653"/>
          </a:xfrm>
        </p:grpSpPr>
        <p:sp>
          <p:nvSpPr>
            <p:cNvPr id="2562" name="Google Shape;2562;p31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63" name="Google Shape;2563;p31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64" name="Google Shape;2564;p31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565" name="Google Shape;2565;p31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566" name="Google Shape;2566;p316"/>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67" name="Google Shape;2567;p316"/>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946.xml><?xml version="1.0" encoding="utf-8"?>
<p:sldLayout xmlns:a="http://schemas.openxmlformats.org/drawingml/2006/main" xmlns:r="http://schemas.openxmlformats.org/officeDocument/2006/relationships" xmlns:p="http://schemas.openxmlformats.org/presentationml/2006/main" matchingName="Photo Slide">
  <p:cSld name="Photo Slide 17">
    <p:spTree>
      <p:nvGrpSpPr>
        <p:cNvPr id="1" name="Shape 2568"/>
        <p:cNvGrpSpPr/>
        <p:nvPr/>
      </p:nvGrpSpPr>
      <p:grpSpPr>
        <a:xfrm>
          <a:off x="0" y="0"/>
          <a:ext cx="0" cy="0"/>
          <a:chOff x="0" y="0"/>
          <a:chExt cx="0" cy="0"/>
        </a:xfrm>
      </p:grpSpPr>
      <p:sp>
        <p:nvSpPr>
          <p:cNvPr id="2569" name="Google Shape;2569;p317"/>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570" name="Google Shape;2570;p31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571" name="Google Shape;2571;p317"/>
          <p:cNvGrpSpPr/>
          <p:nvPr/>
        </p:nvGrpSpPr>
        <p:grpSpPr>
          <a:xfrm>
            <a:off x="0" y="5379426"/>
            <a:ext cx="2807368" cy="753891"/>
            <a:chOff x="0" y="5379426"/>
            <a:chExt cx="2807368" cy="753891"/>
          </a:xfrm>
        </p:grpSpPr>
        <p:sp>
          <p:nvSpPr>
            <p:cNvPr id="2572" name="Google Shape;2572;p31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73" name="Google Shape;2573;p31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574" name="Google Shape;2574;p317"/>
          <p:cNvSpPr>
            <a:spLocks noGrp="1"/>
          </p:cNvSpPr>
          <p:nvPr>
            <p:ph type="pic" idx="2"/>
          </p:nvPr>
        </p:nvSpPr>
        <p:spPr>
          <a:xfrm>
            <a:off x="2807368" y="457202"/>
            <a:ext cx="8915400" cy="5943598"/>
          </a:xfrm>
          <a:prstGeom prst="rect">
            <a:avLst/>
          </a:prstGeom>
          <a:noFill/>
          <a:ln>
            <a:noFill/>
          </a:ln>
        </p:spPr>
      </p:sp>
      <p:pic>
        <p:nvPicPr>
          <p:cNvPr id="2575" name="Google Shape;2575;p317"/>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947.xml><?xml version="1.0" encoding="utf-8"?>
<p:sldLayout xmlns:a="http://schemas.openxmlformats.org/drawingml/2006/main" xmlns:r="http://schemas.openxmlformats.org/officeDocument/2006/relationships" xmlns:p="http://schemas.openxmlformats.org/presentationml/2006/main" matchingName="Quotation">
  <p:cSld name="Quotation 29">
    <p:spTree>
      <p:nvGrpSpPr>
        <p:cNvPr id="1" name="Shape 2576"/>
        <p:cNvGrpSpPr/>
        <p:nvPr/>
      </p:nvGrpSpPr>
      <p:grpSpPr>
        <a:xfrm>
          <a:off x="0" y="0"/>
          <a:ext cx="0" cy="0"/>
          <a:chOff x="0" y="0"/>
          <a:chExt cx="0" cy="0"/>
        </a:xfrm>
      </p:grpSpPr>
      <p:sp>
        <p:nvSpPr>
          <p:cNvPr id="2577" name="Google Shape;2577;p31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78" name="Google Shape;2578;p31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79" name="Google Shape;2579;p31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80" name="Google Shape;2580;p31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81" name="Google Shape;2581;p3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82" name="Google Shape;2582;p3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83" name="Google Shape;2583;p318"/>
          <p:cNvGrpSpPr/>
          <p:nvPr/>
        </p:nvGrpSpPr>
        <p:grpSpPr>
          <a:xfrm>
            <a:off x="7191542" y="1"/>
            <a:ext cx="5000459" cy="1425992"/>
            <a:chOff x="7191542" y="1"/>
            <a:chExt cx="5000459" cy="1425992"/>
          </a:xfrm>
        </p:grpSpPr>
        <p:pic>
          <p:nvPicPr>
            <p:cNvPr id="2584" name="Google Shape;2584;p3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85" name="Google Shape;2585;p318"/>
            <p:cNvGrpSpPr/>
            <p:nvPr/>
          </p:nvGrpSpPr>
          <p:grpSpPr>
            <a:xfrm>
              <a:off x="7191542" y="1"/>
              <a:ext cx="5000459" cy="1425992"/>
              <a:chOff x="7186272" y="0"/>
              <a:chExt cx="5005729" cy="1427495"/>
            </a:xfrm>
          </p:grpSpPr>
          <p:sp>
            <p:nvSpPr>
              <p:cNvPr id="2586" name="Google Shape;2586;p3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87" name="Google Shape;2587;p3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588" name="Google Shape;2588;p31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48.xml><?xml version="1.0" encoding="utf-8"?>
<p:sldLayout xmlns:a="http://schemas.openxmlformats.org/drawingml/2006/main" xmlns:r="http://schemas.openxmlformats.org/officeDocument/2006/relationships" xmlns:p="http://schemas.openxmlformats.org/presentationml/2006/main" matchingName="Quotation">
  <p:cSld name="Quotation 30">
    <p:spTree>
      <p:nvGrpSpPr>
        <p:cNvPr id="1" name="Shape 2589"/>
        <p:cNvGrpSpPr/>
        <p:nvPr/>
      </p:nvGrpSpPr>
      <p:grpSpPr>
        <a:xfrm>
          <a:off x="0" y="0"/>
          <a:ext cx="0" cy="0"/>
          <a:chOff x="0" y="0"/>
          <a:chExt cx="0" cy="0"/>
        </a:xfrm>
      </p:grpSpPr>
      <p:sp>
        <p:nvSpPr>
          <p:cNvPr id="2590" name="Google Shape;2590;p31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91" name="Google Shape;2591;p31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92" name="Google Shape;2592;p31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93" name="Google Shape;2593;p31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94" name="Google Shape;2594;p3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95" name="Google Shape;2595;p3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96" name="Google Shape;2596;p319"/>
          <p:cNvGrpSpPr/>
          <p:nvPr/>
        </p:nvGrpSpPr>
        <p:grpSpPr>
          <a:xfrm>
            <a:off x="7191542" y="1"/>
            <a:ext cx="5000459" cy="1425992"/>
            <a:chOff x="7191542" y="1"/>
            <a:chExt cx="5000459" cy="1425992"/>
          </a:xfrm>
        </p:grpSpPr>
        <p:pic>
          <p:nvPicPr>
            <p:cNvPr id="2597" name="Google Shape;2597;p31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98" name="Google Shape;2598;p319"/>
            <p:cNvGrpSpPr/>
            <p:nvPr/>
          </p:nvGrpSpPr>
          <p:grpSpPr>
            <a:xfrm>
              <a:off x="7191542" y="1"/>
              <a:ext cx="5000459" cy="1425992"/>
              <a:chOff x="7186272" y="0"/>
              <a:chExt cx="5005729" cy="1427495"/>
            </a:xfrm>
          </p:grpSpPr>
          <p:sp>
            <p:nvSpPr>
              <p:cNvPr id="2599" name="Google Shape;2599;p3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00" name="Google Shape;2600;p3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601" name="Google Shape;2601;p31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49.xml><?xml version="1.0" encoding="utf-8"?>
<p:sldLayout xmlns:a="http://schemas.openxmlformats.org/drawingml/2006/main" xmlns:r="http://schemas.openxmlformats.org/officeDocument/2006/relationships" xmlns:p="http://schemas.openxmlformats.org/presentationml/2006/main" matchingName="Quotation">
  <p:cSld name="Quotation 31">
    <p:spTree>
      <p:nvGrpSpPr>
        <p:cNvPr id="1" name="Shape 2602"/>
        <p:cNvGrpSpPr/>
        <p:nvPr/>
      </p:nvGrpSpPr>
      <p:grpSpPr>
        <a:xfrm>
          <a:off x="0" y="0"/>
          <a:ext cx="0" cy="0"/>
          <a:chOff x="0" y="0"/>
          <a:chExt cx="0" cy="0"/>
        </a:xfrm>
      </p:grpSpPr>
      <p:sp>
        <p:nvSpPr>
          <p:cNvPr id="2603" name="Google Shape;2603;p32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04" name="Google Shape;2604;p32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05" name="Google Shape;2605;p32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06" name="Google Shape;2606;p3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07" name="Google Shape;2607;p3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08" name="Google Shape;2608;p3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609" name="Google Shape;2609;p320"/>
          <p:cNvGrpSpPr/>
          <p:nvPr/>
        </p:nvGrpSpPr>
        <p:grpSpPr>
          <a:xfrm>
            <a:off x="7191542" y="1"/>
            <a:ext cx="5000459" cy="1425992"/>
            <a:chOff x="7191542" y="1"/>
            <a:chExt cx="5000459" cy="1425992"/>
          </a:xfrm>
        </p:grpSpPr>
        <p:pic>
          <p:nvPicPr>
            <p:cNvPr id="2610" name="Google Shape;2610;p3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11" name="Google Shape;2611;p320"/>
            <p:cNvGrpSpPr/>
            <p:nvPr/>
          </p:nvGrpSpPr>
          <p:grpSpPr>
            <a:xfrm>
              <a:off x="7191542" y="1"/>
              <a:ext cx="5000459" cy="1425992"/>
              <a:chOff x="7186272" y="0"/>
              <a:chExt cx="5005729" cy="1427495"/>
            </a:xfrm>
          </p:grpSpPr>
          <p:sp>
            <p:nvSpPr>
              <p:cNvPr id="2612" name="Google Shape;2612;p3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13" name="Google Shape;2613;p3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614" name="Google Shape;2614;p32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04698859"/>
      </p:ext>
    </p:extLst>
  </p:cSld>
  <p:clrMapOvr>
    <a:masterClrMapping/>
  </p:clrMapOvr>
</p:sldLayout>
</file>

<file path=ppt/slideLayouts/slideLayout950.xml><?xml version="1.0" encoding="utf-8"?>
<p:sldLayout xmlns:a="http://schemas.openxmlformats.org/drawingml/2006/main" xmlns:r="http://schemas.openxmlformats.org/officeDocument/2006/relationships" xmlns:p="http://schemas.openxmlformats.org/presentationml/2006/main" matchingName="Quotation">
  <p:cSld name="Quotation 32">
    <p:spTree>
      <p:nvGrpSpPr>
        <p:cNvPr id="1" name="Shape 2615"/>
        <p:cNvGrpSpPr/>
        <p:nvPr/>
      </p:nvGrpSpPr>
      <p:grpSpPr>
        <a:xfrm>
          <a:off x="0" y="0"/>
          <a:ext cx="0" cy="0"/>
          <a:chOff x="0" y="0"/>
          <a:chExt cx="0" cy="0"/>
        </a:xfrm>
      </p:grpSpPr>
      <p:sp>
        <p:nvSpPr>
          <p:cNvPr id="2616" name="Google Shape;2616;p32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17" name="Google Shape;2617;p32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18" name="Google Shape;2618;p32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19" name="Google Shape;2619;p3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20" name="Google Shape;2620;p3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21" name="Google Shape;2621;p3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622" name="Google Shape;2622;p321"/>
          <p:cNvGrpSpPr/>
          <p:nvPr/>
        </p:nvGrpSpPr>
        <p:grpSpPr>
          <a:xfrm>
            <a:off x="7191542" y="1"/>
            <a:ext cx="5000459" cy="1425992"/>
            <a:chOff x="7191542" y="1"/>
            <a:chExt cx="5000459" cy="1425992"/>
          </a:xfrm>
        </p:grpSpPr>
        <p:pic>
          <p:nvPicPr>
            <p:cNvPr id="2623" name="Google Shape;2623;p3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24" name="Google Shape;2624;p321"/>
            <p:cNvGrpSpPr/>
            <p:nvPr/>
          </p:nvGrpSpPr>
          <p:grpSpPr>
            <a:xfrm>
              <a:off x="7191542" y="1"/>
              <a:ext cx="5000459" cy="1425992"/>
              <a:chOff x="7186272" y="0"/>
              <a:chExt cx="5005729" cy="1427495"/>
            </a:xfrm>
          </p:grpSpPr>
          <p:sp>
            <p:nvSpPr>
              <p:cNvPr id="2625" name="Google Shape;2625;p3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26" name="Google Shape;2626;p3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627" name="Google Shape;2627;p32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51.xml><?xml version="1.0" encoding="utf-8"?>
<p:sldLayout xmlns:a="http://schemas.openxmlformats.org/drawingml/2006/main" xmlns:r="http://schemas.openxmlformats.org/officeDocument/2006/relationships" xmlns:p="http://schemas.openxmlformats.org/presentationml/2006/main" matchingName="Title and Content">
  <p:cSld name="Title and Content 19">
    <p:spTree>
      <p:nvGrpSpPr>
        <p:cNvPr id="1" name="Shape 2628"/>
        <p:cNvGrpSpPr/>
        <p:nvPr/>
      </p:nvGrpSpPr>
      <p:grpSpPr>
        <a:xfrm>
          <a:off x="0" y="0"/>
          <a:ext cx="0" cy="0"/>
          <a:chOff x="0" y="0"/>
          <a:chExt cx="0" cy="0"/>
        </a:xfrm>
      </p:grpSpPr>
      <p:grpSp>
        <p:nvGrpSpPr>
          <p:cNvPr id="2629" name="Google Shape;2629;p322"/>
          <p:cNvGrpSpPr/>
          <p:nvPr/>
        </p:nvGrpSpPr>
        <p:grpSpPr>
          <a:xfrm>
            <a:off x="7191542" y="1"/>
            <a:ext cx="5000459" cy="1425992"/>
            <a:chOff x="7191542" y="1"/>
            <a:chExt cx="5000459" cy="1425992"/>
          </a:xfrm>
        </p:grpSpPr>
        <p:pic>
          <p:nvPicPr>
            <p:cNvPr id="2630" name="Google Shape;2630;p3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31" name="Google Shape;2631;p322"/>
            <p:cNvGrpSpPr/>
            <p:nvPr/>
          </p:nvGrpSpPr>
          <p:grpSpPr>
            <a:xfrm>
              <a:off x="7191542" y="1"/>
              <a:ext cx="5000459" cy="1425992"/>
              <a:chOff x="7186272" y="0"/>
              <a:chExt cx="5005729" cy="1427495"/>
            </a:xfrm>
          </p:grpSpPr>
          <p:sp>
            <p:nvSpPr>
              <p:cNvPr id="2632" name="Google Shape;2632;p3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33" name="Google Shape;2633;p3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634" name="Google Shape;2634;p32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35" name="Google Shape;2635;p32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36" name="Google Shape;2636;p32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37" name="Google Shape;2637;p3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38" name="Google Shape;2638;p3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52.xml><?xml version="1.0" encoding="utf-8"?>
<p:sldLayout xmlns:a="http://schemas.openxmlformats.org/drawingml/2006/main" xmlns:r="http://schemas.openxmlformats.org/officeDocument/2006/relationships" xmlns:p="http://schemas.openxmlformats.org/presentationml/2006/main" matchingName="Two Content">
  <p:cSld name="Two Content 16">
    <p:spTree>
      <p:nvGrpSpPr>
        <p:cNvPr id="1" name="Shape 2639"/>
        <p:cNvGrpSpPr/>
        <p:nvPr/>
      </p:nvGrpSpPr>
      <p:grpSpPr>
        <a:xfrm>
          <a:off x="0" y="0"/>
          <a:ext cx="0" cy="0"/>
          <a:chOff x="0" y="0"/>
          <a:chExt cx="0" cy="0"/>
        </a:xfrm>
      </p:grpSpPr>
      <p:sp>
        <p:nvSpPr>
          <p:cNvPr id="2640" name="Google Shape;2640;p32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41" name="Google Shape;2641;p32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642" name="Google Shape;2642;p323"/>
          <p:cNvGrpSpPr/>
          <p:nvPr/>
        </p:nvGrpSpPr>
        <p:grpSpPr>
          <a:xfrm>
            <a:off x="7191542" y="1"/>
            <a:ext cx="5000459" cy="1425992"/>
            <a:chOff x="7191542" y="1"/>
            <a:chExt cx="5000459" cy="1425992"/>
          </a:xfrm>
        </p:grpSpPr>
        <p:pic>
          <p:nvPicPr>
            <p:cNvPr id="2643" name="Google Shape;2643;p32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44" name="Google Shape;2644;p323"/>
            <p:cNvGrpSpPr/>
            <p:nvPr/>
          </p:nvGrpSpPr>
          <p:grpSpPr>
            <a:xfrm>
              <a:off x="7191542" y="1"/>
              <a:ext cx="5000459" cy="1425992"/>
              <a:chOff x="7186272" y="0"/>
              <a:chExt cx="5005729" cy="1427495"/>
            </a:xfrm>
          </p:grpSpPr>
          <p:sp>
            <p:nvSpPr>
              <p:cNvPr id="2645" name="Google Shape;2645;p3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46" name="Google Shape;2646;p3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647" name="Google Shape;2647;p32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48" name="Google Shape;2648;p32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49" name="Google Shape;2649;p3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50" name="Google Shape;2650;p3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53.xml><?xml version="1.0" encoding="utf-8"?>
<p:sldLayout xmlns:a="http://schemas.openxmlformats.org/drawingml/2006/main" xmlns:r="http://schemas.openxmlformats.org/officeDocument/2006/relationships" xmlns:p="http://schemas.openxmlformats.org/presentationml/2006/main" matchingName="Comparison">
  <p:cSld name="Comparison 16">
    <p:spTree>
      <p:nvGrpSpPr>
        <p:cNvPr id="1" name="Shape 2651"/>
        <p:cNvGrpSpPr/>
        <p:nvPr/>
      </p:nvGrpSpPr>
      <p:grpSpPr>
        <a:xfrm>
          <a:off x="0" y="0"/>
          <a:ext cx="0" cy="0"/>
          <a:chOff x="0" y="0"/>
          <a:chExt cx="0" cy="0"/>
        </a:xfrm>
      </p:grpSpPr>
      <p:grpSp>
        <p:nvGrpSpPr>
          <p:cNvPr id="2652" name="Google Shape;2652;p324"/>
          <p:cNvGrpSpPr/>
          <p:nvPr/>
        </p:nvGrpSpPr>
        <p:grpSpPr>
          <a:xfrm>
            <a:off x="7191542" y="1"/>
            <a:ext cx="5000459" cy="1425992"/>
            <a:chOff x="7191542" y="1"/>
            <a:chExt cx="5000459" cy="1425992"/>
          </a:xfrm>
        </p:grpSpPr>
        <p:pic>
          <p:nvPicPr>
            <p:cNvPr id="2653" name="Google Shape;2653;p3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54" name="Google Shape;2654;p324"/>
            <p:cNvGrpSpPr/>
            <p:nvPr/>
          </p:nvGrpSpPr>
          <p:grpSpPr>
            <a:xfrm>
              <a:off x="7191542" y="1"/>
              <a:ext cx="5000459" cy="1425992"/>
              <a:chOff x="7186272" y="0"/>
              <a:chExt cx="5005729" cy="1427495"/>
            </a:xfrm>
          </p:grpSpPr>
          <p:sp>
            <p:nvSpPr>
              <p:cNvPr id="2655" name="Google Shape;2655;p3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56" name="Google Shape;2656;p3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657" name="Google Shape;2657;p32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58" name="Google Shape;2658;p32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659" name="Google Shape;2659;p32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60" name="Google Shape;2660;p32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661" name="Google Shape;2661;p32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62" name="Google Shape;2662;p3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63" name="Google Shape;2663;p3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64" name="Google Shape;2664;p3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54.xml><?xml version="1.0" encoding="utf-8"?>
<p:sldLayout xmlns:a="http://schemas.openxmlformats.org/drawingml/2006/main" xmlns:r="http://schemas.openxmlformats.org/officeDocument/2006/relationships" xmlns:p="http://schemas.openxmlformats.org/presentationml/2006/main" matchingName="Title Only">
  <p:cSld name="Title Only 16">
    <p:spTree>
      <p:nvGrpSpPr>
        <p:cNvPr id="1" name="Shape 2665"/>
        <p:cNvGrpSpPr/>
        <p:nvPr/>
      </p:nvGrpSpPr>
      <p:grpSpPr>
        <a:xfrm>
          <a:off x="0" y="0"/>
          <a:ext cx="0" cy="0"/>
          <a:chOff x="0" y="0"/>
          <a:chExt cx="0" cy="0"/>
        </a:xfrm>
      </p:grpSpPr>
      <p:grpSp>
        <p:nvGrpSpPr>
          <p:cNvPr id="2666" name="Google Shape;2666;p325"/>
          <p:cNvGrpSpPr/>
          <p:nvPr/>
        </p:nvGrpSpPr>
        <p:grpSpPr>
          <a:xfrm>
            <a:off x="7191542" y="1"/>
            <a:ext cx="5000459" cy="1425992"/>
            <a:chOff x="7191542" y="1"/>
            <a:chExt cx="5000459" cy="1425992"/>
          </a:xfrm>
        </p:grpSpPr>
        <p:pic>
          <p:nvPicPr>
            <p:cNvPr id="2667" name="Google Shape;2667;p3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68" name="Google Shape;2668;p325"/>
            <p:cNvGrpSpPr/>
            <p:nvPr/>
          </p:nvGrpSpPr>
          <p:grpSpPr>
            <a:xfrm>
              <a:off x="7191542" y="1"/>
              <a:ext cx="5000459" cy="1425992"/>
              <a:chOff x="7186272" y="0"/>
              <a:chExt cx="5005729" cy="1427495"/>
            </a:xfrm>
          </p:grpSpPr>
          <p:sp>
            <p:nvSpPr>
              <p:cNvPr id="2669" name="Google Shape;2669;p3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70" name="Google Shape;2670;p3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671" name="Google Shape;2671;p32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72" name="Google Shape;2672;p32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73" name="Google Shape;2673;p3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74" name="Google Shape;2674;p3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55.xml><?xml version="1.0" encoding="utf-8"?>
<p:sldLayout xmlns:a="http://schemas.openxmlformats.org/drawingml/2006/main" xmlns:r="http://schemas.openxmlformats.org/officeDocument/2006/relationships" xmlns:p="http://schemas.openxmlformats.org/presentationml/2006/main" matchingName="End">
  <p:cSld name="End 17">
    <p:spTree>
      <p:nvGrpSpPr>
        <p:cNvPr id="1" name="Shape 2675"/>
        <p:cNvGrpSpPr/>
        <p:nvPr/>
      </p:nvGrpSpPr>
      <p:grpSpPr>
        <a:xfrm>
          <a:off x="0" y="0"/>
          <a:ext cx="0" cy="0"/>
          <a:chOff x="0" y="0"/>
          <a:chExt cx="0" cy="0"/>
        </a:xfrm>
      </p:grpSpPr>
      <p:grpSp>
        <p:nvGrpSpPr>
          <p:cNvPr id="2676" name="Google Shape;2676;p326"/>
          <p:cNvGrpSpPr/>
          <p:nvPr/>
        </p:nvGrpSpPr>
        <p:grpSpPr>
          <a:xfrm>
            <a:off x="0" y="0"/>
            <a:ext cx="12192000" cy="2148830"/>
            <a:chOff x="0" y="0"/>
            <a:chExt cx="12192000" cy="2148830"/>
          </a:xfrm>
        </p:grpSpPr>
        <p:sp>
          <p:nvSpPr>
            <p:cNvPr id="2677" name="Google Shape;2677;p32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78" name="Google Shape;2678;p32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679" name="Google Shape;2679;p326"/>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80" name="Google Shape;2680;p326"/>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81" name="Google Shape;2681;p32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682" name="Google Shape;2682;p326"/>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683" name="Google Shape;2683;p326"/>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956.xml><?xml version="1.0" encoding="utf-8"?>
<p:sldLayout xmlns:a="http://schemas.openxmlformats.org/drawingml/2006/main" xmlns:r="http://schemas.openxmlformats.org/officeDocument/2006/relationships" xmlns:p="http://schemas.openxmlformats.org/presentationml/2006/main" matchingName="Blank">
  <p:cSld name="Blank 17">
    <p:spTree>
      <p:nvGrpSpPr>
        <p:cNvPr id="1" name="Shape 2684"/>
        <p:cNvGrpSpPr/>
        <p:nvPr/>
      </p:nvGrpSpPr>
      <p:grpSpPr>
        <a:xfrm>
          <a:off x="0" y="0"/>
          <a:ext cx="0" cy="0"/>
          <a:chOff x="0" y="0"/>
          <a:chExt cx="0" cy="0"/>
        </a:xfrm>
      </p:grpSpPr>
      <p:sp>
        <p:nvSpPr>
          <p:cNvPr id="2685" name="Google Shape;2685;p3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86" name="Google Shape;2686;p3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87" name="Google Shape;2687;p3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688" name="Google Shape;2688;p327"/>
          <p:cNvGrpSpPr/>
          <p:nvPr/>
        </p:nvGrpSpPr>
        <p:grpSpPr>
          <a:xfrm>
            <a:off x="7191542" y="1"/>
            <a:ext cx="5000459" cy="1425992"/>
            <a:chOff x="7191542" y="1"/>
            <a:chExt cx="5000459" cy="1425992"/>
          </a:xfrm>
        </p:grpSpPr>
        <p:pic>
          <p:nvPicPr>
            <p:cNvPr id="2689" name="Google Shape;2689;p3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90" name="Google Shape;2690;p327"/>
            <p:cNvGrpSpPr/>
            <p:nvPr/>
          </p:nvGrpSpPr>
          <p:grpSpPr>
            <a:xfrm>
              <a:off x="7191542" y="1"/>
              <a:ext cx="5000459" cy="1425992"/>
              <a:chOff x="7186272" y="0"/>
              <a:chExt cx="5005729" cy="1427495"/>
            </a:xfrm>
          </p:grpSpPr>
          <p:sp>
            <p:nvSpPr>
              <p:cNvPr id="2691" name="Google Shape;2691;p3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92" name="Google Shape;2692;p3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95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420283"/>
            <a:ext cx="5181600" cy="980017"/>
          </a:xfrm>
        </p:spPr>
        <p:txBody>
          <a:bodyPr/>
          <a:lstStyle/>
          <a:p>
            <a:r>
              <a:rPr lang="en-US"/>
              <a:t>Click to edit Master title style</a:t>
            </a:r>
          </a:p>
        </p:txBody>
      </p:sp>
      <p:sp>
        <p:nvSpPr>
          <p:cNvPr id="3" name="Subtitle 2"/>
          <p:cNvSpPr>
            <a:spLocks noGrp="1"/>
          </p:cNvSpPr>
          <p:nvPr>
            <p:ph type="subTitle" idx="1"/>
          </p:nvPr>
        </p:nvSpPr>
        <p:spPr>
          <a:xfrm>
            <a:off x="914400" y="2590800"/>
            <a:ext cx="4267200" cy="1168400"/>
          </a:xfrm>
        </p:spPr>
        <p:txBody>
          <a:bodyPr/>
          <a:lstStyle>
            <a:lvl1pPr marL="0" indent="0" algn="ctr">
              <a:buNone/>
              <a:defRPr>
                <a:solidFill>
                  <a:schemeClr val="tx1">
                    <a:tint val="75000"/>
                  </a:schemeClr>
                </a:solidFill>
              </a:defRPr>
            </a:lvl1pPr>
            <a:lvl2pPr marL="304815" indent="0" algn="ctr">
              <a:buNone/>
              <a:defRPr>
                <a:solidFill>
                  <a:schemeClr val="tx1">
                    <a:tint val="75000"/>
                  </a:schemeClr>
                </a:solidFill>
              </a:defRPr>
            </a:lvl2pPr>
            <a:lvl3pPr marL="609630" indent="0" algn="ctr">
              <a:buNone/>
              <a:defRPr>
                <a:solidFill>
                  <a:schemeClr val="tx1">
                    <a:tint val="75000"/>
                  </a:schemeClr>
                </a:solidFill>
              </a:defRPr>
            </a:lvl3pPr>
            <a:lvl4pPr marL="914446" indent="0" algn="ctr">
              <a:buNone/>
              <a:defRPr>
                <a:solidFill>
                  <a:schemeClr val="tx1">
                    <a:tint val="75000"/>
                  </a:schemeClr>
                </a:solidFill>
              </a:defRPr>
            </a:lvl4pPr>
            <a:lvl5pPr marL="1219261" indent="0" algn="ctr">
              <a:buNone/>
              <a:defRPr>
                <a:solidFill>
                  <a:schemeClr val="tx1">
                    <a:tint val="75000"/>
                  </a:schemeClr>
                </a:solidFill>
              </a:defRPr>
            </a:lvl5pPr>
            <a:lvl6pPr marL="1524076" indent="0" algn="ctr">
              <a:buNone/>
              <a:defRPr>
                <a:solidFill>
                  <a:schemeClr val="tx1">
                    <a:tint val="75000"/>
                  </a:schemeClr>
                </a:solidFill>
              </a:defRPr>
            </a:lvl6pPr>
            <a:lvl7pPr marL="1828891" indent="0" algn="ctr">
              <a:buNone/>
              <a:defRPr>
                <a:solidFill>
                  <a:schemeClr val="tx1">
                    <a:tint val="75000"/>
                  </a:schemeClr>
                </a:solidFill>
              </a:defRPr>
            </a:lvl7pPr>
            <a:lvl8pPr marL="2133707" indent="0" algn="ctr">
              <a:buNone/>
              <a:defRPr>
                <a:solidFill>
                  <a:schemeClr val="tx1">
                    <a:tint val="75000"/>
                  </a:schemeClr>
                </a:solidFill>
              </a:defRPr>
            </a:lvl8pPr>
            <a:lvl9pPr marL="243852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9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9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81542" y="2937934"/>
            <a:ext cx="5181600" cy="908050"/>
          </a:xfrm>
        </p:spPr>
        <p:txBody>
          <a:bodyPr anchor="t"/>
          <a:lstStyle>
            <a:lvl1pPr algn="l">
              <a:defRPr sz="2667" b="1" cap="all"/>
            </a:lvl1pPr>
          </a:lstStyle>
          <a:p>
            <a:r>
              <a:rPr lang="en-US"/>
              <a:t>Click to edit Master title style</a:t>
            </a:r>
          </a:p>
        </p:txBody>
      </p:sp>
      <p:sp>
        <p:nvSpPr>
          <p:cNvPr id="3" name="Text Placeholder 2"/>
          <p:cNvSpPr>
            <a:spLocks noGrp="1"/>
          </p:cNvSpPr>
          <p:nvPr>
            <p:ph type="body" idx="1"/>
          </p:nvPr>
        </p:nvSpPr>
        <p:spPr>
          <a:xfrm>
            <a:off x="481542" y="1937809"/>
            <a:ext cx="5181600" cy="1000125"/>
          </a:xfrm>
        </p:spPr>
        <p:txBody>
          <a:bodyPr anchor="b"/>
          <a:lstStyle>
            <a:lvl1pPr marL="0" indent="0">
              <a:buNone/>
              <a:defRPr sz="1333">
                <a:solidFill>
                  <a:schemeClr val="tx1">
                    <a:tint val="75000"/>
                  </a:schemeClr>
                </a:solidFill>
              </a:defRPr>
            </a:lvl1pPr>
            <a:lvl2pPr marL="304815" indent="0">
              <a:buNone/>
              <a:defRPr sz="1200">
                <a:solidFill>
                  <a:schemeClr val="tx1">
                    <a:tint val="75000"/>
                  </a:schemeClr>
                </a:solidFill>
              </a:defRPr>
            </a:lvl2pPr>
            <a:lvl3pPr marL="609630" indent="0">
              <a:buNone/>
              <a:defRPr sz="1067">
                <a:solidFill>
                  <a:schemeClr val="tx1">
                    <a:tint val="75000"/>
                  </a:schemeClr>
                </a:solidFill>
              </a:defRPr>
            </a:lvl3pPr>
            <a:lvl4pPr marL="914446" indent="0">
              <a:buNone/>
              <a:defRPr sz="933">
                <a:solidFill>
                  <a:schemeClr val="tx1">
                    <a:tint val="75000"/>
                  </a:schemeClr>
                </a:solidFill>
              </a:defRPr>
            </a:lvl4pPr>
            <a:lvl5pPr marL="1219261" indent="0">
              <a:buNone/>
              <a:defRPr sz="933">
                <a:solidFill>
                  <a:schemeClr val="tx1">
                    <a:tint val="75000"/>
                  </a:schemeClr>
                </a:solidFill>
              </a:defRPr>
            </a:lvl5pPr>
            <a:lvl6pPr marL="1524076" indent="0">
              <a:buNone/>
              <a:defRPr sz="933">
                <a:solidFill>
                  <a:schemeClr val="tx1">
                    <a:tint val="75000"/>
                  </a:schemeClr>
                </a:solidFill>
              </a:defRPr>
            </a:lvl6pPr>
            <a:lvl7pPr marL="1828891" indent="0">
              <a:buNone/>
              <a:defRPr sz="933">
                <a:solidFill>
                  <a:schemeClr val="tx1">
                    <a:tint val="75000"/>
                  </a:schemeClr>
                </a:solidFill>
              </a:defRPr>
            </a:lvl7pPr>
            <a:lvl8pPr marL="2133707" indent="0">
              <a:buNone/>
              <a:defRPr sz="933">
                <a:solidFill>
                  <a:schemeClr val="tx1">
                    <a:tint val="75000"/>
                  </a:schemeClr>
                </a:solidFill>
              </a:defRPr>
            </a:lvl8pPr>
            <a:lvl9pPr marL="2438522" indent="0">
              <a:buNone/>
              <a:defRPr sz="93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woObj" preserve="1">
  <p:cSld name="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61201835"/>
      </p:ext>
    </p:extLst>
  </p:cSld>
  <p:clrMapOvr>
    <a:masterClrMapping/>
  </p:clrMapOvr>
</p:sldLayout>
</file>

<file path=ppt/slideLayouts/slideLayout9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04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098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9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04800" y="1023409"/>
            <a:ext cx="2693459"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4" name="Content Placeholder 3"/>
          <p:cNvSpPr>
            <a:spLocks noGrp="1"/>
          </p:cNvSpPr>
          <p:nvPr>
            <p:ph sz="half" idx="2"/>
          </p:nvPr>
        </p:nvSpPr>
        <p:spPr>
          <a:xfrm>
            <a:off x="304800" y="1449917"/>
            <a:ext cx="2693459"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096684" y="1023409"/>
            <a:ext cx="2694517"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6" name="Content Placeholder 5"/>
          <p:cNvSpPr>
            <a:spLocks noGrp="1"/>
          </p:cNvSpPr>
          <p:nvPr>
            <p:ph sz="quarter" idx="4"/>
          </p:nvPr>
        </p:nvSpPr>
        <p:spPr>
          <a:xfrm>
            <a:off x="3096684" y="1449917"/>
            <a:ext cx="2694517"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9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9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9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0" y="182033"/>
            <a:ext cx="2005542" cy="774700"/>
          </a:xfrm>
        </p:spPr>
        <p:txBody>
          <a:bodyPr anchor="b"/>
          <a:lstStyle>
            <a:lvl1pPr algn="l">
              <a:defRPr sz="1333" b="1"/>
            </a:lvl1pPr>
          </a:lstStyle>
          <a:p>
            <a:r>
              <a:rPr lang="en-US"/>
              <a:t>Click to edit Master title style</a:t>
            </a:r>
          </a:p>
        </p:txBody>
      </p:sp>
      <p:sp>
        <p:nvSpPr>
          <p:cNvPr id="3" name="Content Placeholder 2"/>
          <p:cNvSpPr>
            <a:spLocks noGrp="1"/>
          </p:cNvSpPr>
          <p:nvPr>
            <p:ph idx="1"/>
          </p:nvPr>
        </p:nvSpPr>
        <p:spPr>
          <a:xfrm>
            <a:off x="2383367" y="182034"/>
            <a:ext cx="3407833" cy="3902075"/>
          </a:xfrm>
        </p:spPr>
        <p:txBody>
          <a:bodyPr/>
          <a:lstStyle>
            <a:lvl1pPr>
              <a:defRPr sz="2133"/>
            </a:lvl1pPr>
            <a:lvl2pPr>
              <a:defRPr sz="1867"/>
            </a:lvl2pPr>
            <a:lvl3pPr>
              <a:defRPr sz="1600"/>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04800" y="956734"/>
            <a:ext cx="2005542" cy="31273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9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94859" y="3200400"/>
            <a:ext cx="3657600" cy="377825"/>
          </a:xfrm>
        </p:spPr>
        <p:txBody>
          <a:bodyPr anchor="b"/>
          <a:lstStyle>
            <a:lvl1pPr algn="l">
              <a:defRPr sz="1333" b="1"/>
            </a:lvl1pPr>
          </a:lstStyle>
          <a:p>
            <a:r>
              <a:rPr lang="en-US"/>
              <a:t>Click to edit Master title style</a:t>
            </a:r>
          </a:p>
        </p:txBody>
      </p:sp>
      <p:sp>
        <p:nvSpPr>
          <p:cNvPr id="3" name="Picture Placeholder 2"/>
          <p:cNvSpPr>
            <a:spLocks noGrp="1"/>
          </p:cNvSpPr>
          <p:nvPr>
            <p:ph type="pic" idx="1"/>
          </p:nvPr>
        </p:nvSpPr>
        <p:spPr>
          <a:xfrm>
            <a:off x="1194859" y="408517"/>
            <a:ext cx="3657600" cy="2743200"/>
          </a:xfrm>
        </p:spPr>
        <p:txBody>
          <a:bodyPr/>
          <a:lstStyle>
            <a:lvl1pPr marL="0" indent="0">
              <a:buNone/>
              <a:defRPr sz="2133"/>
            </a:lvl1pPr>
            <a:lvl2pPr marL="304815" indent="0">
              <a:buNone/>
              <a:defRPr sz="1867"/>
            </a:lvl2pPr>
            <a:lvl3pPr marL="609630" indent="0">
              <a:buNone/>
              <a:defRPr sz="1600"/>
            </a:lvl3pPr>
            <a:lvl4pPr marL="914446" indent="0">
              <a:buNone/>
              <a:defRPr sz="1333"/>
            </a:lvl4pPr>
            <a:lvl5pPr marL="1219261" indent="0">
              <a:buNone/>
              <a:defRPr sz="1333"/>
            </a:lvl5pPr>
            <a:lvl6pPr marL="1524076" indent="0">
              <a:buNone/>
              <a:defRPr sz="1333"/>
            </a:lvl6pPr>
            <a:lvl7pPr marL="1828891" indent="0">
              <a:buNone/>
              <a:defRPr sz="1333"/>
            </a:lvl7pPr>
            <a:lvl8pPr marL="2133707" indent="0">
              <a:buNone/>
              <a:defRPr sz="1333"/>
            </a:lvl8pPr>
            <a:lvl9pPr marL="2438522" indent="0">
              <a:buNone/>
              <a:defRPr sz="1333"/>
            </a:lvl9pPr>
          </a:lstStyle>
          <a:p>
            <a:endParaRPr lang="en-US"/>
          </a:p>
        </p:txBody>
      </p:sp>
      <p:sp>
        <p:nvSpPr>
          <p:cNvPr id="4" name="Text Placeholder 3"/>
          <p:cNvSpPr>
            <a:spLocks noGrp="1"/>
          </p:cNvSpPr>
          <p:nvPr>
            <p:ph type="body" sz="half" idx="2"/>
          </p:nvPr>
        </p:nvSpPr>
        <p:spPr>
          <a:xfrm>
            <a:off x="1194859" y="3578225"/>
            <a:ext cx="3657600" cy="5365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9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9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419600" y="183092"/>
            <a:ext cx="1371600" cy="390101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04800" y="183092"/>
            <a:ext cx="4013200" cy="39010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7553818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84537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32901630"/>
      </p:ext>
    </p:extLst>
  </p:cSld>
  <p:clrMapOvr>
    <a:masterClrMapping/>
  </p:clrMapOvr>
</p:sldLayout>
</file>

<file path=ppt/slideMasters/_rels/slideMaster1.xml.rels><?xml version="1.0" encoding="UTF-8" standalone="yes"?>
<Relationships xmlns="http://schemas.openxmlformats.org/package/2006/relationships"><Relationship Id="rId117" Type="http://schemas.openxmlformats.org/officeDocument/2006/relationships/slideLayout" Target="../slideLayouts/slideLayout117.xml"/><Relationship Id="rId671" Type="http://schemas.openxmlformats.org/officeDocument/2006/relationships/slideLayout" Target="../slideLayouts/slideLayout671.xml"/><Relationship Id="rId21" Type="http://schemas.openxmlformats.org/officeDocument/2006/relationships/slideLayout" Target="../slideLayouts/slideLayout21.xml"/><Relationship Id="rId324" Type="http://schemas.openxmlformats.org/officeDocument/2006/relationships/slideLayout" Target="../slideLayouts/slideLayout324.xml"/><Relationship Id="rId531" Type="http://schemas.openxmlformats.org/officeDocument/2006/relationships/slideLayout" Target="../slideLayouts/slideLayout531.xml"/><Relationship Id="rId629" Type="http://schemas.openxmlformats.org/officeDocument/2006/relationships/slideLayout" Target="../slideLayouts/slideLayout629.xml"/><Relationship Id="rId170" Type="http://schemas.openxmlformats.org/officeDocument/2006/relationships/slideLayout" Target="../slideLayouts/slideLayout170.xml"/><Relationship Id="rId268" Type="http://schemas.openxmlformats.org/officeDocument/2006/relationships/slideLayout" Target="../slideLayouts/slideLayout268.xml"/><Relationship Id="rId475" Type="http://schemas.openxmlformats.org/officeDocument/2006/relationships/slideLayout" Target="../slideLayouts/slideLayout475.xml"/><Relationship Id="rId682" Type="http://schemas.openxmlformats.org/officeDocument/2006/relationships/slideLayout" Target="../slideLayouts/slideLayout682.xml"/><Relationship Id="rId32" Type="http://schemas.openxmlformats.org/officeDocument/2006/relationships/slideLayout" Target="../slideLayouts/slideLayout32.xml"/><Relationship Id="rId128" Type="http://schemas.openxmlformats.org/officeDocument/2006/relationships/slideLayout" Target="../slideLayouts/slideLayout128.xml"/><Relationship Id="rId335" Type="http://schemas.openxmlformats.org/officeDocument/2006/relationships/slideLayout" Target="../slideLayouts/slideLayout335.xml"/><Relationship Id="rId542" Type="http://schemas.openxmlformats.org/officeDocument/2006/relationships/slideLayout" Target="../slideLayouts/slideLayout542.xml"/><Relationship Id="rId181" Type="http://schemas.openxmlformats.org/officeDocument/2006/relationships/slideLayout" Target="../slideLayouts/slideLayout181.xml"/><Relationship Id="rId402" Type="http://schemas.openxmlformats.org/officeDocument/2006/relationships/slideLayout" Target="../slideLayouts/slideLayout402.xml"/><Relationship Id="rId279" Type="http://schemas.openxmlformats.org/officeDocument/2006/relationships/slideLayout" Target="../slideLayouts/slideLayout279.xml"/><Relationship Id="rId486" Type="http://schemas.openxmlformats.org/officeDocument/2006/relationships/slideLayout" Target="../slideLayouts/slideLayout486.xml"/><Relationship Id="rId43" Type="http://schemas.openxmlformats.org/officeDocument/2006/relationships/slideLayout" Target="../slideLayouts/slideLayout43.xml"/><Relationship Id="rId139" Type="http://schemas.openxmlformats.org/officeDocument/2006/relationships/slideLayout" Target="../slideLayouts/slideLayout139.xml"/><Relationship Id="rId346" Type="http://schemas.openxmlformats.org/officeDocument/2006/relationships/slideLayout" Target="../slideLayouts/slideLayout346.xml"/><Relationship Id="rId553" Type="http://schemas.openxmlformats.org/officeDocument/2006/relationships/slideLayout" Target="../slideLayouts/slideLayout553.xml"/><Relationship Id="rId192" Type="http://schemas.openxmlformats.org/officeDocument/2006/relationships/slideLayout" Target="../slideLayouts/slideLayout192.xml"/><Relationship Id="rId206" Type="http://schemas.openxmlformats.org/officeDocument/2006/relationships/slideLayout" Target="../slideLayouts/slideLayout206.xml"/><Relationship Id="rId413" Type="http://schemas.openxmlformats.org/officeDocument/2006/relationships/slideLayout" Target="../slideLayouts/slideLayout413.xml"/><Relationship Id="rId497" Type="http://schemas.openxmlformats.org/officeDocument/2006/relationships/slideLayout" Target="../slideLayouts/slideLayout497.xml"/><Relationship Id="rId620" Type="http://schemas.openxmlformats.org/officeDocument/2006/relationships/slideLayout" Target="../slideLayouts/slideLayout620.xml"/><Relationship Id="rId357" Type="http://schemas.openxmlformats.org/officeDocument/2006/relationships/slideLayout" Target="../slideLayouts/slideLayout357.xml"/><Relationship Id="rId54" Type="http://schemas.openxmlformats.org/officeDocument/2006/relationships/slideLayout" Target="../slideLayouts/slideLayout54.xml"/><Relationship Id="rId217" Type="http://schemas.openxmlformats.org/officeDocument/2006/relationships/slideLayout" Target="../slideLayouts/slideLayout217.xml"/><Relationship Id="rId564" Type="http://schemas.openxmlformats.org/officeDocument/2006/relationships/slideLayout" Target="../slideLayouts/slideLayout564.xml"/><Relationship Id="rId424" Type="http://schemas.openxmlformats.org/officeDocument/2006/relationships/slideLayout" Target="../slideLayouts/slideLayout424.xml"/><Relationship Id="rId631" Type="http://schemas.openxmlformats.org/officeDocument/2006/relationships/slideLayout" Target="../slideLayouts/slideLayout631.xml"/><Relationship Id="rId270" Type="http://schemas.openxmlformats.org/officeDocument/2006/relationships/slideLayout" Target="../slideLayouts/slideLayout270.xml"/><Relationship Id="rId65" Type="http://schemas.openxmlformats.org/officeDocument/2006/relationships/slideLayout" Target="../slideLayouts/slideLayout65.xml"/><Relationship Id="rId130" Type="http://schemas.openxmlformats.org/officeDocument/2006/relationships/slideLayout" Target="../slideLayouts/slideLayout130.xml"/><Relationship Id="rId368" Type="http://schemas.openxmlformats.org/officeDocument/2006/relationships/slideLayout" Target="../slideLayouts/slideLayout368.xml"/><Relationship Id="rId575" Type="http://schemas.openxmlformats.org/officeDocument/2006/relationships/slideLayout" Target="../slideLayouts/slideLayout575.xml"/><Relationship Id="rId228" Type="http://schemas.openxmlformats.org/officeDocument/2006/relationships/slideLayout" Target="../slideLayouts/slideLayout228.xml"/><Relationship Id="rId435" Type="http://schemas.openxmlformats.org/officeDocument/2006/relationships/slideLayout" Target="../slideLayouts/slideLayout435.xml"/><Relationship Id="rId642" Type="http://schemas.openxmlformats.org/officeDocument/2006/relationships/slideLayout" Target="../slideLayouts/slideLayout642.xml"/><Relationship Id="rId281" Type="http://schemas.openxmlformats.org/officeDocument/2006/relationships/slideLayout" Target="../slideLayouts/slideLayout281.xml"/><Relationship Id="rId502" Type="http://schemas.openxmlformats.org/officeDocument/2006/relationships/slideLayout" Target="../slideLayouts/slideLayout502.xml"/><Relationship Id="rId76" Type="http://schemas.openxmlformats.org/officeDocument/2006/relationships/slideLayout" Target="../slideLayouts/slideLayout76.xml"/><Relationship Id="rId141" Type="http://schemas.openxmlformats.org/officeDocument/2006/relationships/slideLayout" Target="../slideLayouts/slideLayout141.xml"/><Relationship Id="rId379" Type="http://schemas.openxmlformats.org/officeDocument/2006/relationships/slideLayout" Target="../slideLayouts/slideLayout379.xml"/><Relationship Id="rId586" Type="http://schemas.openxmlformats.org/officeDocument/2006/relationships/slideLayout" Target="../slideLayouts/slideLayout586.xml"/><Relationship Id="rId7" Type="http://schemas.openxmlformats.org/officeDocument/2006/relationships/slideLayout" Target="../slideLayouts/slideLayout7.xml"/><Relationship Id="rId239" Type="http://schemas.openxmlformats.org/officeDocument/2006/relationships/slideLayout" Target="../slideLayouts/slideLayout239.xml"/><Relationship Id="rId446" Type="http://schemas.openxmlformats.org/officeDocument/2006/relationships/slideLayout" Target="../slideLayouts/slideLayout446.xml"/><Relationship Id="rId653" Type="http://schemas.openxmlformats.org/officeDocument/2006/relationships/slideLayout" Target="../slideLayouts/slideLayout653.xml"/><Relationship Id="rId292" Type="http://schemas.openxmlformats.org/officeDocument/2006/relationships/slideLayout" Target="../slideLayouts/slideLayout292.xml"/><Relationship Id="rId306" Type="http://schemas.openxmlformats.org/officeDocument/2006/relationships/slideLayout" Target="../slideLayouts/slideLayout306.xml"/><Relationship Id="rId87" Type="http://schemas.openxmlformats.org/officeDocument/2006/relationships/slideLayout" Target="../slideLayouts/slideLayout87.xml"/><Relationship Id="rId513" Type="http://schemas.openxmlformats.org/officeDocument/2006/relationships/slideLayout" Target="../slideLayouts/slideLayout513.xml"/><Relationship Id="rId597" Type="http://schemas.openxmlformats.org/officeDocument/2006/relationships/slideLayout" Target="../slideLayouts/slideLayout597.xml"/><Relationship Id="rId152" Type="http://schemas.openxmlformats.org/officeDocument/2006/relationships/slideLayout" Target="../slideLayouts/slideLayout152.xml"/><Relationship Id="rId457" Type="http://schemas.openxmlformats.org/officeDocument/2006/relationships/slideLayout" Target="../slideLayouts/slideLayout457.xml"/><Relationship Id="rId664" Type="http://schemas.openxmlformats.org/officeDocument/2006/relationships/slideLayout" Target="../slideLayouts/slideLayout664.xml"/><Relationship Id="rId14" Type="http://schemas.openxmlformats.org/officeDocument/2006/relationships/slideLayout" Target="../slideLayouts/slideLayout14.xml"/><Relationship Id="rId317" Type="http://schemas.openxmlformats.org/officeDocument/2006/relationships/slideLayout" Target="../slideLayouts/slideLayout317.xml"/><Relationship Id="rId524" Type="http://schemas.openxmlformats.org/officeDocument/2006/relationships/slideLayout" Target="../slideLayouts/slideLayout524.xml"/><Relationship Id="rId98" Type="http://schemas.openxmlformats.org/officeDocument/2006/relationships/slideLayout" Target="../slideLayouts/slideLayout98.xml"/><Relationship Id="rId163" Type="http://schemas.openxmlformats.org/officeDocument/2006/relationships/slideLayout" Target="../slideLayouts/slideLayout163.xml"/><Relationship Id="rId370" Type="http://schemas.openxmlformats.org/officeDocument/2006/relationships/slideLayout" Target="../slideLayouts/slideLayout370.xml"/><Relationship Id="rId230" Type="http://schemas.openxmlformats.org/officeDocument/2006/relationships/slideLayout" Target="../slideLayouts/slideLayout230.xml"/><Relationship Id="rId468" Type="http://schemas.openxmlformats.org/officeDocument/2006/relationships/slideLayout" Target="../slideLayouts/slideLayout468.xml"/><Relationship Id="rId675" Type="http://schemas.openxmlformats.org/officeDocument/2006/relationships/slideLayout" Target="../slideLayouts/slideLayout675.xml"/><Relationship Id="rId25" Type="http://schemas.openxmlformats.org/officeDocument/2006/relationships/slideLayout" Target="../slideLayouts/slideLayout25.xml"/><Relationship Id="rId328" Type="http://schemas.openxmlformats.org/officeDocument/2006/relationships/slideLayout" Target="../slideLayouts/slideLayout328.xml"/><Relationship Id="rId535" Type="http://schemas.openxmlformats.org/officeDocument/2006/relationships/slideLayout" Target="../slideLayouts/slideLayout535.xml"/><Relationship Id="rId174" Type="http://schemas.openxmlformats.org/officeDocument/2006/relationships/slideLayout" Target="../slideLayouts/slideLayout174.xml"/><Relationship Id="rId381" Type="http://schemas.openxmlformats.org/officeDocument/2006/relationships/slideLayout" Target="../slideLayouts/slideLayout381.xml"/><Relationship Id="rId602" Type="http://schemas.openxmlformats.org/officeDocument/2006/relationships/slideLayout" Target="../slideLayouts/slideLayout602.xml"/><Relationship Id="rId241" Type="http://schemas.openxmlformats.org/officeDocument/2006/relationships/slideLayout" Target="../slideLayouts/slideLayout241.xml"/><Relationship Id="rId479" Type="http://schemas.openxmlformats.org/officeDocument/2006/relationships/slideLayout" Target="../slideLayouts/slideLayout479.xml"/><Relationship Id="rId36" Type="http://schemas.openxmlformats.org/officeDocument/2006/relationships/slideLayout" Target="../slideLayouts/slideLayout36.xml"/><Relationship Id="rId339" Type="http://schemas.openxmlformats.org/officeDocument/2006/relationships/slideLayout" Target="../slideLayouts/slideLayout339.xml"/><Relationship Id="rId546" Type="http://schemas.openxmlformats.org/officeDocument/2006/relationships/slideLayout" Target="../slideLayouts/slideLayout546.xml"/><Relationship Id="rId101" Type="http://schemas.openxmlformats.org/officeDocument/2006/relationships/slideLayout" Target="../slideLayouts/slideLayout101.xml"/><Relationship Id="rId185" Type="http://schemas.openxmlformats.org/officeDocument/2006/relationships/slideLayout" Target="../slideLayouts/slideLayout185.xml"/><Relationship Id="rId406" Type="http://schemas.openxmlformats.org/officeDocument/2006/relationships/slideLayout" Target="../slideLayouts/slideLayout406.xml"/><Relationship Id="rId392" Type="http://schemas.openxmlformats.org/officeDocument/2006/relationships/slideLayout" Target="../slideLayouts/slideLayout392.xml"/><Relationship Id="rId613" Type="http://schemas.openxmlformats.org/officeDocument/2006/relationships/slideLayout" Target="../slideLayouts/slideLayout613.xml"/><Relationship Id="rId252" Type="http://schemas.openxmlformats.org/officeDocument/2006/relationships/slideLayout" Target="../slideLayouts/slideLayout252.xml"/><Relationship Id="rId47" Type="http://schemas.openxmlformats.org/officeDocument/2006/relationships/slideLayout" Target="../slideLayouts/slideLayout47.xml"/><Relationship Id="rId112" Type="http://schemas.openxmlformats.org/officeDocument/2006/relationships/slideLayout" Target="../slideLayouts/slideLayout112.xml"/><Relationship Id="rId557" Type="http://schemas.openxmlformats.org/officeDocument/2006/relationships/slideLayout" Target="../slideLayouts/slideLayout557.xml"/><Relationship Id="rId196" Type="http://schemas.openxmlformats.org/officeDocument/2006/relationships/slideLayout" Target="../slideLayouts/slideLayout196.xml"/><Relationship Id="rId417" Type="http://schemas.openxmlformats.org/officeDocument/2006/relationships/slideLayout" Target="../slideLayouts/slideLayout417.xml"/><Relationship Id="rId624" Type="http://schemas.openxmlformats.org/officeDocument/2006/relationships/slideLayout" Target="../slideLayouts/slideLayout624.xml"/><Relationship Id="rId263" Type="http://schemas.openxmlformats.org/officeDocument/2006/relationships/slideLayout" Target="../slideLayouts/slideLayout263.xml"/><Relationship Id="rId470" Type="http://schemas.openxmlformats.org/officeDocument/2006/relationships/slideLayout" Target="../slideLayouts/slideLayout470.xml"/><Relationship Id="rId58" Type="http://schemas.openxmlformats.org/officeDocument/2006/relationships/slideLayout" Target="../slideLayouts/slideLayout58.xml"/><Relationship Id="rId123" Type="http://schemas.openxmlformats.org/officeDocument/2006/relationships/slideLayout" Target="../slideLayouts/slideLayout123.xml"/><Relationship Id="rId330" Type="http://schemas.openxmlformats.org/officeDocument/2006/relationships/slideLayout" Target="../slideLayouts/slideLayout330.xml"/><Relationship Id="rId568" Type="http://schemas.openxmlformats.org/officeDocument/2006/relationships/slideLayout" Target="../slideLayouts/slideLayout568.xml"/><Relationship Id="rId428" Type="http://schemas.openxmlformats.org/officeDocument/2006/relationships/slideLayout" Target="../slideLayouts/slideLayout428.xml"/><Relationship Id="rId635" Type="http://schemas.openxmlformats.org/officeDocument/2006/relationships/slideLayout" Target="../slideLayouts/slideLayout635.xml"/><Relationship Id="rId274" Type="http://schemas.openxmlformats.org/officeDocument/2006/relationships/slideLayout" Target="../slideLayouts/slideLayout274.xml"/><Relationship Id="rId481" Type="http://schemas.openxmlformats.org/officeDocument/2006/relationships/slideLayout" Target="../slideLayouts/slideLayout481.xml"/><Relationship Id="rId69" Type="http://schemas.openxmlformats.org/officeDocument/2006/relationships/slideLayout" Target="../slideLayouts/slideLayout69.xml"/><Relationship Id="rId134" Type="http://schemas.openxmlformats.org/officeDocument/2006/relationships/slideLayout" Target="../slideLayouts/slideLayout134.xml"/><Relationship Id="rId579" Type="http://schemas.openxmlformats.org/officeDocument/2006/relationships/slideLayout" Target="../slideLayouts/slideLayout579.xml"/><Relationship Id="rId341" Type="http://schemas.openxmlformats.org/officeDocument/2006/relationships/slideLayout" Target="../slideLayouts/slideLayout341.xml"/><Relationship Id="rId439" Type="http://schemas.openxmlformats.org/officeDocument/2006/relationships/slideLayout" Target="../slideLayouts/slideLayout439.xml"/><Relationship Id="rId646" Type="http://schemas.openxmlformats.org/officeDocument/2006/relationships/slideLayout" Target="../slideLayouts/slideLayout646.xml"/><Relationship Id="rId201" Type="http://schemas.openxmlformats.org/officeDocument/2006/relationships/slideLayout" Target="../slideLayouts/slideLayout201.xml"/><Relationship Id="rId285" Type="http://schemas.openxmlformats.org/officeDocument/2006/relationships/slideLayout" Target="../slideLayouts/slideLayout285.xml"/><Relationship Id="rId506" Type="http://schemas.openxmlformats.org/officeDocument/2006/relationships/slideLayout" Target="../slideLayouts/slideLayout506.xml"/><Relationship Id="rId492" Type="http://schemas.openxmlformats.org/officeDocument/2006/relationships/slideLayout" Target="../slideLayouts/slideLayout492.xml"/><Relationship Id="rId145" Type="http://schemas.openxmlformats.org/officeDocument/2006/relationships/slideLayout" Target="../slideLayouts/slideLayout145.xml"/><Relationship Id="rId352" Type="http://schemas.openxmlformats.org/officeDocument/2006/relationships/slideLayout" Target="../slideLayouts/slideLayout352.xml"/><Relationship Id="rId212" Type="http://schemas.openxmlformats.org/officeDocument/2006/relationships/slideLayout" Target="../slideLayouts/slideLayout212.xml"/><Relationship Id="rId254" Type="http://schemas.openxmlformats.org/officeDocument/2006/relationships/slideLayout" Target="../slideLayouts/slideLayout254.xml"/><Relationship Id="rId657" Type="http://schemas.openxmlformats.org/officeDocument/2006/relationships/slideLayout" Target="../slideLayouts/slideLayout657.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296" Type="http://schemas.openxmlformats.org/officeDocument/2006/relationships/slideLayout" Target="../slideLayouts/slideLayout296.xml"/><Relationship Id="rId461" Type="http://schemas.openxmlformats.org/officeDocument/2006/relationships/slideLayout" Target="../slideLayouts/slideLayout461.xml"/><Relationship Id="rId517" Type="http://schemas.openxmlformats.org/officeDocument/2006/relationships/slideLayout" Target="../slideLayouts/slideLayout517.xml"/><Relationship Id="rId559" Type="http://schemas.openxmlformats.org/officeDocument/2006/relationships/slideLayout" Target="../slideLayouts/slideLayout559.xml"/><Relationship Id="rId60" Type="http://schemas.openxmlformats.org/officeDocument/2006/relationships/slideLayout" Target="../slideLayouts/slideLayout60.xml"/><Relationship Id="rId156" Type="http://schemas.openxmlformats.org/officeDocument/2006/relationships/slideLayout" Target="../slideLayouts/slideLayout156.xml"/><Relationship Id="rId198" Type="http://schemas.openxmlformats.org/officeDocument/2006/relationships/slideLayout" Target="../slideLayouts/slideLayout198.xml"/><Relationship Id="rId321" Type="http://schemas.openxmlformats.org/officeDocument/2006/relationships/slideLayout" Target="../slideLayouts/slideLayout321.xml"/><Relationship Id="rId363" Type="http://schemas.openxmlformats.org/officeDocument/2006/relationships/slideLayout" Target="../slideLayouts/slideLayout363.xml"/><Relationship Id="rId419" Type="http://schemas.openxmlformats.org/officeDocument/2006/relationships/slideLayout" Target="../slideLayouts/slideLayout419.xml"/><Relationship Id="rId570" Type="http://schemas.openxmlformats.org/officeDocument/2006/relationships/slideLayout" Target="../slideLayouts/slideLayout570.xml"/><Relationship Id="rId626" Type="http://schemas.openxmlformats.org/officeDocument/2006/relationships/slideLayout" Target="../slideLayouts/slideLayout626.xml"/><Relationship Id="rId223" Type="http://schemas.openxmlformats.org/officeDocument/2006/relationships/slideLayout" Target="../slideLayouts/slideLayout223.xml"/><Relationship Id="rId430" Type="http://schemas.openxmlformats.org/officeDocument/2006/relationships/slideLayout" Target="../slideLayouts/slideLayout430.xml"/><Relationship Id="rId668" Type="http://schemas.openxmlformats.org/officeDocument/2006/relationships/slideLayout" Target="../slideLayouts/slideLayout668.xml"/><Relationship Id="rId18" Type="http://schemas.openxmlformats.org/officeDocument/2006/relationships/slideLayout" Target="../slideLayouts/slideLayout18.xml"/><Relationship Id="rId265" Type="http://schemas.openxmlformats.org/officeDocument/2006/relationships/slideLayout" Target="../slideLayouts/slideLayout265.xml"/><Relationship Id="rId472" Type="http://schemas.openxmlformats.org/officeDocument/2006/relationships/slideLayout" Target="../slideLayouts/slideLayout472.xml"/><Relationship Id="rId528" Type="http://schemas.openxmlformats.org/officeDocument/2006/relationships/slideLayout" Target="../slideLayouts/slideLayout528.xml"/><Relationship Id="rId125" Type="http://schemas.openxmlformats.org/officeDocument/2006/relationships/slideLayout" Target="../slideLayouts/slideLayout125.xml"/><Relationship Id="rId167" Type="http://schemas.openxmlformats.org/officeDocument/2006/relationships/slideLayout" Target="../slideLayouts/slideLayout167.xml"/><Relationship Id="rId332" Type="http://schemas.openxmlformats.org/officeDocument/2006/relationships/slideLayout" Target="../slideLayouts/slideLayout332.xml"/><Relationship Id="rId374" Type="http://schemas.openxmlformats.org/officeDocument/2006/relationships/slideLayout" Target="../slideLayouts/slideLayout374.xml"/><Relationship Id="rId581" Type="http://schemas.openxmlformats.org/officeDocument/2006/relationships/slideLayout" Target="../slideLayouts/slideLayout581.xml"/><Relationship Id="rId71" Type="http://schemas.openxmlformats.org/officeDocument/2006/relationships/slideLayout" Target="../slideLayouts/slideLayout71.xml"/><Relationship Id="rId234" Type="http://schemas.openxmlformats.org/officeDocument/2006/relationships/slideLayout" Target="../slideLayouts/slideLayout234.xml"/><Relationship Id="rId637" Type="http://schemas.openxmlformats.org/officeDocument/2006/relationships/slideLayout" Target="../slideLayouts/slideLayout637.xml"/><Relationship Id="rId679" Type="http://schemas.openxmlformats.org/officeDocument/2006/relationships/slideLayout" Target="../slideLayouts/slideLayout679.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76" Type="http://schemas.openxmlformats.org/officeDocument/2006/relationships/slideLayout" Target="../slideLayouts/slideLayout276.xml"/><Relationship Id="rId441" Type="http://schemas.openxmlformats.org/officeDocument/2006/relationships/slideLayout" Target="../slideLayouts/slideLayout441.xml"/><Relationship Id="rId483" Type="http://schemas.openxmlformats.org/officeDocument/2006/relationships/slideLayout" Target="../slideLayouts/slideLayout483.xml"/><Relationship Id="rId539" Type="http://schemas.openxmlformats.org/officeDocument/2006/relationships/slideLayout" Target="../slideLayouts/slideLayout539.xml"/><Relationship Id="rId40" Type="http://schemas.openxmlformats.org/officeDocument/2006/relationships/slideLayout" Target="../slideLayouts/slideLayout40.xml"/><Relationship Id="rId136" Type="http://schemas.openxmlformats.org/officeDocument/2006/relationships/slideLayout" Target="../slideLayouts/slideLayout136.xml"/><Relationship Id="rId178" Type="http://schemas.openxmlformats.org/officeDocument/2006/relationships/slideLayout" Target="../slideLayouts/slideLayout178.xml"/><Relationship Id="rId301" Type="http://schemas.openxmlformats.org/officeDocument/2006/relationships/slideLayout" Target="../slideLayouts/slideLayout301.xml"/><Relationship Id="rId343" Type="http://schemas.openxmlformats.org/officeDocument/2006/relationships/slideLayout" Target="../slideLayouts/slideLayout343.xml"/><Relationship Id="rId550" Type="http://schemas.openxmlformats.org/officeDocument/2006/relationships/slideLayout" Target="../slideLayouts/slideLayout550.xml"/><Relationship Id="rId82" Type="http://schemas.openxmlformats.org/officeDocument/2006/relationships/slideLayout" Target="../slideLayouts/slideLayout82.xml"/><Relationship Id="rId203" Type="http://schemas.openxmlformats.org/officeDocument/2006/relationships/slideLayout" Target="../slideLayouts/slideLayout203.xml"/><Relationship Id="rId385" Type="http://schemas.openxmlformats.org/officeDocument/2006/relationships/slideLayout" Target="../slideLayouts/slideLayout385.xml"/><Relationship Id="rId592" Type="http://schemas.openxmlformats.org/officeDocument/2006/relationships/slideLayout" Target="../slideLayouts/slideLayout592.xml"/><Relationship Id="rId606" Type="http://schemas.openxmlformats.org/officeDocument/2006/relationships/slideLayout" Target="../slideLayouts/slideLayout606.xml"/><Relationship Id="rId648" Type="http://schemas.openxmlformats.org/officeDocument/2006/relationships/slideLayout" Target="../slideLayouts/slideLayout648.xml"/><Relationship Id="rId245" Type="http://schemas.openxmlformats.org/officeDocument/2006/relationships/slideLayout" Target="../slideLayouts/slideLayout245.xml"/><Relationship Id="rId287" Type="http://schemas.openxmlformats.org/officeDocument/2006/relationships/slideLayout" Target="../slideLayouts/slideLayout287.xml"/><Relationship Id="rId410" Type="http://schemas.openxmlformats.org/officeDocument/2006/relationships/slideLayout" Target="../slideLayouts/slideLayout410.xml"/><Relationship Id="rId452" Type="http://schemas.openxmlformats.org/officeDocument/2006/relationships/slideLayout" Target="../slideLayouts/slideLayout452.xml"/><Relationship Id="rId494" Type="http://schemas.openxmlformats.org/officeDocument/2006/relationships/slideLayout" Target="../slideLayouts/slideLayout494.xml"/><Relationship Id="rId508" Type="http://schemas.openxmlformats.org/officeDocument/2006/relationships/slideLayout" Target="../slideLayouts/slideLayout508.xml"/><Relationship Id="rId105" Type="http://schemas.openxmlformats.org/officeDocument/2006/relationships/slideLayout" Target="../slideLayouts/slideLayout105.xml"/><Relationship Id="rId147" Type="http://schemas.openxmlformats.org/officeDocument/2006/relationships/slideLayout" Target="../slideLayouts/slideLayout147.xml"/><Relationship Id="rId312" Type="http://schemas.openxmlformats.org/officeDocument/2006/relationships/slideLayout" Target="../slideLayouts/slideLayout312.xml"/><Relationship Id="rId354" Type="http://schemas.openxmlformats.org/officeDocument/2006/relationships/slideLayout" Target="../slideLayouts/slideLayout354.xml"/><Relationship Id="rId51" Type="http://schemas.openxmlformats.org/officeDocument/2006/relationships/slideLayout" Target="../slideLayouts/slideLayout51.xml"/><Relationship Id="rId93" Type="http://schemas.openxmlformats.org/officeDocument/2006/relationships/slideLayout" Target="../slideLayouts/slideLayout93.xml"/><Relationship Id="rId189" Type="http://schemas.openxmlformats.org/officeDocument/2006/relationships/slideLayout" Target="../slideLayouts/slideLayout189.xml"/><Relationship Id="rId396" Type="http://schemas.openxmlformats.org/officeDocument/2006/relationships/slideLayout" Target="../slideLayouts/slideLayout396.xml"/><Relationship Id="rId561" Type="http://schemas.openxmlformats.org/officeDocument/2006/relationships/slideLayout" Target="../slideLayouts/slideLayout561.xml"/><Relationship Id="rId617" Type="http://schemas.openxmlformats.org/officeDocument/2006/relationships/slideLayout" Target="../slideLayouts/slideLayout617.xml"/><Relationship Id="rId659" Type="http://schemas.openxmlformats.org/officeDocument/2006/relationships/slideLayout" Target="../slideLayouts/slideLayout659.xml"/><Relationship Id="rId214" Type="http://schemas.openxmlformats.org/officeDocument/2006/relationships/slideLayout" Target="../slideLayouts/slideLayout214.xml"/><Relationship Id="rId256" Type="http://schemas.openxmlformats.org/officeDocument/2006/relationships/slideLayout" Target="../slideLayouts/slideLayout256.xml"/><Relationship Id="rId298" Type="http://schemas.openxmlformats.org/officeDocument/2006/relationships/slideLayout" Target="../slideLayouts/slideLayout298.xml"/><Relationship Id="rId421" Type="http://schemas.openxmlformats.org/officeDocument/2006/relationships/slideLayout" Target="../slideLayouts/slideLayout421.xml"/><Relationship Id="rId463" Type="http://schemas.openxmlformats.org/officeDocument/2006/relationships/slideLayout" Target="../slideLayouts/slideLayout463.xml"/><Relationship Id="rId519" Type="http://schemas.openxmlformats.org/officeDocument/2006/relationships/slideLayout" Target="../slideLayouts/slideLayout519.xml"/><Relationship Id="rId670" Type="http://schemas.openxmlformats.org/officeDocument/2006/relationships/slideLayout" Target="../slideLayouts/slideLayout670.xml"/><Relationship Id="rId116" Type="http://schemas.openxmlformats.org/officeDocument/2006/relationships/slideLayout" Target="../slideLayouts/slideLayout116.xml"/><Relationship Id="rId158" Type="http://schemas.openxmlformats.org/officeDocument/2006/relationships/slideLayout" Target="../slideLayouts/slideLayout158.xml"/><Relationship Id="rId323" Type="http://schemas.openxmlformats.org/officeDocument/2006/relationships/slideLayout" Target="../slideLayouts/slideLayout323.xml"/><Relationship Id="rId530" Type="http://schemas.openxmlformats.org/officeDocument/2006/relationships/slideLayout" Target="../slideLayouts/slideLayout530.xml"/><Relationship Id="rId20" Type="http://schemas.openxmlformats.org/officeDocument/2006/relationships/slideLayout" Target="../slideLayouts/slideLayout20.xml"/><Relationship Id="rId62" Type="http://schemas.openxmlformats.org/officeDocument/2006/relationships/slideLayout" Target="../slideLayouts/slideLayout62.xml"/><Relationship Id="rId365" Type="http://schemas.openxmlformats.org/officeDocument/2006/relationships/slideLayout" Target="../slideLayouts/slideLayout365.xml"/><Relationship Id="rId572" Type="http://schemas.openxmlformats.org/officeDocument/2006/relationships/slideLayout" Target="../slideLayouts/slideLayout572.xml"/><Relationship Id="rId628" Type="http://schemas.openxmlformats.org/officeDocument/2006/relationships/slideLayout" Target="../slideLayouts/slideLayout628.xml"/><Relationship Id="rId225" Type="http://schemas.openxmlformats.org/officeDocument/2006/relationships/slideLayout" Target="../slideLayouts/slideLayout225.xml"/><Relationship Id="rId267" Type="http://schemas.openxmlformats.org/officeDocument/2006/relationships/slideLayout" Target="../slideLayouts/slideLayout267.xml"/><Relationship Id="rId432" Type="http://schemas.openxmlformats.org/officeDocument/2006/relationships/slideLayout" Target="../slideLayouts/slideLayout432.xml"/><Relationship Id="rId474" Type="http://schemas.openxmlformats.org/officeDocument/2006/relationships/slideLayout" Target="../slideLayouts/slideLayout474.xml"/><Relationship Id="rId127" Type="http://schemas.openxmlformats.org/officeDocument/2006/relationships/slideLayout" Target="../slideLayouts/slideLayout127.xml"/><Relationship Id="rId681" Type="http://schemas.openxmlformats.org/officeDocument/2006/relationships/slideLayout" Target="../slideLayouts/slideLayout681.xml"/><Relationship Id="rId31" Type="http://schemas.openxmlformats.org/officeDocument/2006/relationships/slideLayout" Target="../slideLayouts/slideLayout31.xml"/><Relationship Id="rId73" Type="http://schemas.openxmlformats.org/officeDocument/2006/relationships/slideLayout" Target="../slideLayouts/slideLayout73.xml"/><Relationship Id="rId169" Type="http://schemas.openxmlformats.org/officeDocument/2006/relationships/slideLayout" Target="../slideLayouts/slideLayout169.xml"/><Relationship Id="rId334" Type="http://schemas.openxmlformats.org/officeDocument/2006/relationships/slideLayout" Target="../slideLayouts/slideLayout334.xml"/><Relationship Id="rId376" Type="http://schemas.openxmlformats.org/officeDocument/2006/relationships/slideLayout" Target="../slideLayouts/slideLayout376.xml"/><Relationship Id="rId541" Type="http://schemas.openxmlformats.org/officeDocument/2006/relationships/slideLayout" Target="../slideLayouts/slideLayout541.xml"/><Relationship Id="rId583" Type="http://schemas.openxmlformats.org/officeDocument/2006/relationships/slideLayout" Target="../slideLayouts/slideLayout583.xml"/><Relationship Id="rId639" Type="http://schemas.openxmlformats.org/officeDocument/2006/relationships/slideLayout" Target="../slideLayouts/slideLayout639.xml"/><Relationship Id="rId4" Type="http://schemas.openxmlformats.org/officeDocument/2006/relationships/slideLayout" Target="../slideLayouts/slideLayout4.xml"/><Relationship Id="rId180" Type="http://schemas.openxmlformats.org/officeDocument/2006/relationships/slideLayout" Target="../slideLayouts/slideLayout180.xml"/><Relationship Id="rId236" Type="http://schemas.openxmlformats.org/officeDocument/2006/relationships/slideLayout" Target="../slideLayouts/slideLayout236.xml"/><Relationship Id="rId278" Type="http://schemas.openxmlformats.org/officeDocument/2006/relationships/slideLayout" Target="../slideLayouts/slideLayout278.xml"/><Relationship Id="rId401" Type="http://schemas.openxmlformats.org/officeDocument/2006/relationships/slideLayout" Target="../slideLayouts/slideLayout401.xml"/><Relationship Id="rId443" Type="http://schemas.openxmlformats.org/officeDocument/2006/relationships/slideLayout" Target="../slideLayouts/slideLayout443.xml"/><Relationship Id="rId650" Type="http://schemas.openxmlformats.org/officeDocument/2006/relationships/slideLayout" Target="../slideLayouts/slideLayout650.xml"/><Relationship Id="rId303" Type="http://schemas.openxmlformats.org/officeDocument/2006/relationships/slideLayout" Target="../slideLayouts/slideLayout303.xml"/><Relationship Id="rId485" Type="http://schemas.openxmlformats.org/officeDocument/2006/relationships/slideLayout" Target="../slideLayouts/slideLayout485.xml"/><Relationship Id="rId42" Type="http://schemas.openxmlformats.org/officeDocument/2006/relationships/slideLayout" Target="../slideLayouts/slideLayout42.xml"/><Relationship Id="rId84" Type="http://schemas.openxmlformats.org/officeDocument/2006/relationships/slideLayout" Target="../slideLayouts/slideLayout84.xml"/><Relationship Id="rId138" Type="http://schemas.openxmlformats.org/officeDocument/2006/relationships/slideLayout" Target="../slideLayouts/slideLayout138.xml"/><Relationship Id="rId345" Type="http://schemas.openxmlformats.org/officeDocument/2006/relationships/slideLayout" Target="../slideLayouts/slideLayout345.xml"/><Relationship Id="rId387" Type="http://schemas.openxmlformats.org/officeDocument/2006/relationships/slideLayout" Target="../slideLayouts/slideLayout387.xml"/><Relationship Id="rId510" Type="http://schemas.openxmlformats.org/officeDocument/2006/relationships/slideLayout" Target="../slideLayouts/slideLayout510.xml"/><Relationship Id="rId552" Type="http://schemas.openxmlformats.org/officeDocument/2006/relationships/slideLayout" Target="../slideLayouts/slideLayout552.xml"/><Relationship Id="rId594" Type="http://schemas.openxmlformats.org/officeDocument/2006/relationships/slideLayout" Target="../slideLayouts/slideLayout594.xml"/><Relationship Id="rId608" Type="http://schemas.openxmlformats.org/officeDocument/2006/relationships/slideLayout" Target="../slideLayouts/slideLayout608.xml"/><Relationship Id="rId191" Type="http://schemas.openxmlformats.org/officeDocument/2006/relationships/slideLayout" Target="../slideLayouts/slideLayout191.xml"/><Relationship Id="rId205" Type="http://schemas.openxmlformats.org/officeDocument/2006/relationships/slideLayout" Target="../slideLayouts/slideLayout205.xml"/><Relationship Id="rId247" Type="http://schemas.openxmlformats.org/officeDocument/2006/relationships/slideLayout" Target="../slideLayouts/slideLayout247.xml"/><Relationship Id="rId412" Type="http://schemas.openxmlformats.org/officeDocument/2006/relationships/slideLayout" Target="../slideLayouts/slideLayout412.xml"/><Relationship Id="rId107" Type="http://schemas.openxmlformats.org/officeDocument/2006/relationships/slideLayout" Target="../slideLayouts/slideLayout107.xml"/><Relationship Id="rId289" Type="http://schemas.openxmlformats.org/officeDocument/2006/relationships/slideLayout" Target="../slideLayouts/slideLayout289.xml"/><Relationship Id="rId454" Type="http://schemas.openxmlformats.org/officeDocument/2006/relationships/slideLayout" Target="../slideLayouts/slideLayout454.xml"/><Relationship Id="rId496" Type="http://schemas.openxmlformats.org/officeDocument/2006/relationships/slideLayout" Target="../slideLayouts/slideLayout496.xml"/><Relationship Id="rId661" Type="http://schemas.openxmlformats.org/officeDocument/2006/relationships/slideLayout" Target="../slideLayouts/slideLayout661.xml"/><Relationship Id="rId11" Type="http://schemas.openxmlformats.org/officeDocument/2006/relationships/slideLayout" Target="../slideLayouts/slideLayout11.xml"/><Relationship Id="rId53" Type="http://schemas.openxmlformats.org/officeDocument/2006/relationships/slideLayout" Target="../slideLayouts/slideLayout53.xml"/><Relationship Id="rId149" Type="http://schemas.openxmlformats.org/officeDocument/2006/relationships/slideLayout" Target="../slideLayouts/slideLayout149.xml"/><Relationship Id="rId314" Type="http://schemas.openxmlformats.org/officeDocument/2006/relationships/slideLayout" Target="../slideLayouts/slideLayout314.xml"/><Relationship Id="rId356" Type="http://schemas.openxmlformats.org/officeDocument/2006/relationships/slideLayout" Target="../slideLayouts/slideLayout356.xml"/><Relationship Id="rId398" Type="http://schemas.openxmlformats.org/officeDocument/2006/relationships/slideLayout" Target="../slideLayouts/slideLayout398.xml"/><Relationship Id="rId521" Type="http://schemas.openxmlformats.org/officeDocument/2006/relationships/slideLayout" Target="../slideLayouts/slideLayout521.xml"/><Relationship Id="rId563" Type="http://schemas.openxmlformats.org/officeDocument/2006/relationships/slideLayout" Target="../slideLayouts/slideLayout563.xml"/><Relationship Id="rId619" Type="http://schemas.openxmlformats.org/officeDocument/2006/relationships/slideLayout" Target="../slideLayouts/slideLayout619.xml"/><Relationship Id="rId95" Type="http://schemas.openxmlformats.org/officeDocument/2006/relationships/slideLayout" Target="../slideLayouts/slideLayout95.xml"/><Relationship Id="rId160" Type="http://schemas.openxmlformats.org/officeDocument/2006/relationships/slideLayout" Target="../slideLayouts/slideLayout160.xml"/><Relationship Id="rId216" Type="http://schemas.openxmlformats.org/officeDocument/2006/relationships/slideLayout" Target="../slideLayouts/slideLayout216.xml"/><Relationship Id="rId423" Type="http://schemas.openxmlformats.org/officeDocument/2006/relationships/slideLayout" Target="../slideLayouts/slideLayout423.xml"/><Relationship Id="rId258" Type="http://schemas.openxmlformats.org/officeDocument/2006/relationships/slideLayout" Target="../slideLayouts/slideLayout258.xml"/><Relationship Id="rId465" Type="http://schemas.openxmlformats.org/officeDocument/2006/relationships/slideLayout" Target="../slideLayouts/slideLayout465.xml"/><Relationship Id="rId630" Type="http://schemas.openxmlformats.org/officeDocument/2006/relationships/slideLayout" Target="../slideLayouts/slideLayout630.xml"/><Relationship Id="rId672" Type="http://schemas.openxmlformats.org/officeDocument/2006/relationships/slideLayout" Target="../slideLayouts/slideLayout672.xml"/><Relationship Id="rId22" Type="http://schemas.openxmlformats.org/officeDocument/2006/relationships/slideLayout" Target="../slideLayouts/slideLayout22.xml"/><Relationship Id="rId64" Type="http://schemas.openxmlformats.org/officeDocument/2006/relationships/slideLayout" Target="../slideLayouts/slideLayout64.xml"/><Relationship Id="rId118" Type="http://schemas.openxmlformats.org/officeDocument/2006/relationships/slideLayout" Target="../slideLayouts/slideLayout118.xml"/><Relationship Id="rId325" Type="http://schemas.openxmlformats.org/officeDocument/2006/relationships/slideLayout" Target="../slideLayouts/slideLayout325.xml"/><Relationship Id="rId367" Type="http://schemas.openxmlformats.org/officeDocument/2006/relationships/slideLayout" Target="../slideLayouts/slideLayout367.xml"/><Relationship Id="rId532" Type="http://schemas.openxmlformats.org/officeDocument/2006/relationships/slideLayout" Target="../slideLayouts/slideLayout532.xml"/><Relationship Id="rId574" Type="http://schemas.openxmlformats.org/officeDocument/2006/relationships/slideLayout" Target="../slideLayouts/slideLayout574.xml"/><Relationship Id="rId171" Type="http://schemas.openxmlformats.org/officeDocument/2006/relationships/slideLayout" Target="../slideLayouts/slideLayout171.xml"/><Relationship Id="rId227" Type="http://schemas.openxmlformats.org/officeDocument/2006/relationships/slideLayout" Target="../slideLayouts/slideLayout227.xml"/><Relationship Id="rId269" Type="http://schemas.openxmlformats.org/officeDocument/2006/relationships/slideLayout" Target="../slideLayouts/slideLayout269.xml"/><Relationship Id="rId434" Type="http://schemas.openxmlformats.org/officeDocument/2006/relationships/slideLayout" Target="../slideLayouts/slideLayout434.xml"/><Relationship Id="rId476" Type="http://schemas.openxmlformats.org/officeDocument/2006/relationships/slideLayout" Target="../slideLayouts/slideLayout476.xml"/><Relationship Id="rId641" Type="http://schemas.openxmlformats.org/officeDocument/2006/relationships/slideLayout" Target="../slideLayouts/slideLayout641.xml"/><Relationship Id="rId683" Type="http://schemas.openxmlformats.org/officeDocument/2006/relationships/slideLayout" Target="../slideLayouts/slideLayout683.xml"/><Relationship Id="rId33" Type="http://schemas.openxmlformats.org/officeDocument/2006/relationships/slideLayout" Target="../slideLayouts/slideLayout33.xml"/><Relationship Id="rId129" Type="http://schemas.openxmlformats.org/officeDocument/2006/relationships/slideLayout" Target="../slideLayouts/slideLayout129.xml"/><Relationship Id="rId280" Type="http://schemas.openxmlformats.org/officeDocument/2006/relationships/slideLayout" Target="../slideLayouts/slideLayout280.xml"/><Relationship Id="rId336" Type="http://schemas.openxmlformats.org/officeDocument/2006/relationships/slideLayout" Target="../slideLayouts/slideLayout336.xml"/><Relationship Id="rId501" Type="http://schemas.openxmlformats.org/officeDocument/2006/relationships/slideLayout" Target="../slideLayouts/slideLayout501.xml"/><Relationship Id="rId543" Type="http://schemas.openxmlformats.org/officeDocument/2006/relationships/slideLayout" Target="../slideLayouts/slideLayout543.xml"/><Relationship Id="rId75" Type="http://schemas.openxmlformats.org/officeDocument/2006/relationships/slideLayout" Target="../slideLayouts/slideLayout75.xml"/><Relationship Id="rId140" Type="http://schemas.openxmlformats.org/officeDocument/2006/relationships/slideLayout" Target="../slideLayouts/slideLayout140.xml"/><Relationship Id="rId182" Type="http://schemas.openxmlformats.org/officeDocument/2006/relationships/slideLayout" Target="../slideLayouts/slideLayout182.xml"/><Relationship Id="rId378" Type="http://schemas.openxmlformats.org/officeDocument/2006/relationships/slideLayout" Target="../slideLayouts/slideLayout378.xml"/><Relationship Id="rId403" Type="http://schemas.openxmlformats.org/officeDocument/2006/relationships/slideLayout" Target="../slideLayouts/slideLayout403.xml"/><Relationship Id="rId585" Type="http://schemas.openxmlformats.org/officeDocument/2006/relationships/slideLayout" Target="../slideLayouts/slideLayout585.xml"/><Relationship Id="rId6" Type="http://schemas.openxmlformats.org/officeDocument/2006/relationships/slideLayout" Target="../slideLayouts/slideLayout6.xml"/><Relationship Id="rId238" Type="http://schemas.openxmlformats.org/officeDocument/2006/relationships/slideLayout" Target="../slideLayouts/slideLayout238.xml"/><Relationship Id="rId445" Type="http://schemas.openxmlformats.org/officeDocument/2006/relationships/slideLayout" Target="../slideLayouts/slideLayout445.xml"/><Relationship Id="rId487" Type="http://schemas.openxmlformats.org/officeDocument/2006/relationships/slideLayout" Target="../slideLayouts/slideLayout487.xml"/><Relationship Id="rId610" Type="http://schemas.openxmlformats.org/officeDocument/2006/relationships/slideLayout" Target="../slideLayouts/slideLayout610.xml"/><Relationship Id="rId652" Type="http://schemas.openxmlformats.org/officeDocument/2006/relationships/slideLayout" Target="../slideLayouts/slideLayout652.xml"/><Relationship Id="rId291" Type="http://schemas.openxmlformats.org/officeDocument/2006/relationships/slideLayout" Target="../slideLayouts/slideLayout291.xml"/><Relationship Id="rId305" Type="http://schemas.openxmlformats.org/officeDocument/2006/relationships/slideLayout" Target="../slideLayouts/slideLayout305.xml"/><Relationship Id="rId347" Type="http://schemas.openxmlformats.org/officeDocument/2006/relationships/slideLayout" Target="../slideLayouts/slideLayout347.xml"/><Relationship Id="rId512" Type="http://schemas.openxmlformats.org/officeDocument/2006/relationships/slideLayout" Target="../slideLayouts/slideLayout512.xml"/><Relationship Id="rId44" Type="http://schemas.openxmlformats.org/officeDocument/2006/relationships/slideLayout" Target="../slideLayouts/slideLayout44.xml"/><Relationship Id="rId86" Type="http://schemas.openxmlformats.org/officeDocument/2006/relationships/slideLayout" Target="../slideLayouts/slideLayout86.xml"/><Relationship Id="rId151" Type="http://schemas.openxmlformats.org/officeDocument/2006/relationships/slideLayout" Target="../slideLayouts/slideLayout151.xml"/><Relationship Id="rId389" Type="http://schemas.openxmlformats.org/officeDocument/2006/relationships/slideLayout" Target="../slideLayouts/slideLayout389.xml"/><Relationship Id="rId554" Type="http://schemas.openxmlformats.org/officeDocument/2006/relationships/slideLayout" Target="../slideLayouts/slideLayout554.xml"/><Relationship Id="rId596" Type="http://schemas.openxmlformats.org/officeDocument/2006/relationships/slideLayout" Target="../slideLayouts/slideLayout596.xml"/><Relationship Id="rId193" Type="http://schemas.openxmlformats.org/officeDocument/2006/relationships/slideLayout" Target="../slideLayouts/slideLayout193.xml"/><Relationship Id="rId207" Type="http://schemas.openxmlformats.org/officeDocument/2006/relationships/slideLayout" Target="../slideLayouts/slideLayout207.xml"/><Relationship Id="rId249" Type="http://schemas.openxmlformats.org/officeDocument/2006/relationships/slideLayout" Target="../slideLayouts/slideLayout249.xml"/><Relationship Id="rId414" Type="http://schemas.openxmlformats.org/officeDocument/2006/relationships/slideLayout" Target="../slideLayouts/slideLayout414.xml"/><Relationship Id="rId456" Type="http://schemas.openxmlformats.org/officeDocument/2006/relationships/slideLayout" Target="../slideLayouts/slideLayout456.xml"/><Relationship Id="rId498" Type="http://schemas.openxmlformats.org/officeDocument/2006/relationships/slideLayout" Target="../slideLayouts/slideLayout498.xml"/><Relationship Id="rId621" Type="http://schemas.openxmlformats.org/officeDocument/2006/relationships/slideLayout" Target="../slideLayouts/slideLayout621.xml"/><Relationship Id="rId663" Type="http://schemas.openxmlformats.org/officeDocument/2006/relationships/slideLayout" Target="../slideLayouts/slideLayout663.xml"/><Relationship Id="rId13" Type="http://schemas.openxmlformats.org/officeDocument/2006/relationships/slideLayout" Target="../slideLayouts/slideLayout13.xml"/><Relationship Id="rId109" Type="http://schemas.openxmlformats.org/officeDocument/2006/relationships/slideLayout" Target="../slideLayouts/slideLayout109.xml"/><Relationship Id="rId260" Type="http://schemas.openxmlformats.org/officeDocument/2006/relationships/slideLayout" Target="../slideLayouts/slideLayout260.xml"/><Relationship Id="rId316" Type="http://schemas.openxmlformats.org/officeDocument/2006/relationships/slideLayout" Target="../slideLayouts/slideLayout316.xml"/><Relationship Id="rId523" Type="http://schemas.openxmlformats.org/officeDocument/2006/relationships/slideLayout" Target="../slideLayouts/slideLayout523.xml"/><Relationship Id="rId55" Type="http://schemas.openxmlformats.org/officeDocument/2006/relationships/slideLayout" Target="../slideLayouts/slideLayout55.xml"/><Relationship Id="rId97" Type="http://schemas.openxmlformats.org/officeDocument/2006/relationships/slideLayout" Target="../slideLayouts/slideLayout97.xml"/><Relationship Id="rId120" Type="http://schemas.openxmlformats.org/officeDocument/2006/relationships/slideLayout" Target="../slideLayouts/slideLayout120.xml"/><Relationship Id="rId358" Type="http://schemas.openxmlformats.org/officeDocument/2006/relationships/slideLayout" Target="../slideLayouts/slideLayout358.xml"/><Relationship Id="rId565" Type="http://schemas.openxmlformats.org/officeDocument/2006/relationships/slideLayout" Target="../slideLayouts/slideLayout565.xml"/><Relationship Id="rId162" Type="http://schemas.openxmlformats.org/officeDocument/2006/relationships/slideLayout" Target="../slideLayouts/slideLayout162.xml"/><Relationship Id="rId218" Type="http://schemas.openxmlformats.org/officeDocument/2006/relationships/slideLayout" Target="../slideLayouts/slideLayout218.xml"/><Relationship Id="rId425" Type="http://schemas.openxmlformats.org/officeDocument/2006/relationships/slideLayout" Target="../slideLayouts/slideLayout425.xml"/><Relationship Id="rId467" Type="http://schemas.openxmlformats.org/officeDocument/2006/relationships/slideLayout" Target="../slideLayouts/slideLayout467.xml"/><Relationship Id="rId632" Type="http://schemas.openxmlformats.org/officeDocument/2006/relationships/slideLayout" Target="../slideLayouts/slideLayout632.xml"/><Relationship Id="rId271" Type="http://schemas.openxmlformats.org/officeDocument/2006/relationships/slideLayout" Target="../slideLayouts/slideLayout271.xml"/><Relationship Id="rId674" Type="http://schemas.openxmlformats.org/officeDocument/2006/relationships/slideLayout" Target="../slideLayouts/slideLayout674.xml"/><Relationship Id="rId24" Type="http://schemas.openxmlformats.org/officeDocument/2006/relationships/slideLayout" Target="../slideLayouts/slideLayout24.xml"/><Relationship Id="rId66" Type="http://schemas.openxmlformats.org/officeDocument/2006/relationships/slideLayout" Target="../slideLayouts/slideLayout66.xml"/><Relationship Id="rId131" Type="http://schemas.openxmlformats.org/officeDocument/2006/relationships/slideLayout" Target="../slideLayouts/slideLayout131.xml"/><Relationship Id="rId327" Type="http://schemas.openxmlformats.org/officeDocument/2006/relationships/slideLayout" Target="../slideLayouts/slideLayout327.xml"/><Relationship Id="rId369" Type="http://schemas.openxmlformats.org/officeDocument/2006/relationships/slideLayout" Target="../slideLayouts/slideLayout369.xml"/><Relationship Id="rId534" Type="http://schemas.openxmlformats.org/officeDocument/2006/relationships/slideLayout" Target="../slideLayouts/slideLayout534.xml"/><Relationship Id="rId576" Type="http://schemas.openxmlformats.org/officeDocument/2006/relationships/slideLayout" Target="../slideLayouts/slideLayout576.xml"/><Relationship Id="rId173" Type="http://schemas.openxmlformats.org/officeDocument/2006/relationships/slideLayout" Target="../slideLayouts/slideLayout173.xml"/><Relationship Id="rId229" Type="http://schemas.openxmlformats.org/officeDocument/2006/relationships/slideLayout" Target="../slideLayouts/slideLayout229.xml"/><Relationship Id="rId380" Type="http://schemas.openxmlformats.org/officeDocument/2006/relationships/slideLayout" Target="../slideLayouts/slideLayout380.xml"/><Relationship Id="rId436" Type="http://schemas.openxmlformats.org/officeDocument/2006/relationships/slideLayout" Target="../slideLayouts/slideLayout436.xml"/><Relationship Id="rId601" Type="http://schemas.openxmlformats.org/officeDocument/2006/relationships/slideLayout" Target="../slideLayouts/slideLayout601.xml"/><Relationship Id="rId643" Type="http://schemas.openxmlformats.org/officeDocument/2006/relationships/slideLayout" Target="../slideLayouts/slideLayout643.xml"/><Relationship Id="rId240" Type="http://schemas.openxmlformats.org/officeDocument/2006/relationships/slideLayout" Target="../slideLayouts/slideLayout240.xml"/><Relationship Id="rId478" Type="http://schemas.openxmlformats.org/officeDocument/2006/relationships/slideLayout" Target="../slideLayouts/slideLayout478.xml"/><Relationship Id="rId685" Type="http://schemas.openxmlformats.org/officeDocument/2006/relationships/theme" Target="../theme/theme1.xml"/><Relationship Id="rId35" Type="http://schemas.openxmlformats.org/officeDocument/2006/relationships/slideLayout" Target="../slideLayouts/slideLayout35.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282" Type="http://schemas.openxmlformats.org/officeDocument/2006/relationships/slideLayout" Target="../slideLayouts/slideLayout282.xml"/><Relationship Id="rId338" Type="http://schemas.openxmlformats.org/officeDocument/2006/relationships/slideLayout" Target="../slideLayouts/slideLayout338.xml"/><Relationship Id="rId503" Type="http://schemas.openxmlformats.org/officeDocument/2006/relationships/slideLayout" Target="../slideLayouts/slideLayout503.xml"/><Relationship Id="rId545" Type="http://schemas.openxmlformats.org/officeDocument/2006/relationships/slideLayout" Target="../slideLayouts/slideLayout545.xml"/><Relationship Id="rId587" Type="http://schemas.openxmlformats.org/officeDocument/2006/relationships/slideLayout" Target="../slideLayouts/slideLayout587.xml"/><Relationship Id="rId8" Type="http://schemas.openxmlformats.org/officeDocument/2006/relationships/slideLayout" Target="../slideLayouts/slideLayout8.xml"/><Relationship Id="rId142" Type="http://schemas.openxmlformats.org/officeDocument/2006/relationships/slideLayout" Target="../slideLayouts/slideLayout142.xml"/><Relationship Id="rId184" Type="http://schemas.openxmlformats.org/officeDocument/2006/relationships/slideLayout" Target="../slideLayouts/slideLayout184.xml"/><Relationship Id="rId391" Type="http://schemas.openxmlformats.org/officeDocument/2006/relationships/slideLayout" Target="../slideLayouts/slideLayout391.xml"/><Relationship Id="rId405" Type="http://schemas.openxmlformats.org/officeDocument/2006/relationships/slideLayout" Target="../slideLayouts/slideLayout405.xml"/><Relationship Id="rId447" Type="http://schemas.openxmlformats.org/officeDocument/2006/relationships/slideLayout" Target="../slideLayouts/slideLayout447.xml"/><Relationship Id="rId612" Type="http://schemas.openxmlformats.org/officeDocument/2006/relationships/slideLayout" Target="../slideLayouts/slideLayout612.xml"/><Relationship Id="rId251" Type="http://schemas.openxmlformats.org/officeDocument/2006/relationships/slideLayout" Target="../slideLayouts/slideLayout251.xml"/><Relationship Id="rId489" Type="http://schemas.openxmlformats.org/officeDocument/2006/relationships/slideLayout" Target="../slideLayouts/slideLayout489.xml"/><Relationship Id="rId654" Type="http://schemas.openxmlformats.org/officeDocument/2006/relationships/slideLayout" Target="../slideLayouts/slideLayout654.xml"/><Relationship Id="rId46" Type="http://schemas.openxmlformats.org/officeDocument/2006/relationships/slideLayout" Target="../slideLayouts/slideLayout46.xml"/><Relationship Id="rId293" Type="http://schemas.openxmlformats.org/officeDocument/2006/relationships/slideLayout" Target="../slideLayouts/slideLayout293.xml"/><Relationship Id="rId307" Type="http://schemas.openxmlformats.org/officeDocument/2006/relationships/slideLayout" Target="../slideLayouts/slideLayout307.xml"/><Relationship Id="rId349" Type="http://schemas.openxmlformats.org/officeDocument/2006/relationships/slideLayout" Target="../slideLayouts/slideLayout349.xml"/><Relationship Id="rId514" Type="http://schemas.openxmlformats.org/officeDocument/2006/relationships/slideLayout" Target="../slideLayouts/slideLayout514.xml"/><Relationship Id="rId556" Type="http://schemas.openxmlformats.org/officeDocument/2006/relationships/slideLayout" Target="../slideLayouts/slideLayout556.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53" Type="http://schemas.openxmlformats.org/officeDocument/2006/relationships/slideLayout" Target="../slideLayouts/slideLayout153.xml"/><Relationship Id="rId195" Type="http://schemas.openxmlformats.org/officeDocument/2006/relationships/slideLayout" Target="../slideLayouts/slideLayout195.xml"/><Relationship Id="rId209" Type="http://schemas.openxmlformats.org/officeDocument/2006/relationships/slideLayout" Target="../slideLayouts/slideLayout209.xml"/><Relationship Id="rId360" Type="http://schemas.openxmlformats.org/officeDocument/2006/relationships/slideLayout" Target="../slideLayouts/slideLayout360.xml"/><Relationship Id="rId416" Type="http://schemas.openxmlformats.org/officeDocument/2006/relationships/slideLayout" Target="../slideLayouts/slideLayout416.xml"/><Relationship Id="rId598" Type="http://schemas.openxmlformats.org/officeDocument/2006/relationships/slideLayout" Target="../slideLayouts/slideLayout598.xml"/><Relationship Id="rId220" Type="http://schemas.openxmlformats.org/officeDocument/2006/relationships/slideLayout" Target="../slideLayouts/slideLayout220.xml"/><Relationship Id="rId458" Type="http://schemas.openxmlformats.org/officeDocument/2006/relationships/slideLayout" Target="../slideLayouts/slideLayout458.xml"/><Relationship Id="rId623" Type="http://schemas.openxmlformats.org/officeDocument/2006/relationships/slideLayout" Target="../slideLayouts/slideLayout623.xml"/><Relationship Id="rId665" Type="http://schemas.openxmlformats.org/officeDocument/2006/relationships/slideLayout" Target="../slideLayouts/slideLayout665.xml"/><Relationship Id="rId15" Type="http://schemas.openxmlformats.org/officeDocument/2006/relationships/slideLayout" Target="../slideLayouts/slideLayout15.xml"/><Relationship Id="rId57" Type="http://schemas.openxmlformats.org/officeDocument/2006/relationships/slideLayout" Target="../slideLayouts/slideLayout57.xml"/><Relationship Id="rId262" Type="http://schemas.openxmlformats.org/officeDocument/2006/relationships/slideLayout" Target="../slideLayouts/slideLayout262.xml"/><Relationship Id="rId318" Type="http://schemas.openxmlformats.org/officeDocument/2006/relationships/slideLayout" Target="../slideLayouts/slideLayout318.xml"/><Relationship Id="rId525" Type="http://schemas.openxmlformats.org/officeDocument/2006/relationships/slideLayout" Target="../slideLayouts/slideLayout525.xml"/><Relationship Id="rId567" Type="http://schemas.openxmlformats.org/officeDocument/2006/relationships/slideLayout" Target="../slideLayouts/slideLayout567.xml"/><Relationship Id="rId99" Type="http://schemas.openxmlformats.org/officeDocument/2006/relationships/slideLayout" Target="../slideLayouts/slideLayout99.xml"/><Relationship Id="rId122" Type="http://schemas.openxmlformats.org/officeDocument/2006/relationships/slideLayout" Target="../slideLayouts/slideLayout122.xml"/><Relationship Id="rId164" Type="http://schemas.openxmlformats.org/officeDocument/2006/relationships/slideLayout" Target="../slideLayouts/slideLayout164.xml"/><Relationship Id="rId371" Type="http://schemas.openxmlformats.org/officeDocument/2006/relationships/slideLayout" Target="../slideLayouts/slideLayout371.xml"/><Relationship Id="rId427" Type="http://schemas.openxmlformats.org/officeDocument/2006/relationships/slideLayout" Target="../slideLayouts/slideLayout427.xml"/><Relationship Id="rId469" Type="http://schemas.openxmlformats.org/officeDocument/2006/relationships/slideLayout" Target="../slideLayouts/slideLayout469.xml"/><Relationship Id="rId634" Type="http://schemas.openxmlformats.org/officeDocument/2006/relationships/slideLayout" Target="../slideLayouts/slideLayout634.xml"/><Relationship Id="rId676" Type="http://schemas.openxmlformats.org/officeDocument/2006/relationships/slideLayout" Target="../slideLayouts/slideLayout676.xml"/><Relationship Id="rId26" Type="http://schemas.openxmlformats.org/officeDocument/2006/relationships/slideLayout" Target="../slideLayouts/slideLayout26.xml"/><Relationship Id="rId231" Type="http://schemas.openxmlformats.org/officeDocument/2006/relationships/slideLayout" Target="../slideLayouts/slideLayout231.xml"/><Relationship Id="rId273" Type="http://schemas.openxmlformats.org/officeDocument/2006/relationships/slideLayout" Target="../slideLayouts/slideLayout273.xml"/><Relationship Id="rId329" Type="http://schemas.openxmlformats.org/officeDocument/2006/relationships/slideLayout" Target="../slideLayouts/slideLayout329.xml"/><Relationship Id="rId480" Type="http://schemas.openxmlformats.org/officeDocument/2006/relationships/slideLayout" Target="../slideLayouts/slideLayout480.xml"/><Relationship Id="rId536" Type="http://schemas.openxmlformats.org/officeDocument/2006/relationships/slideLayout" Target="../slideLayouts/slideLayout536.xml"/><Relationship Id="rId68" Type="http://schemas.openxmlformats.org/officeDocument/2006/relationships/slideLayout" Target="../slideLayouts/slideLayout68.xml"/><Relationship Id="rId133" Type="http://schemas.openxmlformats.org/officeDocument/2006/relationships/slideLayout" Target="../slideLayouts/slideLayout133.xml"/><Relationship Id="rId175" Type="http://schemas.openxmlformats.org/officeDocument/2006/relationships/slideLayout" Target="../slideLayouts/slideLayout175.xml"/><Relationship Id="rId340" Type="http://schemas.openxmlformats.org/officeDocument/2006/relationships/slideLayout" Target="../slideLayouts/slideLayout340.xml"/><Relationship Id="rId578" Type="http://schemas.openxmlformats.org/officeDocument/2006/relationships/slideLayout" Target="../slideLayouts/slideLayout578.xml"/><Relationship Id="rId200" Type="http://schemas.openxmlformats.org/officeDocument/2006/relationships/slideLayout" Target="../slideLayouts/slideLayout200.xml"/><Relationship Id="rId382" Type="http://schemas.openxmlformats.org/officeDocument/2006/relationships/slideLayout" Target="../slideLayouts/slideLayout382.xml"/><Relationship Id="rId438" Type="http://schemas.openxmlformats.org/officeDocument/2006/relationships/slideLayout" Target="../slideLayouts/slideLayout438.xml"/><Relationship Id="rId603" Type="http://schemas.openxmlformats.org/officeDocument/2006/relationships/slideLayout" Target="../slideLayouts/slideLayout603.xml"/><Relationship Id="rId645" Type="http://schemas.openxmlformats.org/officeDocument/2006/relationships/slideLayout" Target="../slideLayouts/slideLayout645.xml"/><Relationship Id="rId242" Type="http://schemas.openxmlformats.org/officeDocument/2006/relationships/slideLayout" Target="../slideLayouts/slideLayout242.xml"/><Relationship Id="rId284" Type="http://schemas.openxmlformats.org/officeDocument/2006/relationships/slideLayout" Target="../slideLayouts/slideLayout284.xml"/><Relationship Id="rId491" Type="http://schemas.openxmlformats.org/officeDocument/2006/relationships/slideLayout" Target="../slideLayouts/slideLayout491.xml"/><Relationship Id="rId505" Type="http://schemas.openxmlformats.org/officeDocument/2006/relationships/slideLayout" Target="../slideLayouts/slideLayout505.xml"/><Relationship Id="rId37" Type="http://schemas.openxmlformats.org/officeDocument/2006/relationships/slideLayout" Target="../slideLayouts/slideLayout37.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44" Type="http://schemas.openxmlformats.org/officeDocument/2006/relationships/slideLayout" Target="../slideLayouts/slideLayout144.xml"/><Relationship Id="rId547" Type="http://schemas.openxmlformats.org/officeDocument/2006/relationships/slideLayout" Target="../slideLayouts/slideLayout547.xml"/><Relationship Id="rId589" Type="http://schemas.openxmlformats.org/officeDocument/2006/relationships/slideLayout" Target="../slideLayouts/slideLayout589.xml"/><Relationship Id="rId90" Type="http://schemas.openxmlformats.org/officeDocument/2006/relationships/slideLayout" Target="../slideLayouts/slideLayout90.xml"/><Relationship Id="rId186" Type="http://schemas.openxmlformats.org/officeDocument/2006/relationships/slideLayout" Target="../slideLayouts/slideLayout186.xml"/><Relationship Id="rId351" Type="http://schemas.openxmlformats.org/officeDocument/2006/relationships/slideLayout" Target="../slideLayouts/slideLayout351.xml"/><Relationship Id="rId393" Type="http://schemas.openxmlformats.org/officeDocument/2006/relationships/slideLayout" Target="../slideLayouts/slideLayout393.xml"/><Relationship Id="rId407" Type="http://schemas.openxmlformats.org/officeDocument/2006/relationships/slideLayout" Target="../slideLayouts/slideLayout407.xml"/><Relationship Id="rId449" Type="http://schemas.openxmlformats.org/officeDocument/2006/relationships/slideLayout" Target="../slideLayouts/slideLayout449.xml"/><Relationship Id="rId614" Type="http://schemas.openxmlformats.org/officeDocument/2006/relationships/slideLayout" Target="../slideLayouts/slideLayout614.xml"/><Relationship Id="rId656" Type="http://schemas.openxmlformats.org/officeDocument/2006/relationships/slideLayout" Target="../slideLayouts/slideLayout656.xml"/><Relationship Id="rId211" Type="http://schemas.openxmlformats.org/officeDocument/2006/relationships/slideLayout" Target="../slideLayouts/slideLayout211.xml"/><Relationship Id="rId253" Type="http://schemas.openxmlformats.org/officeDocument/2006/relationships/slideLayout" Target="../slideLayouts/slideLayout253.xml"/><Relationship Id="rId295" Type="http://schemas.openxmlformats.org/officeDocument/2006/relationships/slideLayout" Target="../slideLayouts/slideLayout295.xml"/><Relationship Id="rId309" Type="http://schemas.openxmlformats.org/officeDocument/2006/relationships/slideLayout" Target="../slideLayouts/slideLayout309.xml"/><Relationship Id="rId460" Type="http://schemas.openxmlformats.org/officeDocument/2006/relationships/slideLayout" Target="../slideLayouts/slideLayout460.xml"/><Relationship Id="rId516" Type="http://schemas.openxmlformats.org/officeDocument/2006/relationships/slideLayout" Target="../slideLayouts/slideLayout516.xml"/><Relationship Id="rId48" Type="http://schemas.openxmlformats.org/officeDocument/2006/relationships/slideLayout" Target="../slideLayouts/slideLayout48.xml"/><Relationship Id="rId113" Type="http://schemas.openxmlformats.org/officeDocument/2006/relationships/slideLayout" Target="../slideLayouts/slideLayout113.xml"/><Relationship Id="rId320" Type="http://schemas.openxmlformats.org/officeDocument/2006/relationships/slideLayout" Target="../slideLayouts/slideLayout320.xml"/><Relationship Id="rId558" Type="http://schemas.openxmlformats.org/officeDocument/2006/relationships/slideLayout" Target="../slideLayouts/slideLayout558.xml"/><Relationship Id="rId155" Type="http://schemas.openxmlformats.org/officeDocument/2006/relationships/slideLayout" Target="../slideLayouts/slideLayout155.xml"/><Relationship Id="rId197" Type="http://schemas.openxmlformats.org/officeDocument/2006/relationships/slideLayout" Target="../slideLayouts/slideLayout197.xml"/><Relationship Id="rId362" Type="http://schemas.openxmlformats.org/officeDocument/2006/relationships/slideLayout" Target="../slideLayouts/slideLayout362.xml"/><Relationship Id="rId418" Type="http://schemas.openxmlformats.org/officeDocument/2006/relationships/slideLayout" Target="../slideLayouts/slideLayout418.xml"/><Relationship Id="rId625" Type="http://schemas.openxmlformats.org/officeDocument/2006/relationships/slideLayout" Target="../slideLayouts/slideLayout625.xml"/><Relationship Id="rId222" Type="http://schemas.openxmlformats.org/officeDocument/2006/relationships/slideLayout" Target="../slideLayouts/slideLayout222.xml"/><Relationship Id="rId264" Type="http://schemas.openxmlformats.org/officeDocument/2006/relationships/slideLayout" Target="../slideLayouts/slideLayout264.xml"/><Relationship Id="rId471" Type="http://schemas.openxmlformats.org/officeDocument/2006/relationships/slideLayout" Target="../slideLayouts/slideLayout471.xml"/><Relationship Id="rId667" Type="http://schemas.openxmlformats.org/officeDocument/2006/relationships/slideLayout" Target="../slideLayouts/slideLayout667.xml"/><Relationship Id="rId17" Type="http://schemas.openxmlformats.org/officeDocument/2006/relationships/slideLayout" Target="../slideLayouts/slideLayout17.xml"/><Relationship Id="rId59" Type="http://schemas.openxmlformats.org/officeDocument/2006/relationships/slideLayout" Target="../slideLayouts/slideLayout59.xml"/><Relationship Id="rId124" Type="http://schemas.openxmlformats.org/officeDocument/2006/relationships/slideLayout" Target="../slideLayouts/slideLayout124.xml"/><Relationship Id="rId527" Type="http://schemas.openxmlformats.org/officeDocument/2006/relationships/slideLayout" Target="../slideLayouts/slideLayout527.xml"/><Relationship Id="rId569" Type="http://schemas.openxmlformats.org/officeDocument/2006/relationships/slideLayout" Target="../slideLayouts/slideLayout569.xml"/><Relationship Id="rId70" Type="http://schemas.openxmlformats.org/officeDocument/2006/relationships/slideLayout" Target="../slideLayouts/slideLayout70.xml"/><Relationship Id="rId166" Type="http://schemas.openxmlformats.org/officeDocument/2006/relationships/slideLayout" Target="../slideLayouts/slideLayout166.xml"/><Relationship Id="rId331" Type="http://schemas.openxmlformats.org/officeDocument/2006/relationships/slideLayout" Target="../slideLayouts/slideLayout331.xml"/><Relationship Id="rId373" Type="http://schemas.openxmlformats.org/officeDocument/2006/relationships/slideLayout" Target="../slideLayouts/slideLayout373.xml"/><Relationship Id="rId429" Type="http://schemas.openxmlformats.org/officeDocument/2006/relationships/slideLayout" Target="../slideLayouts/slideLayout429.xml"/><Relationship Id="rId580" Type="http://schemas.openxmlformats.org/officeDocument/2006/relationships/slideLayout" Target="../slideLayouts/slideLayout580.xml"/><Relationship Id="rId636" Type="http://schemas.openxmlformats.org/officeDocument/2006/relationships/slideLayout" Target="../slideLayouts/slideLayout636.xml"/><Relationship Id="rId1" Type="http://schemas.openxmlformats.org/officeDocument/2006/relationships/slideLayout" Target="../slideLayouts/slideLayout1.xml"/><Relationship Id="rId233" Type="http://schemas.openxmlformats.org/officeDocument/2006/relationships/slideLayout" Target="../slideLayouts/slideLayout233.xml"/><Relationship Id="rId440" Type="http://schemas.openxmlformats.org/officeDocument/2006/relationships/slideLayout" Target="../slideLayouts/slideLayout440.xml"/><Relationship Id="rId678" Type="http://schemas.openxmlformats.org/officeDocument/2006/relationships/slideLayout" Target="../slideLayouts/slideLayout678.xml"/><Relationship Id="rId28" Type="http://schemas.openxmlformats.org/officeDocument/2006/relationships/slideLayout" Target="../slideLayouts/slideLayout28.xml"/><Relationship Id="rId275" Type="http://schemas.openxmlformats.org/officeDocument/2006/relationships/slideLayout" Target="../slideLayouts/slideLayout275.xml"/><Relationship Id="rId300" Type="http://schemas.openxmlformats.org/officeDocument/2006/relationships/slideLayout" Target="../slideLayouts/slideLayout300.xml"/><Relationship Id="rId482" Type="http://schemas.openxmlformats.org/officeDocument/2006/relationships/slideLayout" Target="../slideLayouts/slideLayout482.xml"/><Relationship Id="rId538" Type="http://schemas.openxmlformats.org/officeDocument/2006/relationships/slideLayout" Target="../slideLayouts/slideLayout538.xml"/><Relationship Id="rId81" Type="http://schemas.openxmlformats.org/officeDocument/2006/relationships/slideLayout" Target="../slideLayouts/slideLayout81.xml"/><Relationship Id="rId135" Type="http://schemas.openxmlformats.org/officeDocument/2006/relationships/slideLayout" Target="../slideLayouts/slideLayout135.xml"/><Relationship Id="rId177" Type="http://schemas.openxmlformats.org/officeDocument/2006/relationships/slideLayout" Target="../slideLayouts/slideLayout177.xml"/><Relationship Id="rId342" Type="http://schemas.openxmlformats.org/officeDocument/2006/relationships/slideLayout" Target="../slideLayouts/slideLayout342.xml"/><Relationship Id="rId384" Type="http://schemas.openxmlformats.org/officeDocument/2006/relationships/slideLayout" Target="../slideLayouts/slideLayout384.xml"/><Relationship Id="rId591" Type="http://schemas.openxmlformats.org/officeDocument/2006/relationships/slideLayout" Target="../slideLayouts/slideLayout591.xml"/><Relationship Id="rId605" Type="http://schemas.openxmlformats.org/officeDocument/2006/relationships/slideLayout" Target="../slideLayouts/slideLayout605.xml"/><Relationship Id="rId202" Type="http://schemas.openxmlformats.org/officeDocument/2006/relationships/slideLayout" Target="../slideLayouts/slideLayout202.xml"/><Relationship Id="rId244" Type="http://schemas.openxmlformats.org/officeDocument/2006/relationships/slideLayout" Target="../slideLayouts/slideLayout244.xml"/><Relationship Id="rId647" Type="http://schemas.openxmlformats.org/officeDocument/2006/relationships/slideLayout" Target="../slideLayouts/slideLayout647.xml"/><Relationship Id="rId39" Type="http://schemas.openxmlformats.org/officeDocument/2006/relationships/slideLayout" Target="../slideLayouts/slideLayout39.xml"/><Relationship Id="rId286" Type="http://schemas.openxmlformats.org/officeDocument/2006/relationships/slideLayout" Target="../slideLayouts/slideLayout286.xml"/><Relationship Id="rId451" Type="http://schemas.openxmlformats.org/officeDocument/2006/relationships/slideLayout" Target="../slideLayouts/slideLayout451.xml"/><Relationship Id="rId493" Type="http://schemas.openxmlformats.org/officeDocument/2006/relationships/slideLayout" Target="../slideLayouts/slideLayout493.xml"/><Relationship Id="rId507" Type="http://schemas.openxmlformats.org/officeDocument/2006/relationships/slideLayout" Target="../slideLayouts/slideLayout507.xml"/><Relationship Id="rId549" Type="http://schemas.openxmlformats.org/officeDocument/2006/relationships/slideLayout" Target="../slideLayouts/slideLayout549.xml"/><Relationship Id="rId50" Type="http://schemas.openxmlformats.org/officeDocument/2006/relationships/slideLayout" Target="../slideLayouts/slideLayout50.xml"/><Relationship Id="rId104" Type="http://schemas.openxmlformats.org/officeDocument/2006/relationships/slideLayout" Target="../slideLayouts/slideLayout104.xml"/><Relationship Id="rId146" Type="http://schemas.openxmlformats.org/officeDocument/2006/relationships/slideLayout" Target="../slideLayouts/slideLayout146.xml"/><Relationship Id="rId188" Type="http://schemas.openxmlformats.org/officeDocument/2006/relationships/slideLayout" Target="../slideLayouts/slideLayout188.xml"/><Relationship Id="rId311" Type="http://schemas.openxmlformats.org/officeDocument/2006/relationships/slideLayout" Target="../slideLayouts/slideLayout311.xml"/><Relationship Id="rId353" Type="http://schemas.openxmlformats.org/officeDocument/2006/relationships/slideLayout" Target="../slideLayouts/slideLayout353.xml"/><Relationship Id="rId395" Type="http://schemas.openxmlformats.org/officeDocument/2006/relationships/slideLayout" Target="../slideLayouts/slideLayout395.xml"/><Relationship Id="rId409" Type="http://schemas.openxmlformats.org/officeDocument/2006/relationships/slideLayout" Target="../slideLayouts/slideLayout409.xml"/><Relationship Id="rId560" Type="http://schemas.openxmlformats.org/officeDocument/2006/relationships/slideLayout" Target="../slideLayouts/slideLayout560.xml"/><Relationship Id="rId92" Type="http://schemas.openxmlformats.org/officeDocument/2006/relationships/slideLayout" Target="../slideLayouts/slideLayout92.xml"/><Relationship Id="rId213" Type="http://schemas.openxmlformats.org/officeDocument/2006/relationships/slideLayout" Target="../slideLayouts/slideLayout213.xml"/><Relationship Id="rId420" Type="http://schemas.openxmlformats.org/officeDocument/2006/relationships/slideLayout" Target="../slideLayouts/slideLayout420.xml"/><Relationship Id="rId616" Type="http://schemas.openxmlformats.org/officeDocument/2006/relationships/slideLayout" Target="../slideLayouts/slideLayout616.xml"/><Relationship Id="rId658" Type="http://schemas.openxmlformats.org/officeDocument/2006/relationships/slideLayout" Target="../slideLayouts/slideLayout658.xml"/><Relationship Id="rId255" Type="http://schemas.openxmlformats.org/officeDocument/2006/relationships/slideLayout" Target="../slideLayouts/slideLayout255.xml"/><Relationship Id="rId297" Type="http://schemas.openxmlformats.org/officeDocument/2006/relationships/slideLayout" Target="../slideLayouts/slideLayout297.xml"/><Relationship Id="rId462" Type="http://schemas.openxmlformats.org/officeDocument/2006/relationships/slideLayout" Target="../slideLayouts/slideLayout462.xml"/><Relationship Id="rId518" Type="http://schemas.openxmlformats.org/officeDocument/2006/relationships/slideLayout" Target="../slideLayouts/slideLayout518.xml"/><Relationship Id="rId115" Type="http://schemas.openxmlformats.org/officeDocument/2006/relationships/slideLayout" Target="../slideLayouts/slideLayout115.xml"/><Relationship Id="rId157" Type="http://schemas.openxmlformats.org/officeDocument/2006/relationships/slideLayout" Target="../slideLayouts/slideLayout157.xml"/><Relationship Id="rId322" Type="http://schemas.openxmlformats.org/officeDocument/2006/relationships/slideLayout" Target="../slideLayouts/slideLayout322.xml"/><Relationship Id="rId364" Type="http://schemas.openxmlformats.org/officeDocument/2006/relationships/slideLayout" Target="../slideLayouts/slideLayout364.xml"/><Relationship Id="rId61" Type="http://schemas.openxmlformats.org/officeDocument/2006/relationships/slideLayout" Target="../slideLayouts/slideLayout61.xml"/><Relationship Id="rId199" Type="http://schemas.openxmlformats.org/officeDocument/2006/relationships/slideLayout" Target="../slideLayouts/slideLayout199.xml"/><Relationship Id="rId571" Type="http://schemas.openxmlformats.org/officeDocument/2006/relationships/slideLayout" Target="../slideLayouts/slideLayout571.xml"/><Relationship Id="rId627" Type="http://schemas.openxmlformats.org/officeDocument/2006/relationships/slideLayout" Target="../slideLayouts/slideLayout627.xml"/><Relationship Id="rId669" Type="http://schemas.openxmlformats.org/officeDocument/2006/relationships/slideLayout" Target="../slideLayouts/slideLayout669.xml"/><Relationship Id="rId19" Type="http://schemas.openxmlformats.org/officeDocument/2006/relationships/slideLayout" Target="../slideLayouts/slideLayout19.xml"/><Relationship Id="rId224" Type="http://schemas.openxmlformats.org/officeDocument/2006/relationships/slideLayout" Target="../slideLayouts/slideLayout224.xml"/><Relationship Id="rId266" Type="http://schemas.openxmlformats.org/officeDocument/2006/relationships/slideLayout" Target="../slideLayouts/slideLayout266.xml"/><Relationship Id="rId431" Type="http://schemas.openxmlformats.org/officeDocument/2006/relationships/slideLayout" Target="../slideLayouts/slideLayout431.xml"/><Relationship Id="rId473" Type="http://schemas.openxmlformats.org/officeDocument/2006/relationships/slideLayout" Target="../slideLayouts/slideLayout473.xml"/><Relationship Id="rId529" Type="http://schemas.openxmlformats.org/officeDocument/2006/relationships/slideLayout" Target="../slideLayouts/slideLayout529.xml"/><Relationship Id="rId680" Type="http://schemas.openxmlformats.org/officeDocument/2006/relationships/slideLayout" Target="../slideLayouts/slideLayout680.xml"/><Relationship Id="rId30" Type="http://schemas.openxmlformats.org/officeDocument/2006/relationships/slideLayout" Target="../slideLayouts/slideLayout30.xml"/><Relationship Id="rId126" Type="http://schemas.openxmlformats.org/officeDocument/2006/relationships/slideLayout" Target="../slideLayouts/slideLayout126.xml"/><Relationship Id="rId168" Type="http://schemas.openxmlformats.org/officeDocument/2006/relationships/slideLayout" Target="../slideLayouts/slideLayout168.xml"/><Relationship Id="rId333" Type="http://schemas.openxmlformats.org/officeDocument/2006/relationships/slideLayout" Target="../slideLayouts/slideLayout333.xml"/><Relationship Id="rId540" Type="http://schemas.openxmlformats.org/officeDocument/2006/relationships/slideLayout" Target="../slideLayouts/slideLayout540.xml"/><Relationship Id="rId72" Type="http://schemas.openxmlformats.org/officeDocument/2006/relationships/slideLayout" Target="../slideLayouts/slideLayout72.xml"/><Relationship Id="rId375" Type="http://schemas.openxmlformats.org/officeDocument/2006/relationships/slideLayout" Target="../slideLayouts/slideLayout375.xml"/><Relationship Id="rId582" Type="http://schemas.openxmlformats.org/officeDocument/2006/relationships/slideLayout" Target="../slideLayouts/slideLayout582.xml"/><Relationship Id="rId638" Type="http://schemas.openxmlformats.org/officeDocument/2006/relationships/slideLayout" Target="../slideLayouts/slideLayout638.xml"/><Relationship Id="rId3" Type="http://schemas.openxmlformats.org/officeDocument/2006/relationships/slideLayout" Target="../slideLayouts/slideLayout3.xml"/><Relationship Id="rId235" Type="http://schemas.openxmlformats.org/officeDocument/2006/relationships/slideLayout" Target="../slideLayouts/slideLayout235.xml"/><Relationship Id="rId277" Type="http://schemas.openxmlformats.org/officeDocument/2006/relationships/slideLayout" Target="../slideLayouts/slideLayout277.xml"/><Relationship Id="rId400" Type="http://schemas.openxmlformats.org/officeDocument/2006/relationships/slideLayout" Target="../slideLayouts/slideLayout400.xml"/><Relationship Id="rId442" Type="http://schemas.openxmlformats.org/officeDocument/2006/relationships/slideLayout" Target="../slideLayouts/slideLayout442.xml"/><Relationship Id="rId484" Type="http://schemas.openxmlformats.org/officeDocument/2006/relationships/slideLayout" Target="../slideLayouts/slideLayout484.xml"/><Relationship Id="rId137" Type="http://schemas.openxmlformats.org/officeDocument/2006/relationships/slideLayout" Target="../slideLayouts/slideLayout137.xml"/><Relationship Id="rId302" Type="http://schemas.openxmlformats.org/officeDocument/2006/relationships/slideLayout" Target="../slideLayouts/slideLayout302.xml"/><Relationship Id="rId344" Type="http://schemas.openxmlformats.org/officeDocument/2006/relationships/slideLayout" Target="../slideLayouts/slideLayout344.xml"/><Relationship Id="rId41" Type="http://schemas.openxmlformats.org/officeDocument/2006/relationships/slideLayout" Target="../slideLayouts/slideLayout41.xml"/><Relationship Id="rId83" Type="http://schemas.openxmlformats.org/officeDocument/2006/relationships/slideLayout" Target="../slideLayouts/slideLayout83.xml"/><Relationship Id="rId179" Type="http://schemas.openxmlformats.org/officeDocument/2006/relationships/slideLayout" Target="../slideLayouts/slideLayout179.xml"/><Relationship Id="rId386" Type="http://schemas.openxmlformats.org/officeDocument/2006/relationships/slideLayout" Target="../slideLayouts/slideLayout386.xml"/><Relationship Id="rId551" Type="http://schemas.openxmlformats.org/officeDocument/2006/relationships/slideLayout" Target="../slideLayouts/slideLayout551.xml"/><Relationship Id="rId593" Type="http://schemas.openxmlformats.org/officeDocument/2006/relationships/slideLayout" Target="../slideLayouts/slideLayout593.xml"/><Relationship Id="rId607" Type="http://schemas.openxmlformats.org/officeDocument/2006/relationships/slideLayout" Target="../slideLayouts/slideLayout607.xml"/><Relationship Id="rId649" Type="http://schemas.openxmlformats.org/officeDocument/2006/relationships/slideLayout" Target="../slideLayouts/slideLayout649.xml"/><Relationship Id="rId190" Type="http://schemas.openxmlformats.org/officeDocument/2006/relationships/slideLayout" Target="../slideLayouts/slideLayout190.xml"/><Relationship Id="rId204" Type="http://schemas.openxmlformats.org/officeDocument/2006/relationships/slideLayout" Target="../slideLayouts/slideLayout204.xml"/><Relationship Id="rId246" Type="http://schemas.openxmlformats.org/officeDocument/2006/relationships/slideLayout" Target="../slideLayouts/slideLayout246.xml"/><Relationship Id="rId288" Type="http://schemas.openxmlformats.org/officeDocument/2006/relationships/slideLayout" Target="../slideLayouts/slideLayout288.xml"/><Relationship Id="rId411" Type="http://schemas.openxmlformats.org/officeDocument/2006/relationships/slideLayout" Target="../slideLayouts/slideLayout411.xml"/><Relationship Id="rId453" Type="http://schemas.openxmlformats.org/officeDocument/2006/relationships/slideLayout" Target="../slideLayouts/slideLayout453.xml"/><Relationship Id="rId509" Type="http://schemas.openxmlformats.org/officeDocument/2006/relationships/slideLayout" Target="../slideLayouts/slideLayout509.xml"/><Relationship Id="rId660" Type="http://schemas.openxmlformats.org/officeDocument/2006/relationships/slideLayout" Target="../slideLayouts/slideLayout660.xml"/><Relationship Id="rId106" Type="http://schemas.openxmlformats.org/officeDocument/2006/relationships/slideLayout" Target="../slideLayouts/slideLayout106.xml"/><Relationship Id="rId313" Type="http://schemas.openxmlformats.org/officeDocument/2006/relationships/slideLayout" Target="../slideLayouts/slideLayout313.xml"/><Relationship Id="rId495" Type="http://schemas.openxmlformats.org/officeDocument/2006/relationships/slideLayout" Target="../slideLayouts/slideLayout495.xml"/><Relationship Id="rId10" Type="http://schemas.openxmlformats.org/officeDocument/2006/relationships/slideLayout" Target="../slideLayouts/slideLayout10.xml"/><Relationship Id="rId52" Type="http://schemas.openxmlformats.org/officeDocument/2006/relationships/slideLayout" Target="../slideLayouts/slideLayout52.xml"/><Relationship Id="rId94" Type="http://schemas.openxmlformats.org/officeDocument/2006/relationships/slideLayout" Target="../slideLayouts/slideLayout94.xml"/><Relationship Id="rId148" Type="http://schemas.openxmlformats.org/officeDocument/2006/relationships/slideLayout" Target="../slideLayouts/slideLayout148.xml"/><Relationship Id="rId355" Type="http://schemas.openxmlformats.org/officeDocument/2006/relationships/slideLayout" Target="../slideLayouts/slideLayout355.xml"/><Relationship Id="rId397" Type="http://schemas.openxmlformats.org/officeDocument/2006/relationships/slideLayout" Target="../slideLayouts/slideLayout397.xml"/><Relationship Id="rId520" Type="http://schemas.openxmlformats.org/officeDocument/2006/relationships/slideLayout" Target="../slideLayouts/slideLayout520.xml"/><Relationship Id="rId562" Type="http://schemas.openxmlformats.org/officeDocument/2006/relationships/slideLayout" Target="../slideLayouts/slideLayout562.xml"/><Relationship Id="rId618" Type="http://schemas.openxmlformats.org/officeDocument/2006/relationships/slideLayout" Target="../slideLayouts/slideLayout618.xml"/><Relationship Id="rId215" Type="http://schemas.openxmlformats.org/officeDocument/2006/relationships/slideLayout" Target="../slideLayouts/slideLayout215.xml"/><Relationship Id="rId257" Type="http://schemas.openxmlformats.org/officeDocument/2006/relationships/slideLayout" Target="../slideLayouts/slideLayout257.xml"/><Relationship Id="rId422" Type="http://schemas.openxmlformats.org/officeDocument/2006/relationships/slideLayout" Target="../slideLayouts/slideLayout422.xml"/><Relationship Id="rId464" Type="http://schemas.openxmlformats.org/officeDocument/2006/relationships/slideLayout" Target="../slideLayouts/slideLayout464.xml"/><Relationship Id="rId299" Type="http://schemas.openxmlformats.org/officeDocument/2006/relationships/slideLayout" Target="../slideLayouts/slideLayout299.xml"/><Relationship Id="rId63" Type="http://schemas.openxmlformats.org/officeDocument/2006/relationships/slideLayout" Target="../slideLayouts/slideLayout63.xml"/><Relationship Id="rId159" Type="http://schemas.openxmlformats.org/officeDocument/2006/relationships/slideLayout" Target="../slideLayouts/slideLayout159.xml"/><Relationship Id="rId366" Type="http://schemas.openxmlformats.org/officeDocument/2006/relationships/slideLayout" Target="../slideLayouts/slideLayout366.xml"/><Relationship Id="rId573" Type="http://schemas.openxmlformats.org/officeDocument/2006/relationships/slideLayout" Target="../slideLayouts/slideLayout573.xml"/><Relationship Id="rId226" Type="http://schemas.openxmlformats.org/officeDocument/2006/relationships/slideLayout" Target="../slideLayouts/slideLayout226.xml"/><Relationship Id="rId433" Type="http://schemas.openxmlformats.org/officeDocument/2006/relationships/slideLayout" Target="../slideLayouts/slideLayout433.xml"/><Relationship Id="rId640" Type="http://schemas.openxmlformats.org/officeDocument/2006/relationships/slideLayout" Target="../slideLayouts/slideLayout640.xml"/><Relationship Id="rId74" Type="http://schemas.openxmlformats.org/officeDocument/2006/relationships/slideLayout" Target="../slideLayouts/slideLayout74.xml"/><Relationship Id="rId377" Type="http://schemas.openxmlformats.org/officeDocument/2006/relationships/slideLayout" Target="../slideLayouts/slideLayout377.xml"/><Relationship Id="rId500" Type="http://schemas.openxmlformats.org/officeDocument/2006/relationships/slideLayout" Target="../slideLayouts/slideLayout500.xml"/><Relationship Id="rId584" Type="http://schemas.openxmlformats.org/officeDocument/2006/relationships/slideLayout" Target="../slideLayouts/slideLayout584.xml"/><Relationship Id="rId5" Type="http://schemas.openxmlformats.org/officeDocument/2006/relationships/slideLayout" Target="../slideLayouts/slideLayout5.xml"/><Relationship Id="rId237" Type="http://schemas.openxmlformats.org/officeDocument/2006/relationships/slideLayout" Target="../slideLayouts/slideLayout237.xml"/><Relationship Id="rId444" Type="http://schemas.openxmlformats.org/officeDocument/2006/relationships/slideLayout" Target="../slideLayouts/slideLayout444.xml"/><Relationship Id="rId651" Type="http://schemas.openxmlformats.org/officeDocument/2006/relationships/slideLayout" Target="../slideLayouts/slideLayout651.xml"/><Relationship Id="rId290" Type="http://schemas.openxmlformats.org/officeDocument/2006/relationships/slideLayout" Target="../slideLayouts/slideLayout290.xml"/><Relationship Id="rId304" Type="http://schemas.openxmlformats.org/officeDocument/2006/relationships/slideLayout" Target="../slideLayouts/slideLayout304.xml"/><Relationship Id="rId388" Type="http://schemas.openxmlformats.org/officeDocument/2006/relationships/slideLayout" Target="../slideLayouts/slideLayout388.xml"/><Relationship Id="rId511" Type="http://schemas.openxmlformats.org/officeDocument/2006/relationships/slideLayout" Target="../slideLayouts/slideLayout511.xml"/><Relationship Id="rId609" Type="http://schemas.openxmlformats.org/officeDocument/2006/relationships/slideLayout" Target="../slideLayouts/slideLayout609.xml"/><Relationship Id="rId85" Type="http://schemas.openxmlformats.org/officeDocument/2006/relationships/slideLayout" Target="../slideLayouts/slideLayout85.xml"/><Relationship Id="rId150" Type="http://schemas.openxmlformats.org/officeDocument/2006/relationships/slideLayout" Target="../slideLayouts/slideLayout150.xml"/><Relationship Id="rId595" Type="http://schemas.openxmlformats.org/officeDocument/2006/relationships/slideLayout" Target="../slideLayouts/slideLayout595.xml"/><Relationship Id="rId248" Type="http://schemas.openxmlformats.org/officeDocument/2006/relationships/slideLayout" Target="../slideLayouts/slideLayout248.xml"/><Relationship Id="rId455" Type="http://schemas.openxmlformats.org/officeDocument/2006/relationships/slideLayout" Target="../slideLayouts/slideLayout455.xml"/><Relationship Id="rId662" Type="http://schemas.openxmlformats.org/officeDocument/2006/relationships/slideLayout" Target="../slideLayouts/slideLayout662.xml"/><Relationship Id="rId12" Type="http://schemas.openxmlformats.org/officeDocument/2006/relationships/slideLayout" Target="../slideLayouts/slideLayout12.xml"/><Relationship Id="rId108" Type="http://schemas.openxmlformats.org/officeDocument/2006/relationships/slideLayout" Target="../slideLayouts/slideLayout108.xml"/><Relationship Id="rId315" Type="http://schemas.openxmlformats.org/officeDocument/2006/relationships/slideLayout" Target="../slideLayouts/slideLayout315.xml"/><Relationship Id="rId522" Type="http://schemas.openxmlformats.org/officeDocument/2006/relationships/slideLayout" Target="../slideLayouts/slideLayout522.xml"/><Relationship Id="rId96" Type="http://schemas.openxmlformats.org/officeDocument/2006/relationships/slideLayout" Target="../slideLayouts/slideLayout96.xml"/><Relationship Id="rId161" Type="http://schemas.openxmlformats.org/officeDocument/2006/relationships/slideLayout" Target="../slideLayouts/slideLayout161.xml"/><Relationship Id="rId399" Type="http://schemas.openxmlformats.org/officeDocument/2006/relationships/slideLayout" Target="../slideLayouts/slideLayout399.xml"/><Relationship Id="rId259" Type="http://schemas.openxmlformats.org/officeDocument/2006/relationships/slideLayout" Target="../slideLayouts/slideLayout259.xml"/><Relationship Id="rId466" Type="http://schemas.openxmlformats.org/officeDocument/2006/relationships/slideLayout" Target="../slideLayouts/slideLayout466.xml"/><Relationship Id="rId673" Type="http://schemas.openxmlformats.org/officeDocument/2006/relationships/slideLayout" Target="../slideLayouts/slideLayout673.xml"/><Relationship Id="rId23" Type="http://schemas.openxmlformats.org/officeDocument/2006/relationships/slideLayout" Target="../slideLayouts/slideLayout23.xml"/><Relationship Id="rId119" Type="http://schemas.openxmlformats.org/officeDocument/2006/relationships/slideLayout" Target="../slideLayouts/slideLayout119.xml"/><Relationship Id="rId326" Type="http://schemas.openxmlformats.org/officeDocument/2006/relationships/slideLayout" Target="../slideLayouts/slideLayout326.xml"/><Relationship Id="rId533" Type="http://schemas.openxmlformats.org/officeDocument/2006/relationships/slideLayout" Target="../slideLayouts/slideLayout533.xml"/><Relationship Id="rId172" Type="http://schemas.openxmlformats.org/officeDocument/2006/relationships/slideLayout" Target="../slideLayouts/slideLayout172.xml"/><Relationship Id="rId477" Type="http://schemas.openxmlformats.org/officeDocument/2006/relationships/slideLayout" Target="../slideLayouts/slideLayout477.xml"/><Relationship Id="rId600" Type="http://schemas.openxmlformats.org/officeDocument/2006/relationships/slideLayout" Target="../slideLayouts/slideLayout600.xml"/><Relationship Id="rId684" Type="http://schemas.openxmlformats.org/officeDocument/2006/relationships/slideLayout" Target="../slideLayouts/slideLayout684.xml"/><Relationship Id="rId337" Type="http://schemas.openxmlformats.org/officeDocument/2006/relationships/slideLayout" Target="../slideLayouts/slideLayout337.xml"/><Relationship Id="rId34" Type="http://schemas.openxmlformats.org/officeDocument/2006/relationships/slideLayout" Target="../slideLayouts/slideLayout34.xml"/><Relationship Id="rId544" Type="http://schemas.openxmlformats.org/officeDocument/2006/relationships/slideLayout" Target="../slideLayouts/slideLayout544.xml"/><Relationship Id="rId183" Type="http://schemas.openxmlformats.org/officeDocument/2006/relationships/slideLayout" Target="../slideLayouts/slideLayout183.xml"/><Relationship Id="rId390" Type="http://schemas.openxmlformats.org/officeDocument/2006/relationships/slideLayout" Target="../slideLayouts/slideLayout390.xml"/><Relationship Id="rId404" Type="http://schemas.openxmlformats.org/officeDocument/2006/relationships/slideLayout" Target="../slideLayouts/slideLayout404.xml"/><Relationship Id="rId611" Type="http://schemas.openxmlformats.org/officeDocument/2006/relationships/slideLayout" Target="../slideLayouts/slideLayout611.xml"/><Relationship Id="rId250" Type="http://schemas.openxmlformats.org/officeDocument/2006/relationships/slideLayout" Target="../slideLayouts/slideLayout250.xml"/><Relationship Id="rId488" Type="http://schemas.openxmlformats.org/officeDocument/2006/relationships/slideLayout" Target="../slideLayouts/slideLayout488.xml"/><Relationship Id="rId45" Type="http://schemas.openxmlformats.org/officeDocument/2006/relationships/slideLayout" Target="../slideLayouts/slideLayout45.xml"/><Relationship Id="rId110" Type="http://schemas.openxmlformats.org/officeDocument/2006/relationships/slideLayout" Target="../slideLayouts/slideLayout110.xml"/><Relationship Id="rId348" Type="http://schemas.openxmlformats.org/officeDocument/2006/relationships/slideLayout" Target="../slideLayouts/slideLayout348.xml"/><Relationship Id="rId555" Type="http://schemas.openxmlformats.org/officeDocument/2006/relationships/slideLayout" Target="../slideLayouts/slideLayout555.xml"/><Relationship Id="rId194" Type="http://schemas.openxmlformats.org/officeDocument/2006/relationships/slideLayout" Target="../slideLayouts/slideLayout194.xml"/><Relationship Id="rId208" Type="http://schemas.openxmlformats.org/officeDocument/2006/relationships/slideLayout" Target="../slideLayouts/slideLayout208.xml"/><Relationship Id="rId415" Type="http://schemas.openxmlformats.org/officeDocument/2006/relationships/slideLayout" Target="../slideLayouts/slideLayout415.xml"/><Relationship Id="rId622" Type="http://schemas.openxmlformats.org/officeDocument/2006/relationships/slideLayout" Target="../slideLayouts/slideLayout622.xml"/><Relationship Id="rId261" Type="http://schemas.openxmlformats.org/officeDocument/2006/relationships/slideLayout" Target="../slideLayouts/slideLayout261.xml"/><Relationship Id="rId499" Type="http://schemas.openxmlformats.org/officeDocument/2006/relationships/slideLayout" Target="../slideLayouts/slideLayout499.xml"/><Relationship Id="rId56" Type="http://schemas.openxmlformats.org/officeDocument/2006/relationships/slideLayout" Target="../slideLayouts/slideLayout56.xml"/><Relationship Id="rId359" Type="http://schemas.openxmlformats.org/officeDocument/2006/relationships/slideLayout" Target="../slideLayouts/slideLayout359.xml"/><Relationship Id="rId566" Type="http://schemas.openxmlformats.org/officeDocument/2006/relationships/slideLayout" Target="../slideLayouts/slideLayout566.xml"/><Relationship Id="rId121" Type="http://schemas.openxmlformats.org/officeDocument/2006/relationships/slideLayout" Target="../slideLayouts/slideLayout121.xml"/><Relationship Id="rId219" Type="http://schemas.openxmlformats.org/officeDocument/2006/relationships/slideLayout" Target="../slideLayouts/slideLayout219.xml"/><Relationship Id="rId426" Type="http://schemas.openxmlformats.org/officeDocument/2006/relationships/slideLayout" Target="../slideLayouts/slideLayout426.xml"/><Relationship Id="rId633" Type="http://schemas.openxmlformats.org/officeDocument/2006/relationships/slideLayout" Target="../slideLayouts/slideLayout633.xml"/><Relationship Id="rId67" Type="http://schemas.openxmlformats.org/officeDocument/2006/relationships/slideLayout" Target="../slideLayouts/slideLayout67.xml"/><Relationship Id="rId272" Type="http://schemas.openxmlformats.org/officeDocument/2006/relationships/slideLayout" Target="../slideLayouts/slideLayout272.xml"/><Relationship Id="rId577" Type="http://schemas.openxmlformats.org/officeDocument/2006/relationships/slideLayout" Target="../slideLayouts/slideLayout577.xml"/><Relationship Id="rId132" Type="http://schemas.openxmlformats.org/officeDocument/2006/relationships/slideLayout" Target="../slideLayouts/slideLayout132.xml"/><Relationship Id="rId437" Type="http://schemas.openxmlformats.org/officeDocument/2006/relationships/slideLayout" Target="../slideLayouts/slideLayout437.xml"/><Relationship Id="rId644" Type="http://schemas.openxmlformats.org/officeDocument/2006/relationships/slideLayout" Target="../slideLayouts/slideLayout644.xml"/><Relationship Id="rId283" Type="http://schemas.openxmlformats.org/officeDocument/2006/relationships/slideLayout" Target="../slideLayouts/slideLayout283.xml"/><Relationship Id="rId490" Type="http://schemas.openxmlformats.org/officeDocument/2006/relationships/slideLayout" Target="../slideLayouts/slideLayout490.xml"/><Relationship Id="rId504" Type="http://schemas.openxmlformats.org/officeDocument/2006/relationships/slideLayout" Target="../slideLayouts/slideLayout504.xml"/><Relationship Id="rId78" Type="http://schemas.openxmlformats.org/officeDocument/2006/relationships/slideLayout" Target="../slideLayouts/slideLayout78.xml"/><Relationship Id="rId143" Type="http://schemas.openxmlformats.org/officeDocument/2006/relationships/slideLayout" Target="../slideLayouts/slideLayout143.xml"/><Relationship Id="rId350" Type="http://schemas.openxmlformats.org/officeDocument/2006/relationships/slideLayout" Target="../slideLayouts/slideLayout350.xml"/><Relationship Id="rId588" Type="http://schemas.openxmlformats.org/officeDocument/2006/relationships/slideLayout" Target="../slideLayouts/slideLayout588.xml"/><Relationship Id="rId9" Type="http://schemas.openxmlformats.org/officeDocument/2006/relationships/slideLayout" Target="../slideLayouts/slideLayout9.xml"/><Relationship Id="rId210" Type="http://schemas.openxmlformats.org/officeDocument/2006/relationships/slideLayout" Target="../slideLayouts/slideLayout210.xml"/><Relationship Id="rId448" Type="http://schemas.openxmlformats.org/officeDocument/2006/relationships/slideLayout" Target="../slideLayouts/slideLayout448.xml"/><Relationship Id="rId655" Type="http://schemas.openxmlformats.org/officeDocument/2006/relationships/slideLayout" Target="../slideLayouts/slideLayout655.xml"/><Relationship Id="rId294" Type="http://schemas.openxmlformats.org/officeDocument/2006/relationships/slideLayout" Target="../slideLayouts/slideLayout294.xml"/><Relationship Id="rId308" Type="http://schemas.openxmlformats.org/officeDocument/2006/relationships/slideLayout" Target="../slideLayouts/slideLayout308.xml"/><Relationship Id="rId515" Type="http://schemas.openxmlformats.org/officeDocument/2006/relationships/slideLayout" Target="../slideLayouts/slideLayout515.xml"/><Relationship Id="rId89" Type="http://schemas.openxmlformats.org/officeDocument/2006/relationships/slideLayout" Target="../slideLayouts/slideLayout89.xml"/><Relationship Id="rId154" Type="http://schemas.openxmlformats.org/officeDocument/2006/relationships/slideLayout" Target="../slideLayouts/slideLayout154.xml"/><Relationship Id="rId361" Type="http://schemas.openxmlformats.org/officeDocument/2006/relationships/slideLayout" Target="../slideLayouts/slideLayout361.xml"/><Relationship Id="rId599" Type="http://schemas.openxmlformats.org/officeDocument/2006/relationships/slideLayout" Target="../slideLayouts/slideLayout599.xml"/><Relationship Id="rId459" Type="http://schemas.openxmlformats.org/officeDocument/2006/relationships/slideLayout" Target="../slideLayouts/slideLayout459.xml"/><Relationship Id="rId666" Type="http://schemas.openxmlformats.org/officeDocument/2006/relationships/slideLayout" Target="../slideLayouts/slideLayout666.xml"/><Relationship Id="rId16" Type="http://schemas.openxmlformats.org/officeDocument/2006/relationships/slideLayout" Target="../slideLayouts/slideLayout16.xml"/><Relationship Id="rId221" Type="http://schemas.openxmlformats.org/officeDocument/2006/relationships/slideLayout" Target="../slideLayouts/slideLayout221.xml"/><Relationship Id="rId319" Type="http://schemas.openxmlformats.org/officeDocument/2006/relationships/slideLayout" Target="../slideLayouts/slideLayout319.xml"/><Relationship Id="rId526" Type="http://schemas.openxmlformats.org/officeDocument/2006/relationships/slideLayout" Target="../slideLayouts/slideLayout526.xml"/><Relationship Id="rId165" Type="http://schemas.openxmlformats.org/officeDocument/2006/relationships/slideLayout" Target="../slideLayouts/slideLayout165.xml"/><Relationship Id="rId372" Type="http://schemas.openxmlformats.org/officeDocument/2006/relationships/slideLayout" Target="../slideLayouts/slideLayout372.xml"/><Relationship Id="rId677" Type="http://schemas.openxmlformats.org/officeDocument/2006/relationships/slideLayout" Target="../slideLayouts/slideLayout677.xml"/><Relationship Id="rId232" Type="http://schemas.openxmlformats.org/officeDocument/2006/relationships/slideLayout" Target="../slideLayouts/slideLayout232.xml"/><Relationship Id="rId27" Type="http://schemas.openxmlformats.org/officeDocument/2006/relationships/slideLayout" Target="../slideLayouts/slideLayout27.xml"/><Relationship Id="rId537" Type="http://schemas.openxmlformats.org/officeDocument/2006/relationships/slideLayout" Target="../slideLayouts/slideLayout537.xml"/><Relationship Id="rId80" Type="http://schemas.openxmlformats.org/officeDocument/2006/relationships/slideLayout" Target="../slideLayouts/slideLayout80.xml"/><Relationship Id="rId176" Type="http://schemas.openxmlformats.org/officeDocument/2006/relationships/slideLayout" Target="../slideLayouts/slideLayout176.xml"/><Relationship Id="rId383" Type="http://schemas.openxmlformats.org/officeDocument/2006/relationships/slideLayout" Target="../slideLayouts/slideLayout383.xml"/><Relationship Id="rId590" Type="http://schemas.openxmlformats.org/officeDocument/2006/relationships/slideLayout" Target="../slideLayouts/slideLayout590.xml"/><Relationship Id="rId604" Type="http://schemas.openxmlformats.org/officeDocument/2006/relationships/slideLayout" Target="../slideLayouts/slideLayout604.xml"/><Relationship Id="rId243" Type="http://schemas.openxmlformats.org/officeDocument/2006/relationships/slideLayout" Target="../slideLayouts/slideLayout243.xml"/><Relationship Id="rId450" Type="http://schemas.openxmlformats.org/officeDocument/2006/relationships/slideLayout" Target="../slideLayouts/slideLayout450.xml"/><Relationship Id="rId38" Type="http://schemas.openxmlformats.org/officeDocument/2006/relationships/slideLayout" Target="../slideLayouts/slideLayout38.xml"/><Relationship Id="rId103" Type="http://schemas.openxmlformats.org/officeDocument/2006/relationships/slideLayout" Target="../slideLayouts/slideLayout103.xml"/><Relationship Id="rId310" Type="http://schemas.openxmlformats.org/officeDocument/2006/relationships/slideLayout" Target="../slideLayouts/slideLayout310.xml"/><Relationship Id="rId548" Type="http://schemas.openxmlformats.org/officeDocument/2006/relationships/slideLayout" Target="../slideLayouts/slideLayout548.xml"/><Relationship Id="rId91" Type="http://schemas.openxmlformats.org/officeDocument/2006/relationships/slideLayout" Target="../slideLayouts/slideLayout91.xml"/><Relationship Id="rId187" Type="http://schemas.openxmlformats.org/officeDocument/2006/relationships/slideLayout" Target="../slideLayouts/slideLayout187.xml"/><Relationship Id="rId394" Type="http://schemas.openxmlformats.org/officeDocument/2006/relationships/slideLayout" Target="../slideLayouts/slideLayout394.xml"/><Relationship Id="rId408" Type="http://schemas.openxmlformats.org/officeDocument/2006/relationships/slideLayout" Target="../slideLayouts/slideLayout408.xml"/><Relationship Id="rId615" Type="http://schemas.openxmlformats.org/officeDocument/2006/relationships/slideLayout" Target="../slideLayouts/slideLayout615.xml"/></Relationships>
</file>

<file path=ppt/slideMasters/_rels/slideMaster2.xml.rels><?xml version="1.0" encoding="UTF-8" standalone="yes"?>
<Relationships xmlns="http://schemas.openxmlformats.org/package/2006/relationships"><Relationship Id="rId117" Type="http://schemas.openxmlformats.org/officeDocument/2006/relationships/slideLayout" Target="../slideLayouts/slideLayout801.xml"/><Relationship Id="rId21" Type="http://schemas.openxmlformats.org/officeDocument/2006/relationships/slideLayout" Target="../slideLayouts/slideLayout705.xml"/><Relationship Id="rId63" Type="http://schemas.openxmlformats.org/officeDocument/2006/relationships/slideLayout" Target="../slideLayouts/slideLayout747.xml"/><Relationship Id="rId159" Type="http://schemas.openxmlformats.org/officeDocument/2006/relationships/slideLayout" Target="../slideLayouts/slideLayout843.xml"/><Relationship Id="rId170" Type="http://schemas.openxmlformats.org/officeDocument/2006/relationships/slideLayout" Target="../slideLayouts/slideLayout854.xml"/><Relationship Id="rId226" Type="http://schemas.openxmlformats.org/officeDocument/2006/relationships/slideLayout" Target="../slideLayouts/slideLayout910.xml"/><Relationship Id="rId268" Type="http://schemas.openxmlformats.org/officeDocument/2006/relationships/slideLayout" Target="../slideLayouts/slideLayout952.xml"/><Relationship Id="rId32" Type="http://schemas.openxmlformats.org/officeDocument/2006/relationships/slideLayout" Target="../slideLayouts/slideLayout716.xml"/><Relationship Id="rId74" Type="http://schemas.openxmlformats.org/officeDocument/2006/relationships/slideLayout" Target="../slideLayouts/slideLayout758.xml"/><Relationship Id="rId128" Type="http://schemas.openxmlformats.org/officeDocument/2006/relationships/slideLayout" Target="../slideLayouts/slideLayout812.xml"/><Relationship Id="rId5" Type="http://schemas.openxmlformats.org/officeDocument/2006/relationships/slideLayout" Target="../slideLayouts/slideLayout689.xml"/><Relationship Id="rId95" Type="http://schemas.openxmlformats.org/officeDocument/2006/relationships/slideLayout" Target="../slideLayouts/slideLayout779.xml"/><Relationship Id="rId160" Type="http://schemas.openxmlformats.org/officeDocument/2006/relationships/slideLayout" Target="../slideLayouts/slideLayout844.xml"/><Relationship Id="rId181" Type="http://schemas.openxmlformats.org/officeDocument/2006/relationships/slideLayout" Target="../slideLayouts/slideLayout865.xml"/><Relationship Id="rId216" Type="http://schemas.openxmlformats.org/officeDocument/2006/relationships/slideLayout" Target="../slideLayouts/slideLayout900.xml"/><Relationship Id="rId237" Type="http://schemas.openxmlformats.org/officeDocument/2006/relationships/slideLayout" Target="../slideLayouts/slideLayout921.xml"/><Relationship Id="rId258" Type="http://schemas.openxmlformats.org/officeDocument/2006/relationships/slideLayout" Target="../slideLayouts/slideLayout942.xml"/><Relationship Id="rId22" Type="http://schemas.openxmlformats.org/officeDocument/2006/relationships/slideLayout" Target="../slideLayouts/slideLayout706.xml"/><Relationship Id="rId43" Type="http://schemas.openxmlformats.org/officeDocument/2006/relationships/slideLayout" Target="../slideLayouts/slideLayout727.xml"/><Relationship Id="rId64" Type="http://schemas.openxmlformats.org/officeDocument/2006/relationships/slideLayout" Target="../slideLayouts/slideLayout748.xml"/><Relationship Id="rId118" Type="http://schemas.openxmlformats.org/officeDocument/2006/relationships/slideLayout" Target="../slideLayouts/slideLayout802.xml"/><Relationship Id="rId139" Type="http://schemas.openxmlformats.org/officeDocument/2006/relationships/slideLayout" Target="../slideLayouts/slideLayout823.xml"/><Relationship Id="rId85" Type="http://schemas.openxmlformats.org/officeDocument/2006/relationships/slideLayout" Target="../slideLayouts/slideLayout769.xml"/><Relationship Id="rId150" Type="http://schemas.openxmlformats.org/officeDocument/2006/relationships/slideLayout" Target="../slideLayouts/slideLayout834.xml"/><Relationship Id="rId171" Type="http://schemas.openxmlformats.org/officeDocument/2006/relationships/slideLayout" Target="../slideLayouts/slideLayout855.xml"/><Relationship Id="rId192" Type="http://schemas.openxmlformats.org/officeDocument/2006/relationships/slideLayout" Target="../slideLayouts/slideLayout876.xml"/><Relationship Id="rId206" Type="http://schemas.openxmlformats.org/officeDocument/2006/relationships/slideLayout" Target="../slideLayouts/slideLayout890.xml"/><Relationship Id="rId227" Type="http://schemas.openxmlformats.org/officeDocument/2006/relationships/slideLayout" Target="../slideLayouts/slideLayout911.xml"/><Relationship Id="rId248" Type="http://schemas.openxmlformats.org/officeDocument/2006/relationships/slideLayout" Target="../slideLayouts/slideLayout932.xml"/><Relationship Id="rId269" Type="http://schemas.openxmlformats.org/officeDocument/2006/relationships/slideLayout" Target="../slideLayouts/slideLayout953.xml"/><Relationship Id="rId12" Type="http://schemas.openxmlformats.org/officeDocument/2006/relationships/slideLayout" Target="../slideLayouts/slideLayout696.xml"/><Relationship Id="rId33" Type="http://schemas.openxmlformats.org/officeDocument/2006/relationships/slideLayout" Target="../slideLayouts/slideLayout717.xml"/><Relationship Id="rId108" Type="http://schemas.openxmlformats.org/officeDocument/2006/relationships/slideLayout" Target="../slideLayouts/slideLayout792.xml"/><Relationship Id="rId129" Type="http://schemas.openxmlformats.org/officeDocument/2006/relationships/slideLayout" Target="../slideLayouts/slideLayout813.xml"/><Relationship Id="rId54" Type="http://schemas.openxmlformats.org/officeDocument/2006/relationships/slideLayout" Target="../slideLayouts/slideLayout738.xml"/><Relationship Id="rId75" Type="http://schemas.openxmlformats.org/officeDocument/2006/relationships/slideLayout" Target="../slideLayouts/slideLayout759.xml"/><Relationship Id="rId96" Type="http://schemas.openxmlformats.org/officeDocument/2006/relationships/slideLayout" Target="../slideLayouts/slideLayout780.xml"/><Relationship Id="rId140" Type="http://schemas.openxmlformats.org/officeDocument/2006/relationships/slideLayout" Target="../slideLayouts/slideLayout824.xml"/><Relationship Id="rId161" Type="http://schemas.openxmlformats.org/officeDocument/2006/relationships/slideLayout" Target="../slideLayouts/slideLayout845.xml"/><Relationship Id="rId182" Type="http://schemas.openxmlformats.org/officeDocument/2006/relationships/slideLayout" Target="../slideLayouts/slideLayout866.xml"/><Relationship Id="rId217" Type="http://schemas.openxmlformats.org/officeDocument/2006/relationships/slideLayout" Target="../slideLayouts/slideLayout901.xml"/><Relationship Id="rId6" Type="http://schemas.openxmlformats.org/officeDocument/2006/relationships/slideLayout" Target="../slideLayouts/slideLayout690.xml"/><Relationship Id="rId238" Type="http://schemas.openxmlformats.org/officeDocument/2006/relationships/slideLayout" Target="../slideLayouts/slideLayout922.xml"/><Relationship Id="rId259" Type="http://schemas.openxmlformats.org/officeDocument/2006/relationships/slideLayout" Target="../slideLayouts/slideLayout943.xml"/><Relationship Id="rId23" Type="http://schemas.openxmlformats.org/officeDocument/2006/relationships/slideLayout" Target="../slideLayouts/slideLayout707.xml"/><Relationship Id="rId119" Type="http://schemas.openxmlformats.org/officeDocument/2006/relationships/slideLayout" Target="../slideLayouts/slideLayout803.xml"/><Relationship Id="rId270" Type="http://schemas.openxmlformats.org/officeDocument/2006/relationships/slideLayout" Target="../slideLayouts/slideLayout954.xml"/><Relationship Id="rId44" Type="http://schemas.openxmlformats.org/officeDocument/2006/relationships/slideLayout" Target="../slideLayouts/slideLayout728.xml"/><Relationship Id="rId65" Type="http://schemas.openxmlformats.org/officeDocument/2006/relationships/slideLayout" Target="../slideLayouts/slideLayout749.xml"/><Relationship Id="rId86" Type="http://schemas.openxmlformats.org/officeDocument/2006/relationships/slideLayout" Target="../slideLayouts/slideLayout770.xml"/><Relationship Id="rId130" Type="http://schemas.openxmlformats.org/officeDocument/2006/relationships/slideLayout" Target="../slideLayouts/slideLayout814.xml"/><Relationship Id="rId151" Type="http://schemas.openxmlformats.org/officeDocument/2006/relationships/slideLayout" Target="../slideLayouts/slideLayout835.xml"/><Relationship Id="rId172" Type="http://schemas.openxmlformats.org/officeDocument/2006/relationships/slideLayout" Target="../slideLayouts/slideLayout856.xml"/><Relationship Id="rId193" Type="http://schemas.openxmlformats.org/officeDocument/2006/relationships/slideLayout" Target="../slideLayouts/slideLayout877.xml"/><Relationship Id="rId207" Type="http://schemas.openxmlformats.org/officeDocument/2006/relationships/slideLayout" Target="../slideLayouts/slideLayout891.xml"/><Relationship Id="rId228" Type="http://schemas.openxmlformats.org/officeDocument/2006/relationships/slideLayout" Target="../slideLayouts/slideLayout912.xml"/><Relationship Id="rId249" Type="http://schemas.openxmlformats.org/officeDocument/2006/relationships/slideLayout" Target="../slideLayouts/slideLayout933.xml"/><Relationship Id="rId13" Type="http://schemas.openxmlformats.org/officeDocument/2006/relationships/slideLayout" Target="../slideLayouts/slideLayout697.xml"/><Relationship Id="rId109" Type="http://schemas.openxmlformats.org/officeDocument/2006/relationships/slideLayout" Target="../slideLayouts/slideLayout793.xml"/><Relationship Id="rId260" Type="http://schemas.openxmlformats.org/officeDocument/2006/relationships/slideLayout" Target="../slideLayouts/slideLayout944.xml"/><Relationship Id="rId34" Type="http://schemas.openxmlformats.org/officeDocument/2006/relationships/slideLayout" Target="../slideLayouts/slideLayout718.xml"/><Relationship Id="rId55" Type="http://schemas.openxmlformats.org/officeDocument/2006/relationships/slideLayout" Target="../slideLayouts/slideLayout739.xml"/><Relationship Id="rId76" Type="http://schemas.openxmlformats.org/officeDocument/2006/relationships/slideLayout" Target="../slideLayouts/slideLayout760.xml"/><Relationship Id="rId97" Type="http://schemas.openxmlformats.org/officeDocument/2006/relationships/slideLayout" Target="../slideLayouts/slideLayout781.xml"/><Relationship Id="rId120" Type="http://schemas.openxmlformats.org/officeDocument/2006/relationships/slideLayout" Target="../slideLayouts/slideLayout804.xml"/><Relationship Id="rId141" Type="http://schemas.openxmlformats.org/officeDocument/2006/relationships/slideLayout" Target="../slideLayouts/slideLayout825.xml"/><Relationship Id="rId7" Type="http://schemas.openxmlformats.org/officeDocument/2006/relationships/slideLayout" Target="../slideLayouts/slideLayout691.xml"/><Relationship Id="rId162" Type="http://schemas.openxmlformats.org/officeDocument/2006/relationships/slideLayout" Target="../slideLayouts/slideLayout846.xml"/><Relationship Id="rId183" Type="http://schemas.openxmlformats.org/officeDocument/2006/relationships/slideLayout" Target="../slideLayouts/slideLayout867.xml"/><Relationship Id="rId218" Type="http://schemas.openxmlformats.org/officeDocument/2006/relationships/slideLayout" Target="../slideLayouts/slideLayout902.xml"/><Relationship Id="rId239" Type="http://schemas.openxmlformats.org/officeDocument/2006/relationships/slideLayout" Target="../slideLayouts/slideLayout923.xml"/><Relationship Id="rId250" Type="http://schemas.openxmlformats.org/officeDocument/2006/relationships/slideLayout" Target="../slideLayouts/slideLayout934.xml"/><Relationship Id="rId271" Type="http://schemas.openxmlformats.org/officeDocument/2006/relationships/slideLayout" Target="../slideLayouts/slideLayout955.xml"/><Relationship Id="rId24" Type="http://schemas.openxmlformats.org/officeDocument/2006/relationships/slideLayout" Target="../slideLayouts/slideLayout708.xml"/><Relationship Id="rId45" Type="http://schemas.openxmlformats.org/officeDocument/2006/relationships/slideLayout" Target="../slideLayouts/slideLayout729.xml"/><Relationship Id="rId66" Type="http://schemas.openxmlformats.org/officeDocument/2006/relationships/slideLayout" Target="../slideLayouts/slideLayout750.xml"/><Relationship Id="rId87" Type="http://schemas.openxmlformats.org/officeDocument/2006/relationships/slideLayout" Target="../slideLayouts/slideLayout771.xml"/><Relationship Id="rId110" Type="http://schemas.openxmlformats.org/officeDocument/2006/relationships/slideLayout" Target="../slideLayouts/slideLayout794.xml"/><Relationship Id="rId131" Type="http://schemas.openxmlformats.org/officeDocument/2006/relationships/slideLayout" Target="../slideLayouts/slideLayout815.xml"/><Relationship Id="rId152" Type="http://schemas.openxmlformats.org/officeDocument/2006/relationships/slideLayout" Target="../slideLayouts/slideLayout836.xml"/><Relationship Id="rId173" Type="http://schemas.openxmlformats.org/officeDocument/2006/relationships/slideLayout" Target="../slideLayouts/slideLayout857.xml"/><Relationship Id="rId194" Type="http://schemas.openxmlformats.org/officeDocument/2006/relationships/slideLayout" Target="../slideLayouts/slideLayout878.xml"/><Relationship Id="rId208" Type="http://schemas.openxmlformats.org/officeDocument/2006/relationships/slideLayout" Target="../slideLayouts/slideLayout892.xml"/><Relationship Id="rId229" Type="http://schemas.openxmlformats.org/officeDocument/2006/relationships/slideLayout" Target="../slideLayouts/slideLayout913.xml"/><Relationship Id="rId240" Type="http://schemas.openxmlformats.org/officeDocument/2006/relationships/slideLayout" Target="../slideLayouts/slideLayout924.xml"/><Relationship Id="rId261" Type="http://schemas.openxmlformats.org/officeDocument/2006/relationships/slideLayout" Target="../slideLayouts/slideLayout945.xml"/><Relationship Id="rId14" Type="http://schemas.openxmlformats.org/officeDocument/2006/relationships/slideLayout" Target="../slideLayouts/slideLayout698.xml"/><Relationship Id="rId35" Type="http://schemas.openxmlformats.org/officeDocument/2006/relationships/slideLayout" Target="../slideLayouts/slideLayout719.xml"/><Relationship Id="rId56" Type="http://schemas.openxmlformats.org/officeDocument/2006/relationships/slideLayout" Target="../slideLayouts/slideLayout740.xml"/><Relationship Id="rId77" Type="http://schemas.openxmlformats.org/officeDocument/2006/relationships/slideLayout" Target="../slideLayouts/slideLayout761.xml"/><Relationship Id="rId100" Type="http://schemas.openxmlformats.org/officeDocument/2006/relationships/slideLayout" Target="../slideLayouts/slideLayout784.xml"/><Relationship Id="rId8" Type="http://schemas.openxmlformats.org/officeDocument/2006/relationships/slideLayout" Target="../slideLayouts/slideLayout692.xml"/><Relationship Id="rId98" Type="http://schemas.openxmlformats.org/officeDocument/2006/relationships/slideLayout" Target="../slideLayouts/slideLayout782.xml"/><Relationship Id="rId121" Type="http://schemas.openxmlformats.org/officeDocument/2006/relationships/slideLayout" Target="../slideLayouts/slideLayout805.xml"/><Relationship Id="rId142" Type="http://schemas.openxmlformats.org/officeDocument/2006/relationships/slideLayout" Target="../slideLayouts/slideLayout826.xml"/><Relationship Id="rId163" Type="http://schemas.openxmlformats.org/officeDocument/2006/relationships/slideLayout" Target="../slideLayouts/slideLayout847.xml"/><Relationship Id="rId184" Type="http://schemas.openxmlformats.org/officeDocument/2006/relationships/slideLayout" Target="../slideLayouts/slideLayout868.xml"/><Relationship Id="rId219" Type="http://schemas.openxmlformats.org/officeDocument/2006/relationships/slideLayout" Target="../slideLayouts/slideLayout903.xml"/><Relationship Id="rId230" Type="http://schemas.openxmlformats.org/officeDocument/2006/relationships/slideLayout" Target="../slideLayouts/slideLayout914.xml"/><Relationship Id="rId251" Type="http://schemas.openxmlformats.org/officeDocument/2006/relationships/slideLayout" Target="../slideLayouts/slideLayout935.xml"/><Relationship Id="rId25" Type="http://schemas.openxmlformats.org/officeDocument/2006/relationships/slideLayout" Target="../slideLayouts/slideLayout709.xml"/><Relationship Id="rId46" Type="http://schemas.openxmlformats.org/officeDocument/2006/relationships/slideLayout" Target="../slideLayouts/slideLayout730.xml"/><Relationship Id="rId67" Type="http://schemas.openxmlformats.org/officeDocument/2006/relationships/slideLayout" Target="../slideLayouts/slideLayout751.xml"/><Relationship Id="rId272" Type="http://schemas.openxmlformats.org/officeDocument/2006/relationships/slideLayout" Target="../slideLayouts/slideLayout956.xml"/><Relationship Id="rId88" Type="http://schemas.openxmlformats.org/officeDocument/2006/relationships/slideLayout" Target="../slideLayouts/slideLayout772.xml"/><Relationship Id="rId111" Type="http://schemas.openxmlformats.org/officeDocument/2006/relationships/slideLayout" Target="../slideLayouts/slideLayout795.xml"/><Relationship Id="rId132" Type="http://schemas.openxmlformats.org/officeDocument/2006/relationships/slideLayout" Target="../slideLayouts/slideLayout816.xml"/><Relationship Id="rId153" Type="http://schemas.openxmlformats.org/officeDocument/2006/relationships/slideLayout" Target="../slideLayouts/slideLayout837.xml"/><Relationship Id="rId174" Type="http://schemas.openxmlformats.org/officeDocument/2006/relationships/slideLayout" Target="../slideLayouts/slideLayout858.xml"/><Relationship Id="rId195" Type="http://schemas.openxmlformats.org/officeDocument/2006/relationships/slideLayout" Target="../slideLayouts/slideLayout879.xml"/><Relationship Id="rId209" Type="http://schemas.openxmlformats.org/officeDocument/2006/relationships/slideLayout" Target="../slideLayouts/slideLayout893.xml"/><Relationship Id="rId220" Type="http://schemas.openxmlformats.org/officeDocument/2006/relationships/slideLayout" Target="../slideLayouts/slideLayout904.xml"/><Relationship Id="rId241" Type="http://schemas.openxmlformats.org/officeDocument/2006/relationships/slideLayout" Target="../slideLayouts/slideLayout925.xml"/><Relationship Id="rId15" Type="http://schemas.openxmlformats.org/officeDocument/2006/relationships/slideLayout" Target="../slideLayouts/slideLayout699.xml"/><Relationship Id="rId36" Type="http://schemas.openxmlformats.org/officeDocument/2006/relationships/slideLayout" Target="../slideLayouts/slideLayout720.xml"/><Relationship Id="rId57" Type="http://schemas.openxmlformats.org/officeDocument/2006/relationships/slideLayout" Target="../slideLayouts/slideLayout741.xml"/><Relationship Id="rId262" Type="http://schemas.openxmlformats.org/officeDocument/2006/relationships/slideLayout" Target="../slideLayouts/slideLayout946.xml"/><Relationship Id="rId78" Type="http://schemas.openxmlformats.org/officeDocument/2006/relationships/slideLayout" Target="../slideLayouts/slideLayout762.xml"/><Relationship Id="rId99" Type="http://schemas.openxmlformats.org/officeDocument/2006/relationships/slideLayout" Target="../slideLayouts/slideLayout783.xml"/><Relationship Id="rId101" Type="http://schemas.openxmlformats.org/officeDocument/2006/relationships/slideLayout" Target="../slideLayouts/slideLayout785.xml"/><Relationship Id="rId122" Type="http://schemas.openxmlformats.org/officeDocument/2006/relationships/slideLayout" Target="../slideLayouts/slideLayout806.xml"/><Relationship Id="rId143" Type="http://schemas.openxmlformats.org/officeDocument/2006/relationships/slideLayout" Target="../slideLayouts/slideLayout827.xml"/><Relationship Id="rId164" Type="http://schemas.openxmlformats.org/officeDocument/2006/relationships/slideLayout" Target="../slideLayouts/slideLayout848.xml"/><Relationship Id="rId185" Type="http://schemas.openxmlformats.org/officeDocument/2006/relationships/slideLayout" Target="../slideLayouts/slideLayout869.xml"/><Relationship Id="rId9" Type="http://schemas.openxmlformats.org/officeDocument/2006/relationships/slideLayout" Target="../slideLayouts/slideLayout693.xml"/><Relationship Id="rId210" Type="http://schemas.openxmlformats.org/officeDocument/2006/relationships/slideLayout" Target="../slideLayouts/slideLayout894.xml"/><Relationship Id="rId26" Type="http://schemas.openxmlformats.org/officeDocument/2006/relationships/slideLayout" Target="../slideLayouts/slideLayout710.xml"/><Relationship Id="rId231" Type="http://schemas.openxmlformats.org/officeDocument/2006/relationships/slideLayout" Target="../slideLayouts/slideLayout915.xml"/><Relationship Id="rId252" Type="http://schemas.openxmlformats.org/officeDocument/2006/relationships/slideLayout" Target="../slideLayouts/slideLayout936.xml"/><Relationship Id="rId273" Type="http://schemas.openxmlformats.org/officeDocument/2006/relationships/theme" Target="../theme/theme2.xml"/><Relationship Id="rId47" Type="http://schemas.openxmlformats.org/officeDocument/2006/relationships/slideLayout" Target="../slideLayouts/slideLayout731.xml"/><Relationship Id="rId68" Type="http://schemas.openxmlformats.org/officeDocument/2006/relationships/slideLayout" Target="../slideLayouts/slideLayout752.xml"/><Relationship Id="rId89" Type="http://schemas.openxmlformats.org/officeDocument/2006/relationships/slideLayout" Target="../slideLayouts/slideLayout773.xml"/><Relationship Id="rId112" Type="http://schemas.openxmlformats.org/officeDocument/2006/relationships/slideLayout" Target="../slideLayouts/slideLayout796.xml"/><Relationship Id="rId133" Type="http://schemas.openxmlformats.org/officeDocument/2006/relationships/slideLayout" Target="../slideLayouts/slideLayout817.xml"/><Relationship Id="rId154" Type="http://schemas.openxmlformats.org/officeDocument/2006/relationships/slideLayout" Target="../slideLayouts/slideLayout838.xml"/><Relationship Id="rId175" Type="http://schemas.openxmlformats.org/officeDocument/2006/relationships/slideLayout" Target="../slideLayouts/slideLayout859.xml"/><Relationship Id="rId196" Type="http://schemas.openxmlformats.org/officeDocument/2006/relationships/slideLayout" Target="../slideLayouts/slideLayout880.xml"/><Relationship Id="rId200" Type="http://schemas.openxmlformats.org/officeDocument/2006/relationships/slideLayout" Target="../slideLayouts/slideLayout884.xml"/><Relationship Id="rId16" Type="http://schemas.openxmlformats.org/officeDocument/2006/relationships/slideLayout" Target="../slideLayouts/slideLayout700.xml"/><Relationship Id="rId221" Type="http://schemas.openxmlformats.org/officeDocument/2006/relationships/slideLayout" Target="../slideLayouts/slideLayout905.xml"/><Relationship Id="rId242" Type="http://schemas.openxmlformats.org/officeDocument/2006/relationships/slideLayout" Target="../slideLayouts/slideLayout926.xml"/><Relationship Id="rId263" Type="http://schemas.openxmlformats.org/officeDocument/2006/relationships/slideLayout" Target="../slideLayouts/slideLayout947.xml"/><Relationship Id="rId37" Type="http://schemas.openxmlformats.org/officeDocument/2006/relationships/slideLayout" Target="../slideLayouts/slideLayout721.xml"/><Relationship Id="rId58" Type="http://schemas.openxmlformats.org/officeDocument/2006/relationships/slideLayout" Target="../slideLayouts/slideLayout742.xml"/><Relationship Id="rId79" Type="http://schemas.openxmlformats.org/officeDocument/2006/relationships/slideLayout" Target="../slideLayouts/slideLayout763.xml"/><Relationship Id="rId102" Type="http://schemas.openxmlformats.org/officeDocument/2006/relationships/slideLayout" Target="../slideLayouts/slideLayout786.xml"/><Relationship Id="rId123" Type="http://schemas.openxmlformats.org/officeDocument/2006/relationships/slideLayout" Target="../slideLayouts/slideLayout807.xml"/><Relationship Id="rId144" Type="http://schemas.openxmlformats.org/officeDocument/2006/relationships/slideLayout" Target="../slideLayouts/slideLayout828.xml"/><Relationship Id="rId90" Type="http://schemas.openxmlformats.org/officeDocument/2006/relationships/slideLayout" Target="../slideLayouts/slideLayout774.xml"/><Relationship Id="rId165" Type="http://schemas.openxmlformats.org/officeDocument/2006/relationships/slideLayout" Target="../slideLayouts/slideLayout849.xml"/><Relationship Id="rId186" Type="http://schemas.openxmlformats.org/officeDocument/2006/relationships/slideLayout" Target="../slideLayouts/slideLayout870.xml"/><Relationship Id="rId211" Type="http://schemas.openxmlformats.org/officeDocument/2006/relationships/slideLayout" Target="../slideLayouts/slideLayout895.xml"/><Relationship Id="rId232" Type="http://schemas.openxmlformats.org/officeDocument/2006/relationships/slideLayout" Target="../slideLayouts/slideLayout916.xml"/><Relationship Id="rId253" Type="http://schemas.openxmlformats.org/officeDocument/2006/relationships/slideLayout" Target="../slideLayouts/slideLayout937.xml"/><Relationship Id="rId27" Type="http://schemas.openxmlformats.org/officeDocument/2006/relationships/slideLayout" Target="../slideLayouts/slideLayout711.xml"/><Relationship Id="rId48" Type="http://schemas.openxmlformats.org/officeDocument/2006/relationships/slideLayout" Target="../slideLayouts/slideLayout732.xml"/><Relationship Id="rId69" Type="http://schemas.openxmlformats.org/officeDocument/2006/relationships/slideLayout" Target="../slideLayouts/slideLayout753.xml"/><Relationship Id="rId113" Type="http://schemas.openxmlformats.org/officeDocument/2006/relationships/slideLayout" Target="../slideLayouts/slideLayout797.xml"/><Relationship Id="rId134" Type="http://schemas.openxmlformats.org/officeDocument/2006/relationships/slideLayout" Target="../slideLayouts/slideLayout818.xml"/><Relationship Id="rId80" Type="http://schemas.openxmlformats.org/officeDocument/2006/relationships/slideLayout" Target="../slideLayouts/slideLayout764.xml"/><Relationship Id="rId155" Type="http://schemas.openxmlformats.org/officeDocument/2006/relationships/slideLayout" Target="../slideLayouts/slideLayout839.xml"/><Relationship Id="rId176" Type="http://schemas.openxmlformats.org/officeDocument/2006/relationships/slideLayout" Target="../slideLayouts/slideLayout860.xml"/><Relationship Id="rId197" Type="http://schemas.openxmlformats.org/officeDocument/2006/relationships/slideLayout" Target="../slideLayouts/slideLayout881.xml"/><Relationship Id="rId201" Type="http://schemas.openxmlformats.org/officeDocument/2006/relationships/slideLayout" Target="../slideLayouts/slideLayout885.xml"/><Relationship Id="rId222" Type="http://schemas.openxmlformats.org/officeDocument/2006/relationships/slideLayout" Target="../slideLayouts/slideLayout906.xml"/><Relationship Id="rId243" Type="http://schemas.openxmlformats.org/officeDocument/2006/relationships/slideLayout" Target="../slideLayouts/slideLayout927.xml"/><Relationship Id="rId264" Type="http://schemas.openxmlformats.org/officeDocument/2006/relationships/slideLayout" Target="../slideLayouts/slideLayout948.xml"/><Relationship Id="rId17" Type="http://schemas.openxmlformats.org/officeDocument/2006/relationships/slideLayout" Target="../slideLayouts/slideLayout701.xml"/><Relationship Id="rId38" Type="http://schemas.openxmlformats.org/officeDocument/2006/relationships/slideLayout" Target="../slideLayouts/slideLayout722.xml"/><Relationship Id="rId59" Type="http://schemas.openxmlformats.org/officeDocument/2006/relationships/slideLayout" Target="../slideLayouts/slideLayout743.xml"/><Relationship Id="rId103" Type="http://schemas.openxmlformats.org/officeDocument/2006/relationships/slideLayout" Target="../slideLayouts/slideLayout787.xml"/><Relationship Id="rId124" Type="http://schemas.openxmlformats.org/officeDocument/2006/relationships/slideLayout" Target="../slideLayouts/slideLayout808.xml"/><Relationship Id="rId70" Type="http://schemas.openxmlformats.org/officeDocument/2006/relationships/slideLayout" Target="../slideLayouts/slideLayout754.xml"/><Relationship Id="rId91" Type="http://schemas.openxmlformats.org/officeDocument/2006/relationships/slideLayout" Target="../slideLayouts/slideLayout775.xml"/><Relationship Id="rId145" Type="http://schemas.openxmlformats.org/officeDocument/2006/relationships/slideLayout" Target="../slideLayouts/slideLayout829.xml"/><Relationship Id="rId166" Type="http://schemas.openxmlformats.org/officeDocument/2006/relationships/slideLayout" Target="../slideLayouts/slideLayout850.xml"/><Relationship Id="rId187" Type="http://schemas.openxmlformats.org/officeDocument/2006/relationships/slideLayout" Target="../slideLayouts/slideLayout871.xml"/><Relationship Id="rId1" Type="http://schemas.openxmlformats.org/officeDocument/2006/relationships/slideLayout" Target="../slideLayouts/slideLayout685.xml"/><Relationship Id="rId212" Type="http://schemas.openxmlformats.org/officeDocument/2006/relationships/slideLayout" Target="../slideLayouts/slideLayout896.xml"/><Relationship Id="rId233" Type="http://schemas.openxmlformats.org/officeDocument/2006/relationships/slideLayout" Target="../slideLayouts/slideLayout917.xml"/><Relationship Id="rId254" Type="http://schemas.openxmlformats.org/officeDocument/2006/relationships/slideLayout" Target="../slideLayouts/slideLayout938.xml"/><Relationship Id="rId28" Type="http://schemas.openxmlformats.org/officeDocument/2006/relationships/slideLayout" Target="../slideLayouts/slideLayout712.xml"/><Relationship Id="rId49" Type="http://schemas.openxmlformats.org/officeDocument/2006/relationships/slideLayout" Target="../slideLayouts/slideLayout733.xml"/><Relationship Id="rId114" Type="http://schemas.openxmlformats.org/officeDocument/2006/relationships/slideLayout" Target="../slideLayouts/slideLayout798.xml"/><Relationship Id="rId60" Type="http://schemas.openxmlformats.org/officeDocument/2006/relationships/slideLayout" Target="../slideLayouts/slideLayout744.xml"/><Relationship Id="rId81" Type="http://schemas.openxmlformats.org/officeDocument/2006/relationships/slideLayout" Target="../slideLayouts/slideLayout765.xml"/><Relationship Id="rId135" Type="http://schemas.openxmlformats.org/officeDocument/2006/relationships/slideLayout" Target="../slideLayouts/slideLayout819.xml"/><Relationship Id="rId156" Type="http://schemas.openxmlformats.org/officeDocument/2006/relationships/slideLayout" Target="../slideLayouts/slideLayout840.xml"/><Relationship Id="rId177" Type="http://schemas.openxmlformats.org/officeDocument/2006/relationships/slideLayout" Target="../slideLayouts/slideLayout861.xml"/><Relationship Id="rId198" Type="http://schemas.openxmlformats.org/officeDocument/2006/relationships/slideLayout" Target="../slideLayouts/slideLayout882.xml"/><Relationship Id="rId202" Type="http://schemas.openxmlformats.org/officeDocument/2006/relationships/slideLayout" Target="../slideLayouts/slideLayout886.xml"/><Relationship Id="rId223" Type="http://schemas.openxmlformats.org/officeDocument/2006/relationships/slideLayout" Target="../slideLayouts/slideLayout907.xml"/><Relationship Id="rId244" Type="http://schemas.openxmlformats.org/officeDocument/2006/relationships/slideLayout" Target="../slideLayouts/slideLayout928.xml"/><Relationship Id="rId18" Type="http://schemas.openxmlformats.org/officeDocument/2006/relationships/slideLayout" Target="../slideLayouts/slideLayout702.xml"/><Relationship Id="rId39" Type="http://schemas.openxmlformats.org/officeDocument/2006/relationships/slideLayout" Target="../slideLayouts/slideLayout723.xml"/><Relationship Id="rId265" Type="http://schemas.openxmlformats.org/officeDocument/2006/relationships/slideLayout" Target="../slideLayouts/slideLayout949.xml"/><Relationship Id="rId50" Type="http://schemas.openxmlformats.org/officeDocument/2006/relationships/slideLayout" Target="../slideLayouts/slideLayout734.xml"/><Relationship Id="rId104" Type="http://schemas.openxmlformats.org/officeDocument/2006/relationships/slideLayout" Target="../slideLayouts/slideLayout788.xml"/><Relationship Id="rId125" Type="http://schemas.openxmlformats.org/officeDocument/2006/relationships/slideLayout" Target="../slideLayouts/slideLayout809.xml"/><Relationship Id="rId146" Type="http://schemas.openxmlformats.org/officeDocument/2006/relationships/slideLayout" Target="../slideLayouts/slideLayout830.xml"/><Relationship Id="rId167" Type="http://schemas.openxmlformats.org/officeDocument/2006/relationships/slideLayout" Target="../slideLayouts/slideLayout851.xml"/><Relationship Id="rId188" Type="http://schemas.openxmlformats.org/officeDocument/2006/relationships/slideLayout" Target="../slideLayouts/slideLayout872.xml"/><Relationship Id="rId71" Type="http://schemas.openxmlformats.org/officeDocument/2006/relationships/slideLayout" Target="../slideLayouts/slideLayout755.xml"/><Relationship Id="rId92" Type="http://schemas.openxmlformats.org/officeDocument/2006/relationships/slideLayout" Target="../slideLayouts/slideLayout776.xml"/><Relationship Id="rId213" Type="http://schemas.openxmlformats.org/officeDocument/2006/relationships/slideLayout" Target="../slideLayouts/slideLayout897.xml"/><Relationship Id="rId234" Type="http://schemas.openxmlformats.org/officeDocument/2006/relationships/slideLayout" Target="../slideLayouts/slideLayout918.xml"/><Relationship Id="rId2" Type="http://schemas.openxmlformats.org/officeDocument/2006/relationships/slideLayout" Target="../slideLayouts/slideLayout686.xml"/><Relationship Id="rId29" Type="http://schemas.openxmlformats.org/officeDocument/2006/relationships/slideLayout" Target="../slideLayouts/slideLayout713.xml"/><Relationship Id="rId255" Type="http://schemas.openxmlformats.org/officeDocument/2006/relationships/slideLayout" Target="../slideLayouts/slideLayout939.xml"/><Relationship Id="rId40" Type="http://schemas.openxmlformats.org/officeDocument/2006/relationships/slideLayout" Target="../slideLayouts/slideLayout724.xml"/><Relationship Id="rId115" Type="http://schemas.openxmlformats.org/officeDocument/2006/relationships/slideLayout" Target="../slideLayouts/slideLayout799.xml"/><Relationship Id="rId136" Type="http://schemas.openxmlformats.org/officeDocument/2006/relationships/slideLayout" Target="../slideLayouts/slideLayout820.xml"/><Relationship Id="rId157" Type="http://schemas.openxmlformats.org/officeDocument/2006/relationships/slideLayout" Target="../slideLayouts/slideLayout841.xml"/><Relationship Id="rId178" Type="http://schemas.openxmlformats.org/officeDocument/2006/relationships/slideLayout" Target="../slideLayouts/slideLayout862.xml"/><Relationship Id="rId61" Type="http://schemas.openxmlformats.org/officeDocument/2006/relationships/slideLayout" Target="../slideLayouts/slideLayout745.xml"/><Relationship Id="rId82" Type="http://schemas.openxmlformats.org/officeDocument/2006/relationships/slideLayout" Target="../slideLayouts/slideLayout766.xml"/><Relationship Id="rId199" Type="http://schemas.openxmlformats.org/officeDocument/2006/relationships/slideLayout" Target="../slideLayouts/slideLayout883.xml"/><Relationship Id="rId203" Type="http://schemas.openxmlformats.org/officeDocument/2006/relationships/slideLayout" Target="../slideLayouts/slideLayout887.xml"/><Relationship Id="rId19" Type="http://schemas.openxmlformats.org/officeDocument/2006/relationships/slideLayout" Target="../slideLayouts/slideLayout703.xml"/><Relationship Id="rId224" Type="http://schemas.openxmlformats.org/officeDocument/2006/relationships/slideLayout" Target="../slideLayouts/slideLayout908.xml"/><Relationship Id="rId245" Type="http://schemas.openxmlformats.org/officeDocument/2006/relationships/slideLayout" Target="../slideLayouts/slideLayout929.xml"/><Relationship Id="rId266" Type="http://schemas.openxmlformats.org/officeDocument/2006/relationships/slideLayout" Target="../slideLayouts/slideLayout950.xml"/><Relationship Id="rId30" Type="http://schemas.openxmlformats.org/officeDocument/2006/relationships/slideLayout" Target="../slideLayouts/slideLayout714.xml"/><Relationship Id="rId105" Type="http://schemas.openxmlformats.org/officeDocument/2006/relationships/slideLayout" Target="../slideLayouts/slideLayout789.xml"/><Relationship Id="rId126" Type="http://schemas.openxmlformats.org/officeDocument/2006/relationships/slideLayout" Target="../slideLayouts/slideLayout810.xml"/><Relationship Id="rId147" Type="http://schemas.openxmlformats.org/officeDocument/2006/relationships/slideLayout" Target="../slideLayouts/slideLayout831.xml"/><Relationship Id="rId168" Type="http://schemas.openxmlformats.org/officeDocument/2006/relationships/slideLayout" Target="../slideLayouts/slideLayout852.xml"/><Relationship Id="rId51" Type="http://schemas.openxmlformats.org/officeDocument/2006/relationships/slideLayout" Target="../slideLayouts/slideLayout735.xml"/><Relationship Id="rId72" Type="http://schemas.openxmlformats.org/officeDocument/2006/relationships/slideLayout" Target="../slideLayouts/slideLayout756.xml"/><Relationship Id="rId93" Type="http://schemas.openxmlformats.org/officeDocument/2006/relationships/slideLayout" Target="../slideLayouts/slideLayout777.xml"/><Relationship Id="rId189" Type="http://schemas.openxmlformats.org/officeDocument/2006/relationships/slideLayout" Target="../slideLayouts/slideLayout873.xml"/><Relationship Id="rId3" Type="http://schemas.openxmlformats.org/officeDocument/2006/relationships/slideLayout" Target="../slideLayouts/slideLayout687.xml"/><Relationship Id="rId214" Type="http://schemas.openxmlformats.org/officeDocument/2006/relationships/slideLayout" Target="../slideLayouts/slideLayout898.xml"/><Relationship Id="rId235" Type="http://schemas.openxmlformats.org/officeDocument/2006/relationships/slideLayout" Target="../slideLayouts/slideLayout919.xml"/><Relationship Id="rId256" Type="http://schemas.openxmlformats.org/officeDocument/2006/relationships/slideLayout" Target="../slideLayouts/slideLayout940.xml"/><Relationship Id="rId116" Type="http://schemas.openxmlformats.org/officeDocument/2006/relationships/slideLayout" Target="../slideLayouts/slideLayout800.xml"/><Relationship Id="rId137" Type="http://schemas.openxmlformats.org/officeDocument/2006/relationships/slideLayout" Target="../slideLayouts/slideLayout821.xml"/><Relationship Id="rId158" Type="http://schemas.openxmlformats.org/officeDocument/2006/relationships/slideLayout" Target="../slideLayouts/slideLayout842.xml"/><Relationship Id="rId20" Type="http://schemas.openxmlformats.org/officeDocument/2006/relationships/slideLayout" Target="../slideLayouts/slideLayout704.xml"/><Relationship Id="rId41" Type="http://schemas.openxmlformats.org/officeDocument/2006/relationships/slideLayout" Target="../slideLayouts/slideLayout725.xml"/><Relationship Id="rId62" Type="http://schemas.openxmlformats.org/officeDocument/2006/relationships/slideLayout" Target="../slideLayouts/slideLayout746.xml"/><Relationship Id="rId83" Type="http://schemas.openxmlformats.org/officeDocument/2006/relationships/slideLayout" Target="../slideLayouts/slideLayout767.xml"/><Relationship Id="rId179" Type="http://schemas.openxmlformats.org/officeDocument/2006/relationships/slideLayout" Target="../slideLayouts/slideLayout863.xml"/><Relationship Id="rId190" Type="http://schemas.openxmlformats.org/officeDocument/2006/relationships/slideLayout" Target="../slideLayouts/slideLayout874.xml"/><Relationship Id="rId204" Type="http://schemas.openxmlformats.org/officeDocument/2006/relationships/slideLayout" Target="../slideLayouts/slideLayout888.xml"/><Relationship Id="rId225" Type="http://schemas.openxmlformats.org/officeDocument/2006/relationships/slideLayout" Target="../slideLayouts/slideLayout909.xml"/><Relationship Id="rId246" Type="http://schemas.openxmlformats.org/officeDocument/2006/relationships/slideLayout" Target="../slideLayouts/slideLayout930.xml"/><Relationship Id="rId267" Type="http://schemas.openxmlformats.org/officeDocument/2006/relationships/slideLayout" Target="../slideLayouts/slideLayout951.xml"/><Relationship Id="rId106" Type="http://schemas.openxmlformats.org/officeDocument/2006/relationships/slideLayout" Target="../slideLayouts/slideLayout790.xml"/><Relationship Id="rId127" Type="http://schemas.openxmlformats.org/officeDocument/2006/relationships/slideLayout" Target="../slideLayouts/slideLayout811.xml"/><Relationship Id="rId10" Type="http://schemas.openxmlformats.org/officeDocument/2006/relationships/slideLayout" Target="../slideLayouts/slideLayout694.xml"/><Relationship Id="rId31" Type="http://schemas.openxmlformats.org/officeDocument/2006/relationships/slideLayout" Target="../slideLayouts/slideLayout715.xml"/><Relationship Id="rId52" Type="http://schemas.openxmlformats.org/officeDocument/2006/relationships/slideLayout" Target="../slideLayouts/slideLayout736.xml"/><Relationship Id="rId73" Type="http://schemas.openxmlformats.org/officeDocument/2006/relationships/slideLayout" Target="../slideLayouts/slideLayout757.xml"/><Relationship Id="rId94" Type="http://schemas.openxmlformats.org/officeDocument/2006/relationships/slideLayout" Target="../slideLayouts/slideLayout778.xml"/><Relationship Id="rId148" Type="http://schemas.openxmlformats.org/officeDocument/2006/relationships/slideLayout" Target="../slideLayouts/slideLayout832.xml"/><Relationship Id="rId169" Type="http://schemas.openxmlformats.org/officeDocument/2006/relationships/slideLayout" Target="../slideLayouts/slideLayout853.xml"/><Relationship Id="rId4" Type="http://schemas.openxmlformats.org/officeDocument/2006/relationships/slideLayout" Target="../slideLayouts/slideLayout688.xml"/><Relationship Id="rId180" Type="http://schemas.openxmlformats.org/officeDocument/2006/relationships/slideLayout" Target="../slideLayouts/slideLayout864.xml"/><Relationship Id="rId215" Type="http://schemas.openxmlformats.org/officeDocument/2006/relationships/slideLayout" Target="../slideLayouts/slideLayout899.xml"/><Relationship Id="rId236" Type="http://schemas.openxmlformats.org/officeDocument/2006/relationships/slideLayout" Target="../slideLayouts/slideLayout920.xml"/><Relationship Id="rId257" Type="http://schemas.openxmlformats.org/officeDocument/2006/relationships/slideLayout" Target="../slideLayouts/slideLayout941.xml"/><Relationship Id="rId42" Type="http://schemas.openxmlformats.org/officeDocument/2006/relationships/slideLayout" Target="../slideLayouts/slideLayout726.xml"/><Relationship Id="rId84" Type="http://schemas.openxmlformats.org/officeDocument/2006/relationships/slideLayout" Target="../slideLayouts/slideLayout768.xml"/><Relationship Id="rId138" Type="http://schemas.openxmlformats.org/officeDocument/2006/relationships/slideLayout" Target="../slideLayouts/slideLayout822.xml"/><Relationship Id="rId191" Type="http://schemas.openxmlformats.org/officeDocument/2006/relationships/slideLayout" Target="../slideLayouts/slideLayout875.xml"/><Relationship Id="rId205" Type="http://schemas.openxmlformats.org/officeDocument/2006/relationships/slideLayout" Target="../slideLayouts/slideLayout889.xml"/><Relationship Id="rId247" Type="http://schemas.openxmlformats.org/officeDocument/2006/relationships/slideLayout" Target="../slideLayouts/slideLayout931.xml"/><Relationship Id="rId107" Type="http://schemas.openxmlformats.org/officeDocument/2006/relationships/slideLayout" Target="../slideLayouts/slideLayout791.xml"/><Relationship Id="rId11" Type="http://schemas.openxmlformats.org/officeDocument/2006/relationships/slideLayout" Target="../slideLayouts/slideLayout695.xml"/><Relationship Id="rId53" Type="http://schemas.openxmlformats.org/officeDocument/2006/relationships/slideLayout" Target="../slideLayouts/slideLayout737.xml"/><Relationship Id="rId149" Type="http://schemas.openxmlformats.org/officeDocument/2006/relationships/slideLayout" Target="../slideLayouts/slideLayout8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964.xml"/><Relationship Id="rId3" Type="http://schemas.openxmlformats.org/officeDocument/2006/relationships/slideLayout" Target="../slideLayouts/slideLayout959.xml"/><Relationship Id="rId7" Type="http://schemas.openxmlformats.org/officeDocument/2006/relationships/slideLayout" Target="../slideLayouts/slideLayout963.xml"/><Relationship Id="rId12" Type="http://schemas.openxmlformats.org/officeDocument/2006/relationships/theme" Target="../theme/theme3.xml"/><Relationship Id="rId2" Type="http://schemas.openxmlformats.org/officeDocument/2006/relationships/slideLayout" Target="../slideLayouts/slideLayout958.xml"/><Relationship Id="rId1" Type="http://schemas.openxmlformats.org/officeDocument/2006/relationships/slideLayout" Target="../slideLayouts/slideLayout957.xml"/><Relationship Id="rId6" Type="http://schemas.openxmlformats.org/officeDocument/2006/relationships/slideLayout" Target="../slideLayouts/slideLayout962.xml"/><Relationship Id="rId11" Type="http://schemas.openxmlformats.org/officeDocument/2006/relationships/slideLayout" Target="../slideLayouts/slideLayout967.xml"/><Relationship Id="rId5" Type="http://schemas.openxmlformats.org/officeDocument/2006/relationships/slideLayout" Target="../slideLayouts/slideLayout961.xml"/><Relationship Id="rId10" Type="http://schemas.openxmlformats.org/officeDocument/2006/relationships/slideLayout" Target="../slideLayouts/slideLayout966.xml"/><Relationship Id="rId4" Type="http://schemas.openxmlformats.org/officeDocument/2006/relationships/slideLayout" Target="../slideLayouts/slideLayout960.xml"/><Relationship Id="rId9" Type="http://schemas.openxmlformats.org/officeDocument/2006/relationships/slideLayout" Target="../slideLayouts/slideLayout96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560092682"/>
      </p:ext>
    </p:extLst>
  </p:cSld>
  <p:clrMap bg1="lt1" tx1="dk1" bg2="lt2" tx2="dk2" accent1="accent1" accent2="accent2" accent3="accent3" accent4="accent4" accent5="accent5" accent6="accent6" hlink="hlink" folHlink="folHlink"/>
  <p:sldLayoutIdLst>
    <p:sldLayoutId id="2147487632" r:id="rId1"/>
    <p:sldLayoutId id="2147487028" r:id="rId2"/>
    <p:sldLayoutId id="2147487029" r:id="rId3"/>
    <p:sldLayoutId id="2147487030" r:id="rId4"/>
    <p:sldLayoutId id="2147487031" r:id="rId5"/>
    <p:sldLayoutId id="2147487032" r:id="rId6"/>
    <p:sldLayoutId id="2147487033" r:id="rId7"/>
    <p:sldLayoutId id="2147487034" r:id="rId8"/>
    <p:sldLayoutId id="2147487035" r:id="rId9"/>
    <p:sldLayoutId id="2147487036" r:id="rId10"/>
    <p:sldLayoutId id="2147487037" r:id="rId11"/>
    <p:sldLayoutId id="2147487038" r:id="rId12"/>
    <p:sldLayoutId id="2147487240" r:id="rId13"/>
    <p:sldLayoutId id="2147487241" r:id="rId14"/>
    <p:sldLayoutId id="2147483676" r:id="rId15"/>
    <p:sldLayoutId id="2147487039" r:id="rId16"/>
    <p:sldLayoutId id="2147487243" r:id="rId17"/>
    <p:sldLayoutId id="2147487244" r:id="rId18"/>
    <p:sldLayoutId id="2147487245" r:id="rId19"/>
    <p:sldLayoutId id="2147483681" r:id="rId20"/>
    <p:sldLayoutId id="2147487040" r:id="rId21"/>
    <p:sldLayoutId id="2147487041" r:id="rId22"/>
    <p:sldLayoutId id="2147487247" r:id="rId23"/>
    <p:sldLayoutId id="2147487248" r:id="rId24"/>
    <p:sldLayoutId id="2147487249" r:id="rId25"/>
    <p:sldLayoutId id="2147487042" r:id="rId26"/>
    <p:sldLayoutId id="2147487250" r:id="rId27"/>
    <p:sldLayoutId id="2147487251" r:id="rId28"/>
    <p:sldLayoutId id="2147487043" r:id="rId29"/>
    <p:sldLayoutId id="2147487044" r:id="rId30"/>
    <p:sldLayoutId id="2147487045" r:id="rId31"/>
    <p:sldLayoutId id="2147487046" r:id="rId32"/>
    <p:sldLayoutId id="2147487047" r:id="rId33"/>
    <p:sldLayoutId id="2147487048" r:id="rId34"/>
    <p:sldLayoutId id="2147487049" r:id="rId35"/>
    <p:sldLayoutId id="2147487050" r:id="rId36"/>
    <p:sldLayoutId id="2147487051" r:id="rId37"/>
    <p:sldLayoutId id="2147487052" r:id="rId38"/>
    <p:sldLayoutId id="2147487053" r:id="rId39"/>
    <p:sldLayoutId id="2147487252" r:id="rId40"/>
    <p:sldLayoutId id="2147487253" r:id="rId41"/>
    <p:sldLayoutId id="2147487633" r:id="rId42"/>
    <p:sldLayoutId id="2147487254" r:id="rId43"/>
    <p:sldLayoutId id="2147487255" r:id="rId44"/>
    <p:sldLayoutId id="2147487256"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7257" r:id="rId54"/>
    <p:sldLayoutId id="2147487258" r:id="rId55"/>
    <p:sldLayoutId id="2147483716" r:id="rId56"/>
    <p:sldLayoutId id="2147483717" r:id="rId57"/>
    <p:sldLayoutId id="2147483718" r:id="rId58"/>
    <p:sldLayoutId id="2147483719" r:id="rId59"/>
    <p:sldLayoutId id="2147487263" r:id="rId60"/>
    <p:sldLayoutId id="2147483721" r:id="rId61"/>
    <p:sldLayoutId id="2147487265" r:id="rId62"/>
    <p:sldLayoutId id="2147487266" r:id="rId63"/>
    <p:sldLayoutId id="2147487267" r:id="rId64"/>
    <p:sldLayoutId id="2147487268" r:id="rId65"/>
    <p:sldLayoutId id="2147487058" r:id="rId66"/>
    <p:sldLayoutId id="2147483727" r:id="rId67"/>
    <p:sldLayoutId id="2147487270" r:id="rId68"/>
    <p:sldLayoutId id="2147487271" r:id="rId69"/>
    <p:sldLayoutId id="2147487272" r:id="rId70"/>
    <p:sldLayoutId id="2147487273" r:id="rId71"/>
    <p:sldLayoutId id="2147487274" r:id="rId72"/>
    <p:sldLayoutId id="2147487275" r:id="rId73"/>
    <p:sldLayoutId id="2147487059" r:id="rId74"/>
    <p:sldLayoutId id="2147487060" r:id="rId75"/>
    <p:sldLayoutId id="2147487061" r:id="rId76"/>
    <p:sldLayoutId id="2147487062" r:id="rId77"/>
    <p:sldLayoutId id="2147487278" r:id="rId78"/>
    <p:sldLayoutId id="2147487063" r:id="rId79"/>
    <p:sldLayoutId id="2147487279" r:id="rId80"/>
    <p:sldLayoutId id="2147483741" r:id="rId81"/>
    <p:sldLayoutId id="2147487281" r:id="rId82"/>
    <p:sldLayoutId id="2147487064" r:id="rId83"/>
    <p:sldLayoutId id="2147487282" r:id="rId84"/>
    <p:sldLayoutId id="2147487283" r:id="rId85"/>
    <p:sldLayoutId id="2147487284" r:id="rId86"/>
    <p:sldLayoutId id="2147487285" r:id="rId87"/>
    <p:sldLayoutId id="2147487286" r:id="rId88"/>
    <p:sldLayoutId id="2147487287" r:id="rId89"/>
    <p:sldLayoutId id="2147487065" r:id="rId90"/>
    <p:sldLayoutId id="2147487066" r:id="rId91"/>
    <p:sldLayoutId id="2147487067" r:id="rId92"/>
    <p:sldLayoutId id="2147487068" r:id="rId93"/>
    <p:sldLayoutId id="2147487069" r:id="rId94"/>
    <p:sldLayoutId id="2147487070" r:id="rId95"/>
    <p:sldLayoutId id="2147487071" r:id="rId96"/>
    <p:sldLayoutId id="2147487072" r:id="rId97"/>
    <p:sldLayoutId id="2147487073" r:id="rId98"/>
    <p:sldLayoutId id="2147487074" r:id="rId99"/>
    <p:sldLayoutId id="2147487075" r:id="rId100"/>
    <p:sldLayoutId id="2147487288" r:id="rId101"/>
    <p:sldLayoutId id="2147487289" r:id="rId102"/>
    <p:sldLayoutId id="2147487290" r:id="rId103"/>
    <p:sldLayoutId id="2147487076" r:id="rId104"/>
    <p:sldLayoutId id="2147487077" r:id="rId105"/>
    <p:sldLayoutId id="2147487078" r:id="rId106"/>
    <p:sldLayoutId id="2147487291" r:id="rId107"/>
    <p:sldLayoutId id="2147487292" r:id="rId108"/>
    <p:sldLayoutId id="2147487293" r:id="rId109"/>
    <p:sldLayoutId id="2147487294" r:id="rId110"/>
    <p:sldLayoutId id="2147487295" r:id="rId111"/>
    <p:sldLayoutId id="2147487296" r:id="rId112"/>
    <p:sldLayoutId id="2147487297" r:id="rId113"/>
    <p:sldLayoutId id="2147487298" r:id="rId114"/>
    <p:sldLayoutId id="2147487079" r:id="rId115"/>
    <p:sldLayoutId id="2147487080" r:id="rId116"/>
    <p:sldLayoutId id="2147487081" r:id="rId117"/>
    <p:sldLayoutId id="2147487082" r:id="rId118"/>
    <p:sldLayoutId id="2147487083" r:id="rId119"/>
    <p:sldLayoutId id="2147487084" r:id="rId120"/>
    <p:sldLayoutId id="2147487085" r:id="rId121"/>
    <p:sldLayoutId id="2147487086" r:id="rId122"/>
    <p:sldLayoutId id="2147487087" r:id="rId123"/>
    <p:sldLayoutId id="2147487088" r:id="rId124"/>
    <p:sldLayoutId id="2147487089" r:id="rId125"/>
    <p:sldLayoutId id="2147487090" r:id="rId126"/>
    <p:sldLayoutId id="2147487299" r:id="rId127"/>
    <p:sldLayoutId id="2147487300" r:id="rId128"/>
    <p:sldLayoutId id="2147487301" r:id="rId129"/>
    <p:sldLayoutId id="2147487302" r:id="rId130"/>
    <p:sldLayoutId id="2147487303" r:id="rId131"/>
    <p:sldLayoutId id="2147487636" r:id="rId132"/>
    <p:sldLayoutId id="2147487637" r:id="rId133"/>
    <p:sldLayoutId id="2147487638" r:id="rId134"/>
    <p:sldLayoutId id="2147487307" r:id="rId135"/>
    <p:sldLayoutId id="2147487308" r:id="rId136"/>
    <p:sldLayoutId id="2147487309" r:id="rId137"/>
    <p:sldLayoutId id="2147487092" r:id="rId138"/>
    <p:sldLayoutId id="2147487311" r:id="rId139"/>
    <p:sldLayoutId id="2147487312" r:id="rId140"/>
    <p:sldLayoutId id="2147487313" r:id="rId141"/>
    <p:sldLayoutId id="2147487314" r:id="rId142"/>
    <p:sldLayoutId id="2147487315" r:id="rId143"/>
    <p:sldLayoutId id="2147487316" r:id="rId144"/>
    <p:sldLayoutId id="2147487093" r:id="rId145"/>
    <p:sldLayoutId id="2147487317" r:id="rId146"/>
    <p:sldLayoutId id="2147487318" r:id="rId147"/>
    <p:sldLayoutId id="2147487096" r:id="rId148"/>
    <p:sldLayoutId id="2147487097" r:id="rId149"/>
    <p:sldLayoutId id="2147487098" r:id="rId150"/>
    <p:sldLayoutId id="2147487099" r:id="rId151"/>
    <p:sldLayoutId id="2147487323" r:id="rId152"/>
    <p:sldLayoutId id="2147487100" r:id="rId153"/>
    <p:sldLayoutId id="2147487101" r:id="rId154"/>
    <p:sldLayoutId id="2147487634" r:id="rId155"/>
    <p:sldLayoutId id="2147487102" r:id="rId156"/>
    <p:sldLayoutId id="2147487103" r:id="rId157"/>
    <p:sldLayoutId id="2147487640" r:id="rId158"/>
    <p:sldLayoutId id="2147487104" r:id="rId159"/>
    <p:sldLayoutId id="2147487324" r:id="rId160"/>
    <p:sldLayoutId id="2147487105" r:id="rId161"/>
    <p:sldLayoutId id="2147487106" r:id="rId162"/>
    <p:sldLayoutId id="2147487107" r:id="rId163"/>
    <p:sldLayoutId id="2147487108" r:id="rId164"/>
    <p:sldLayoutId id="2147487109" r:id="rId165"/>
    <p:sldLayoutId id="2147487110" r:id="rId166"/>
    <p:sldLayoutId id="2147487111" r:id="rId167"/>
    <p:sldLayoutId id="2147487112" r:id="rId168"/>
    <p:sldLayoutId id="2147487113" r:id="rId169"/>
    <p:sldLayoutId id="2147487115" r:id="rId170"/>
    <p:sldLayoutId id="2147487116" r:id="rId171"/>
    <p:sldLayoutId id="2147487117" r:id="rId172"/>
    <p:sldLayoutId id="2147487118" r:id="rId173"/>
    <p:sldLayoutId id="2147487119" r:id="rId174"/>
    <p:sldLayoutId id="2147487120" r:id="rId175"/>
    <p:sldLayoutId id="2147487121" r:id="rId176"/>
    <p:sldLayoutId id="2147487122" r:id="rId177"/>
    <p:sldLayoutId id="2147487123" r:id="rId178"/>
    <p:sldLayoutId id="2147487325" r:id="rId179"/>
    <p:sldLayoutId id="2147487124" r:id="rId180"/>
    <p:sldLayoutId id="2147487326" r:id="rId181"/>
    <p:sldLayoutId id="2147487327" r:id="rId182"/>
    <p:sldLayoutId id="2147487328" r:id="rId183"/>
    <p:sldLayoutId id="2147487329" r:id="rId184"/>
    <p:sldLayoutId id="2147487330" r:id="rId185"/>
    <p:sldLayoutId id="2147487331" r:id="rId186"/>
    <p:sldLayoutId id="2147487332" r:id="rId187"/>
    <p:sldLayoutId id="2147487333" r:id="rId188"/>
    <p:sldLayoutId id="2147487334" r:id="rId189"/>
    <p:sldLayoutId id="2147487335" r:id="rId190"/>
    <p:sldLayoutId id="2147487336" r:id="rId191"/>
    <p:sldLayoutId id="2147487337" r:id="rId192"/>
    <p:sldLayoutId id="2147487338" r:id="rId193"/>
    <p:sldLayoutId id="2147487339" r:id="rId194"/>
    <p:sldLayoutId id="2147487340" r:id="rId195"/>
    <p:sldLayoutId id="2147487005" r:id="rId196"/>
    <p:sldLayoutId id="2147487342" r:id="rId197"/>
    <p:sldLayoutId id="2147487343" r:id="rId198"/>
    <p:sldLayoutId id="2147487344" r:id="rId199"/>
    <p:sldLayoutId id="2147487345" r:id="rId200"/>
    <p:sldLayoutId id="2147487346" r:id="rId201"/>
    <p:sldLayoutId id="2147487347" r:id="rId202"/>
    <p:sldLayoutId id="2147487348" r:id="rId203"/>
    <p:sldLayoutId id="2147483868" r:id="rId204"/>
    <p:sldLayoutId id="2147487349" r:id="rId205"/>
    <p:sldLayoutId id="2147487350" r:id="rId206"/>
    <p:sldLayoutId id="2147487351" r:id="rId207"/>
    <p:sldLayoutId id="2147487352" r:id="rId208"/>
    <p:sldLayoutId id="2147487353" r:id="rId209"/>
    <p:sldLayoutId id="2147487354" r:id="rId210"/>
    <p:sldLayoutId id="2147487355" r:id="rId211"/>
    <p:sldLayoutId id="2147487356" r:id="rId212"/>
    <p:sldLayoutId id="2147483877" r:id="rId213"/>
    <p:sldLayoutId id="2147483878" r:id="rId214"/>
    <p:sldLayoutId id="2147487357" r:id="rId215"/>
    <p:sldLayoutId id="2147487358" r:id="rId216"/>
    <p:sldLayoutId id="2147487359" r:id="rId217"/>
    <p:sldLayoutId id="2147487360" r:id="rId218"/>
    <p:sldLayoutId id="2147487361" r:id="rId219"/>
    <p:sldLayoutId id="2147487362" r:id="rId220"/>
    <p:sldLayoutId id="2147483885" r:id="rId221"/>
    <p:sldLayoutId id="2147487363" r:id="rId222"/>
    <p:sldLayoutId id="2147487364" r:id="rId223"/>
    <p:sldLayoutId id="2147487365" r:id="rId224"/>
    <p:sldLayoutId id="2147487366" r:id="rId225"/>
    <p:sldLayoutId id="2147487367" r:id="rId226"/>
    <p:sldLayoutId id="2147487368" r:id="rId227"/>
    <p:sldLayoutId id="2147487369" r:id="rId228"/>
    <p:sldLayoutId id="2147487370" r:id="rId229"/>
    <p:sldLayoutId id="2147487371" r:id="rId230"/>
    <p:sldLayoutId id="2147487510" r:id="rId231"/>
    <p:sldLayoutId id="2147487511" r:id="rId232"/>
    <p:sldLayoutId id="2147487512" r:id="rId233"/>
    <p:sldLayoutId id="2147487372" r:id="rId234"/>
    <p:sldLayoutId id="2147487373" r:id="rId235"/>
    <p:sldLayoutId id="2147487374" r:id="rId236"/>
    <p:sldLayoutId id="2147487375" r:id="rId237"/>
    <p:sldLayoutId id="2147487376" r:id="rId238"/>
    <p:sldLayoutId id="2147487377" r:id="rId239"/>
    <p:sldLayoutId id="2147487378" r:id="rId240"/>
    <p:sldLayoutId id="2147487379" r:id="rId241"/>
    <p:sldLayoutId id="2147487380" r:id="rId242"/>
    <p:sldLayoutId id="2147487381" r:id="rId243"/>
    <p:sldLayoutId id="2147487382" r:id="rId244"/>
    <p:sldLayoutId id="2147487383" r:id="rId245"/>
    <p:sldLayoutId id="2147487384" r:id="rId246"/>
    <p:sldLayoutId id="2147487126" r:id="rId247"/>
    <p:sldLayoutId id="2147487127" r:id="rId248"/>
    <p:sldLayoutId id="2147487128" r:id="rId249"/>
    <p:sldLayoutId id="2147487129" r:id="rId250"/>
    <p:sldLayoutId id="2147487130" r:id="rId251"/>
    <p:sldLayoutId id="2147487131" r:id="rId252"/>
    <p:sldLayoutId id="2147487132" r:id="rId253"/>
    <p:sldLayoutId id="2147487133" r:id="rId254"/>
    <p:sldLayoutId id="2147487134" r:id="rId255"/>
    <p:sldLayoutId id="2147487135" r:id="rId256"/>
    <p:sldLayoutId id="2147487136" r:id="rId257"/>
    <p:sldLayoutId id="2147487137" r:id="rId258"/>
    <p:sldLayoutId id="2147487138" r:id="rId259"/>
    <p:sldLayoutId id="2147487139" r:id="rId260"/>
    <p:sldLayoutId id="2147487140" r:id="rId261"/>
    <p:sldLayoutId id="2147487141" r:id="rId262"/>
    <p:sldLayoutId id="2147483927" r:id="rId263"/>
    <p:sldLayoutId id="2147483928" r:id="rId264"/>
    <p:sldLayoutId id="2147483929" r:id="rId265"/>
    <p:sldLayoutId id="2147483930" r:id="rId266"/>
    <p:sldLayoutId id="2147483931" r:id="rId267"/>
    <p:sldLayoutId id="2147487639" r:id="rId268"/>
    <p:sldLayoutId id="2147483933" r:id="rId269"/>
    <p:sldLayoutId id="2147483934" r:id="rId270"/>
    <p:sldLayoutId id="2147483935" r:id="rId271"/>
    <p:sldLayoutId id="2147483936" r:id="rId272"/>
    <p:sldLayoutId id="2147486961" r:id="rId273"/>
    <p:sldLayoutId id="2147486987" r:id="rId274"/>
    <p:sldLayoutId id="2147486278" r:id="rId275"/>
    <p:sldLayoutId id="2147486279" r:id="rId276"/>
    <p:sldLayoutId id="2147486280" r:id="rId277"/>
    <p:sldLayoutId id="2147486281" r:id="rId278"/>
    <p:sldLayoutId id="2147487262" r:id="rId279"/>
    <p:sldLayoutId id="2147486282" r:id="rId280"/>
    <p:sldLayoutId id="2147485074" r:id="rId281"/>
    <p:sldLayoutId id="2147485075" r:id="rId282"/>
    <p:sldLayoutId id="2147485076" r:id="rId283"/>
    <p:sldLayoutId id="2147485077" r:id="rId284"/>
    <p:sldLayoutId id="2147485078" r:id="rId285"/>
    <p:sldLayoutId id="2147484851" r:id="rId286"/>
    <p:sldLayoutId id="2147487148" r:id="rId287"/>
    <p:sldLayoutId id="2147487150" r:id="rId288"/>
    <p:sldLayoutId id="2147487157" r:id="rId289"/>
    <p:sldLayoutId id="2147486971" r:id="rId290"/>
    <p:sldLayoutId id="2147483942" r:id="rId291"/>
    <p:sldLayoutId id="2147487151" r:id="rId292"/>
    <p:sldLayoutId id="2147487152" r:id="rId293"/>
    <p:sldLayoutId id="2147487153" r:id="rId294"/>
    <p:sldLayoutId id="2147487154" r:id="rId295"/>
    <p:sldLayoutId id="2147487155" r:id="rId296"/>
    <p:sldLayoutId id="2147487149" r:id="rId297"/>
    <p:sldLayoutId id="2147485878" r:id="rId298"/>
    <p:sldLayoutId id="2147484654" r:id="rId299"/>
    <p:sldLayoutId id="2147484655" r:id="rId300"/>
    <p:sldLayoutId id="2147484608" r:id="rId301"/>
    <p:sldLayoutId id="2147485213" r:id="rId302"/>
    <p:sldLayoutId id="2147485214" r:id="rId303"/>
    <p:sldLayoutId id="2147485179" r:id="rId304"/>
    <p:sldLayoutId id="2147485354" r:id="rId305"/>
    <p:sldLayoutId id="2147486926" r:id="rId306"/>
    <p:sldLayoutId id="2147486360" r:id="rId307"/>
    <p:sldLayoutId id="2147485556" r:id="rId308"/>
    <p:sldLayoutId id="2147487644" r:id="rId309"/>
    <p:sldLayoutId id="2147486361" r:id="rId310"/>
    <p:sldLayoutId id="2147487156" r:id="rId311"/>
    <p:sldLayoutId id="2147487163" r:id="rId312"/>
    <p:sldLayoutId id="2147487164" r:id="rId313"/>
    <p:sldLayoutId id="2147487165" r:id="rId314"/>
    <p:sldLayoutId id="2147484852" r:id="rId315"/>
    <p:sldLayoutId id="2147487166" r:id="rId316"/>
    <p:sldLayoutId id="2147487167" r:id="rId317"/>
    <p:sldLayoutId id="2147487168" r:id="rId318"/>
    <p:sldLayoutId id="2147487169" r:id="rId319"/>
    <p:sldLayoutId id="2147487310" r:id="rId320"/>
    <p:sldLayoutId id="2147487170" r:id="rId321"/>
    <p:sldLayoutId id="2147487171" r:id="rId322"/>
    <p:sldLayoutId id="2147485468" r:id="rId323"/>
    <p:sldLayoutId id="2147485865" r:id="rId324"/>
    <p:sldLayoutId id="2147484364" r:id="rId325"/>
    <p:sldLayoutId id="2147485358" r:id="rId326"/>
    <p:sldLayoutId id="2147485868" r:id="rId327"/>
    <p:sldLayoutId id="2147485869" r:id="rId328"/>
    <p:sldLayoutId id="2147485870" r:id="rId329"/>
    <p:sldLayoutId id="2147485385" r:id="rId330"/>
    <p:sldLayoutId id="2147485871" r:id="rId331"/>
    <p:sldLayoutId id="2147485469" r:id="rId332"/>
    <p:sldLayoutId id="2147484570" r:id="rId333"/>
    <p:sldLayoutId id="2147484222" r:id="rId334"/>
    <p:sldLayoutId id="2147484854" r:id="rId335"/>
    <p:sldLayoutId id="2147484855" r:id="rId336"/>
    <p:sldLayoutId id="2147485079" r:id="rId337"/>
    <p:sldLayoutId id="2147485080" r:id="rId338"/>
    <p:sldLayoutId id="2147485081" r:id="rId339"/>
    <p:sldLayoutId id="2147485082" r:id="rId340"/>
    <p:sldLayoutId id="2147485083" r:id="rId341"/>
    <p:sldLayoutId id="2147484596" r:id="rId342"/>
    <p:sldLayoutId id="2147484835" r:id="rId343"/>
    <p:sldLayoutId id="2147484353" r:id="rId344"/>
    <p:sldLayoutId id="2147486336" r:id="rId345"/>
    <p:sldLayoutId id="2147486957" r:id="rId346"/>
    <p:sldLayoutId id="2147486976" r:id="rId347"/>
    <p:sldLayoutId id="2147486977" r:id="rId348"/>
    <p:sldLayoutId id="2147486975" r:id="rId349"/>
    <p:sldLayoutId id="2147486978" r:id="rId350"/>
    <p:sldLayoutId id="2147487260" r:id="rId351"/>
    <p:sldLayoutId id="2147487261" r:id="rId352"/>
    <p:sldLayoutId id="2147486420" r:id="rId353"/>
    <p:sldLayoutId id="2147486308" r:id="rId354"/>
    <p:sldLayoutId id="2147486970" r:id="rId355"/>
    <p:sldLayoutId id="2147484627" r:id="rId356"/>
    <p:sldLayoutId id="2147485879" r:id="rId357"/>
    <p:sldLayoutId id="2147484838" r:id="rId358"/>
    <p:sldLayoutId id="2147485857" r:id="rId359"/>
    <p:sldLayoutId id="2147485858" r:id="rId360"/>
    <p:sldLayoutId id="2147485859" r:id="rId361"/>
    <p:sldLayoutId id="2147485860" r:id="rId362"/>
    <p:sldLayoutId id="2147485861" r:id="rId363"/>
    <p:sldLayoutId id="2147484634" r:id="rId364"/>
    <p:sldLayoutId id="2147484635" r:id="rId365"/>
    <p:sldLayoutId id="2147484238" r:id="rId366"/>
    <p:sldLayoutId id="2147486915" r:id="rId367"/>
    <p:sldLayoutId id="2147484840" r:id="rId368"/>
    <p:sldLayoutId id="2147486917" r:id="rId369"/>
    <p:sldLayoutId id="2147484203" r:id="rId370"/>
    <p:sldLayoutId id="2147484204" r:id="rId371"/>
    <p:sldLayoutId id="2147484205" r:id="rId372"/>
    <p:sldLayoutId id="2147484206" r:id="rId373"/>
    <p:sldLayoutId id="2147484237" r:id="rId374"/>
    <p:sldLayoutId id="2147484208" r:id="rId375"/>
    <p:sldLayoutId id="2147485064" r:id="rId376"/>
    <p:sldLayoutId id="2147485065" r:id="rId377"/>
    <p:sldLayoutId id="2147486965" r:id="rId378"/>
    <p:sldLayoutId id="2147485066" r:id="rId379"/>
    <p:sldLayoutId id="2147485067" r:id="rId380"/>
    <p:sldLayoutId id="2147485068" r:id="rId381"/>
    <p:sldLayoutId id="2147485069" r:id="rId382"/>
    <p:sldLayoutId id="2147485352" r:id="rId383"/>
    <p:sldLayoutId id="2147485070" r:id="rId384"/>
    <p:sldLayoutId id="2147486030" r:id="rId385"/>
    <p:sldLayoutId id="2147485071" r:id="rId386"/>
    <p:sldLayoutId id="2147484598" r:id="rId387"/>
    <p:sldLayoutId id="2147484626" r:id="rId388"/>
    <p:sldLayoutId id="2147484836" r:id="rId389"/>
    <p:sldLayoutId id="2147484837" r:id="rId390"/>
    <p:sldLayoutId id="2147484601" r:id="rId391"/>
    <p:sldLayoutId id="2147484602" r:id="rId392"/>
    <p:sldLayoutId id="2147484603" r:id="rId393"/>
    <p:sldLayoutId id="2147484604" r:id="rId394"/>
    <p:sldLayoutId id="2147484839" r:id="rId395"/>
    <p:sldLayoutId id="2147485847" r:id="rId396"/>
    <p:sldLayoutId id="2147485848" r:id="rId397"/>
    <p:sldLayoutId id="2147485849" r:id="rId398"/>
    <p:sldLayoutId id="2147485850" r:id="rId399"/>
    <p:sldLayoutId id="2147485851" r:id="rId400"/>
    <p:sldLayoutId id="2147485852" r:id="rId401"/>
    <p:sldLayoutId id="2147485853" r:id="rId402"/>
    <p:sldLayoutId id="2147485854" r:id="rId403"/>
    <p:sldLayoutId id="2147485855" r:id="rId404"/>
    <p:sldLayoutId id="2147485856" r:id="rId405"/>
    <p:sldLayoutId id="2147484384" r:id="rId406"/>
    <p:sldLayoutId id="2147485405" r:id="rId407"/>
    <p:sldLayoutId id="2147484559" r:id="rId408"/>
    <p:sldLayoutId id="2147484385" r:id="rId409"/>
    <p:sldLayoutId id="2147485406" r:id="rId410"/>
    <p:sldLayoutId id="2147484387" r:id="rId411"/>
    <p:sldLayoutId id="2147484388" r:id="rId412"/>
    <p:sldLayoutId id="2147484389" r:id="rId413"/>
    <p:sldLayoutId id="2147484390" r:id="rId414"/>
    <p:sldLayoutId id="2147484391" r:id="rId415"/>
    <p:sldLayoutId id="2147484392" r:id="rId416"/>
    <p:sldLayoutId id="2147486953" r:id="rId417"/>
    <p:sldLayoutId id="2147486205" r:id="rId418"/>
    <p:sldLayoutId id="2147486206" r:id="rId419"/>
    <p:sldLayoutId id="2147486207" r:id="rId420"/>
    <p:sldLayoutId id="2147486208" r:id="rId421"/>
    <p:sldLayoutId id="2147486209" r:id="rId422"/>
    <p:sldLayoutId id="2147484766" r:id="rId423"/>
    <p:sldLayoutId id="2147486426" r:id="rId424"/>
    <p:sldLayoutId id="2147486404" r:id="rId425"/>
    <p:sldLayoutId id="2147484767" r:id="rId426"/>
    <p:sldLayoutId id="2147486405" r:id="rId427"/>
    <p:sldLayoutId id="2147486406" r:id="rId428"/>
    <p:sldLayoutId id="2147486407" r:id="rId429"/>
    <p:sldLayoutId id="2147486408" r:id="rId430"/>
    <p:sldLayoutId id="2147486409" r:id="rId431"/>
    <p:sldLayoutId id="2147484768" r:id="rId432"/>
    <p:sldLayoutId id="2147486428" r:id="rId433"/>
    <p:sldLayoutId id="2147487280" r:id="rId434"/>
    <p:sldLayoutId id="2147487264" r:id="rId435"/>
    <p:sldLayoutId id="2147486200" r:id="rId436"/>
    <p:sldLayoutId id="2147486201" r:id="rId437"/>
    <p:sldLayoutId id="2147486202" r:id="rId438"/>
    <p:sldLayoutId id="2147486989" r:id="rId439"/>
    <p:sldLayoutId id="2147486203" r:id="rId440"/>
    <p:sldLayoutId id="2147484842" r:id="rId441"/>
    <p:sldLayoutId id="2147487159" r:id="rId442"/>
    <p:sldLayoutId id="2147485093" r:id="rId443"/>
    <p:sldLayoutId id="2147486929" r:id="rId444"/>
    <p:sldLayoutId id="2147485072" r:id="rId445"/>
    <p:sldLayoutId id="2147485355" r:id="rId446"/>
    <p:sldLayoutId id="2147487269" r:id="rId447"/>
    <p:sldLayoutId id="2147487160" r:id="rId448"/>
    <p:sldLayoutId id="2147483943" r:id="rId449"/>
    <p:sldLayoutId id="2147487161" r:id="rId450"/>
    <p:sldLayoutId id="2147487162" r:id="rId451"/>
    <p:sldLayoutId id="2147487276" r:id="rId452"/>
    <p:sldLayoutId id="2147487277" r:id="rId453"/>
    <p:sldLayoutId id="2147484355" r:id="rId454"/>
    <p:sldLayoutId id="2147485444" r:id="rId455"/>
    <p:sldLayoutId id="2147484356" r:id="rId456"/>
    <p:sldLayoutId id="2147487341" r:id="rId457"/>
    <p:sldLayoutId id="2147486993" r:id="rId458"/>
    <p:sldLayoutId id="2147484357" r:id="rId459"/>
    <p:sldLayoutId id="2147484358" r:id="rId460"/>
    <p:sldLayoutId id="2147484359" r:id="rId461"/>
    <p:sldLayoutId id="2147484360" r:id="rId462"/>
    <p:sldLayoutId id="2147484361" r:id="rId463"/>
    <p:sldLayoutId id="2147484393" r:id="rId464"/>
    <p:sldLayoutId id="2147484394" r:id="rId465"/>
    <p:sldLayoutId id="2147487238" r:id="rId466"/>
    <p:sldLayoutId id="2147487239" r:id="rId467"/>
    <p:sldLayoutId id="2147486423" r:id="rId468"/>
    <p:sldLayoutId id="2147486950" r:id="rId469"/>
    <p:sldLayoutId id="2147484845" r:id="rId470"/>
    <p:sldLayoutId id="2147484846" r:id="rId471"/>
    <p:sldLayoutId id="2147484566" r:id="rId472"/>
    <p:sldLayoutId id="2147485470" r:id="rId473"/>
    <p:sldLayoutId id="2147484231" r:id="rId474"/>
    <p:sldLayoutId id="2147484268" r:id="rId475"/>
    <p:sldLayoutId id="2147484235" r:id="rId476"/>
    <p:sldLayoutId id="2147484847" r:id="rId477"/>
    <p:sldLayoutId id="2147484245" r:id="rId478"/>
    <p:sldLayoutId id="2147484262" r:id="rId479"/>
    <p:sldLayoutId id="2147486955" r:id="rId480"/>
    <p:sldLayoutId id="2147485238" r:id="rId481"/>
    <p:sldLayoutId id="2147486956" r:id="rId482"/>
    <p:sldLayoutId id="2147484233" r:id="rId483"/>
    <p:sldLayoutId id="2147487143" r:id="rId484"/>
    <p:sldLayoutId id="2147487227" r:id="rId485"/>
    <p:sldLayoutId id="2147487228" r:id="rId486"/>
    <p:sldLayoutId id="2147487229" r:id="rId487"/>
    <p:sldLayoutId id="2147487237" r:id="rId488"/>
    <p:sldLayoutId id="2147487231" r:id="rId489"/>
    <p:sldLayoutId id="2147487232" r:id="rId490"/>
    <p:sldLayoutId id="2147487233" r:id="rId491"/>
    <p:sldLayoutId id="2147487234" r:id="rId492"/>
    <p:sldLayoutId id="2147483937" r:id="rId493"/>
    <p:sldLayoutId id="2147483938" r:id="rId494"/>
    <p:sldLayoutId id="2147486424" r:id="rId495"/>
    <p:sldLayoutId id="2147484821" r:id="rId496"/>
    <p:sldLayoutId id="2147486952" r:id="rId497"/>
    <p:sldLayoutId id="2147485239" r:id="rId498"/>
    <p:sldLayoutId id="2147484848" r:id="rId499"/>
    <p:sldLayoutId id="2147486048" r:id="rId500"/>
    <p:sldLayoutId id="2147486954" r:id="rId501"/>
    <p:sldLayoutId id="2147484400" r:id="rId502"/>
    <p:sldLayoutId id="2147484401" r:id="rId503"/>
    <p:sldLayoutId id="2147484402" r:id="rId504"/>
    <p:sldLayoutId id="2147484822" r:id="rId505"/>
    <p:sldLayoutId id="2147486251" r:id="rId506"/>
    <p:sldLayoutId id="2147484849" r:id="rId507"/>
    <p:sldLayoutId id="2147484850" r:id="rId508"/>
    <p:sldLayoutId id="2147487144" r:id="rId509"/>
    <p:sldLayoutId id="2147486990" r:id="rId510"/>
    <p:sldLayoutId id="2147484585" r:id="rId511"/>
    <p:sldLayoutId id="2147484586" r:id="rId512"/>
    <p:sldLayoutId id="2147484587" r:id="rId513"/>
    <p:sldLayoutId id="2147484588" r:id="rId514"/>
    <p:sldLayoutId id="2147484592" r:id="rId515"/>
    <p:sldLayoutId id="2147484593" r:id="rId516"/>
    <p:sldLayoutId id="2147484594" r:id="rId517"/>
    <p:sldLayoutId id="2147484595" r:id="rId518"/>
    <p:sldLayoutId id="2147485370" r:id="rId519"/>
    <p:sldLayoutId id="2147485872" r:id="rId520"/>
    <p:sldLayoutId id="2147486927" r:id="rId521"/>
    <p:sldLayoutId id="2147485367" r:id="rId522"/>
    <p:sldLayoutId id="2147485368" r:id="rId523"/>
    <p:sldLayoutId id="2147485369" r:id="rId524"/>
    <p:sldLayoutId id="2147485400" r:id="rId525"/>
    <p:sldLayoutId id="2147485401" r:id="rId526"/>
    <p:sldLayoutId id="2147485402" r:id="rId527"/>
    <p:sldLayoutId id="2147485403" r:id="rId528"/>
    <p:sldLayoutId id="2147486221" r:id="rId529"/>
    <p:sldLayoutId id="2147487259" r:id="rId530"/>
    <p:sldLayoutId id="2147486972" r:id="rId531"/>
    <p:sldLayoutId id="2147486973" r:id="rId532"/>
    <p:sldLayoutId id="2147486974" r:id="rId533"/>
    <p:sldLayoutId id="2147484386" r:id="rId534"/>
    <p:sldLayoutId id="2147484815" r:id="rId535"/>
    <p:sldLayoutId id="2147484816" r:id="rId536"/>
    <p:sldLayoutId id="2147484817" r:id="rId537"/>
    <p:sldLayoutId id="2147487145" r:id="rId538"/>
    <p:sldLayoutId id="2147487242" r:id="rId539"/>
    <p:sldLayoutId id="2147487146" r:id="rId540"/>
    <p:sldLayoutId id="2147487147" r:id="rId541"/>
    <p:sldLayoutId id="2147485215" r:id="rId542"/>
    <p:sldLayoutId id="2147485425" r:id="rId543"/>
    <p:sldLayoutId id="2147485903" r:id="rId544"/>
    <p:sldLayoutId id="2147485904" r:id="rId545"/>
    <p:sldLayoutId id="2147484354" r:id="rId546"/>
    <p:sldLayoutId id="2147484572" r:id="rId547"/>
    <p:sldLayoutId id="2147485391" r:id="rId548"/>
    <p:sldLayoutId id="2147485392" r:id="rId549"/>
    <p:sldLayoutId id="2147484376" r:id="rId550"/>
    <p:sldLayoutId id="2147485905" r:id="rId551"/>
    <p:sldLayoutId id="2147485906" r:id="rId552"/>
    <p:sldLayoutId id="2147485880" r:id="rId553"/>
    <p:sldLayoutId id="2147485393" r:id="rId554"/>
    <p:sldLayoutId id="2147485394" r:id="rId555"/>
    <p:sldLayoutId id="2147485395" r:id="rId556"/>
    <p:sldLayoutId id="2147486284" r:id="rId557"/>
    <p:sldLayoutId id="2147484378" r:id="rId558"/>
    <p:sldLayoutId id="2147484379" r:id="rId559"/>
    <p:sldLayoutId id="2147485396" r:id="rId560"/>
    <p:sldLayoutId id="2147487319" r:id="rId561"/>
    <p:sldLayoutId id="2147483939" r:id="rId562"/>
    <p:sldLayoutId id="2147487236" r:id="rId563"/>
    <p:sldLayoutId id="2147483941" r:id="rId564"/>
    <p:sldLayoutId id="2147487320" r:id="rId565"/>
    <p:sldLayoutId id="2147487172" r:id="rId566"/>
    <p:sldLayoutId id="2147487173" r:id="rId567"/>
    <p:sldLayoutId id="2147484330" r:id="rId568"/>
    <p:sldLayoutId id="2147484331" r:id="rId569"/>
    <p:sldLayoutId id="2147484332" r:id="rId570"/>
    <p:sldLayoutId id="2147484485" r:id="rId571"/>
    <p:sldLayoutId id="2147484486" r:id="rId572"/>
    <p:sldLayoutId id="2147484609" r:id="rId573"/>
    <p:sldLayoutId id="2147484477" r:id="rId574"/>
    <p:sldLayoutId id="2147484478" r:id="rId575"/>
    <p:sldLayoutId id="2147484260" r:id="rId576"/>
    <p:sldLayoutId id="2147484856" r:id="rId577"/>
    <p:sldLayoutId id="2147484480" r:id="rId578"/>
    <p:sldLayoutId id="2147484267" r:id="rId579"/>
    <p:sldLayoutId id="2147484481" r:id="rId580"/>
    <p:sldLayoutId id="2147484482" r:id="rId581"/>
    <p:sldLayoutId id="2147484483" r:id="rId582"/>
    <p:sldLayoutId id="2147484484" r:id="rId583"/>
    <p:sldLayoutId id="2147485270" r:id="rId584"/>
    <p:sldLayoutId id="2147485271" r:id="rId585"/>
    <p:sldLayoutId id="2147485272" r:id="rId586"/>
    <p:sldLayoutId id="2147484857" r:id="rId587"/>
    <p:sldLayoutId id="2147485273" r:id="rId588"/>
    <p:sldLayoutId id="2147485274" r:id="rId589"/>
    <p:sldLayoutId id="2147485275" r:id="rId590"/>
    <p:sldLayoutId id="2147485276" r:id="rId591"/>
    <p:sldLayoutId id="2147485277" r:id="rId592"/>
    <p:sldLayoutId id="2147485278" r:id="rId593"/>
    <p:sldLayoutId id="2147486991" r:id="rId594"/>
    <p:sldLayoutId id="2147486992" r:id="rId595"/>
    <p:sldLayoutId id="2147486252" r:id="rId596"/>
    <p:sldLayoutId id="2147486253" r:id="rId597"/>
    <p:sldLayoutId id="2147486363" r:id="rId598"/>
    <p:sldLayoutId id="2147487006" r:id="rId599"/>
    <p:sldLayoutId id="2147486364" r:id="rId600"/>
    <p:sldLayoutId id="2147486365" r:id="rId601"/>
    <p:sldLayoutId id="2147487007" r:id="rId602"/>
    <p:sldLayoutId id="2147483940" r:id="rId603"/>
    <p:sldLayoutId id="2147486366" r:id="rId604"/>
    <p:sldLayoutId id="2147486367" r:id="rId605"/>
    <p:sldLayoutId id="2147486368" r:id="rId606"/>
    <p:sldLayoutId id="2147486369" r:id="rId607"/>
    <p:sldLayoutId id="2147483944" r:id="rId608"/>
    <p:sldLayoutId id="2147483945" r:id="rId609"/>
    <p:sldLayoutId id="2147483949" r:id="rId610"/>
    <p:sldLayoutId id="2147483953" r:id="rId611"/>
    <p:sldLayoutId id="2147483954" r:id="rId612"/>
    <p:sldLayoutId id="2147483955" r:id="rId613"/>
    <p:sldLayoutId id="2147483956" r:id="rId614"/>
    <p:sldLayoutId id="2147483957" r:id="rId615"/>
    <p:sldLayoutId id="2147483958" r:id="rId616"/>
    <p:sldLayoutId id="2147483959" r:id="rId617"/>
    <p:sldLayoutId id="2147483960" r:id="rId618"/>
    <p:sldLayoutId id="2147483961" r:id="rId619"/>
    <p:sldLayoutId id="2147483962" r:id="rId620"/>
    <p:sldLayoutId id="2147483963" r:id="rId621"/>
    <p:sldLayoutId id="2147483964" r:id="rId622"/>
    <p:sldLayoutId id="2147483965" r:id="rId623"/>
    <p:sldLayoutId id="2147483966" r:id="rId624"/>
    <p:sldLayoutId id="2147483967" r:id="rId625"/>
    <p:sldLayoutId id="2147483968" r:id="rId626"/>
    <p:sldLayoutId id="2147483969" r:id="rId627"/>
    <p:sldLayoutId id="2147483970" r:id="rId628"/>
    <p:sldLayoutId id="2147483971" r:id="rId629"/>
    <p:sldLayoutId id="2147483972" r:id="rId630"/>
    <p:sldLayoutId id="2147483973" r:id="rId631"/>
    <p:sldLayoutId id="2147483974" r:id="rId632"/>
    <p:sldLayoutId id="2147487635" r:id="rId633"/>
    <p:sldLayoutId id="2147487304" r:id="rId634"/>
    <p:sldLayoutId id="2147487305" r:id="rId635"/>
    <p:sldLayoutId id="2147487306" r:id="rId636"/>
    <p:sldLayoutId id="2147483975" r:id="rId637"/>
    <p:sldLayoutId id="2147483976" r:id="rId638"/>
    <p:sldLayoutId id="2147483977" r:id="rId639"/>
    <p:sldLayoutId id="2147487641" r:id="rId640"/>
    <p:sldLayoutId id="2147483978" r:id="rId641"/>
    <p:sldLayoutId id="2147483979" r:id="rId642"/>
    <p:sldLayoutId id="2147483980" r:id="rId643"/>
    <p:sldLayoutId id="2147483981" r:id="rId644"/>
    <p:sldLayoutId id="2147483982" r:id="rId645"/>
    <p:sldLayoutId id="2147483983" r:id="rId646"/>
    <p:sldLayoutId id="2147483984" r:id="rId647"/>
    <p:sldLayoutId id="2147483985" r:id="rId648"/>
    <p:sldLayoutId id="2147483986" r:id="rId649"/>
    <p:sldLayoutId id="2147483987" r:id="rId650"/>
    <p:sldLayoutId id="2147483988" r:id="rId651"/>
    <p:sldLayoutId id="2147483989" r:id="rId652"/>
    <p:sldLayoutId id="2147483990" r:id="rId653"/>
    <p:sldLayoutId id="2147483991" r:id="rId654"/>
    <p:sldLayoutId id="2147483992" r:id="rId655"/>
    <p:sldLayoutId id="2147483993" r:id="rId656"/>
    <p:sldLayoutId id="2147483994" r:id="rId657"/>
    <p:sldLayoutId id="2147483995" r:id="rId658"/>
    <p:sldLayoutId id="2147483996" r:id="rId659"/>
    <p:sldLayoutId id="2147483997" r:id="rId660"/>
    <p:sldLayoutId id="2147483998" r:id="rId661"/>
    <p:sldLayoutId id="2147483999" r:id="rId662"/>
    <p:sldLayoutId id="2147484000" r:id="rId663"/>
    <p:sldLayoutId id="2147484001" r:id="rId664"/>
    <p:sldLayoutId id="2147484652" r:id="rId665"/>
    <p:sldLayoutId id="2147484653" r:id="rId666"/>
    <p:sldLayoutId id="2147487008" r:id="rId667"/>
    <p:sldLayoutId id="2147487009" r:id="rId668"/>
    <p:sldLayoutId id="2147487642" r:id="rId669"/>
    <p:sldLayoutId id="2147487010" r:id="rId670"/>
    <p:sldLayoutId id="2147487011" r:id="rId671"/>
    <p:sldLayoutId id="2147487012" r:id="rId672"/>
    <p:sldLayoutId id="2147487013" r:id="rId673"/>
    <p:sldLayoutId id="2147487643" r:id="rId674"/>
    <p:sldLayoutId id="2147484999" r:id="rId675"/>
    <p:sldLayoutId id="2147485000" r:id="rId676"/>
    <p:sldLayoutId id="2147485001" r:id="rId677"/>
    <p:sldLayoutId id="2147485002" r:id="rId678"/>
    <p:sldLayoutId id="2147485006" r:id="rId679"/>
    <p:sldLayoutId id="2147485007" r:id="rId680"/>
    <p:sldLayoutId id="2147485008" r:id="rId681"/>
    <p:sldLayoutId id="2147485877" r:id="rId682"/>
    <p:sldLayoutId id="2147486419" r:id="rId683"/>
    <p:sldLayoutId id="2147487246" r:id="rId684"/>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chemeClr val="accent1"/>
              </a:buClr>
              <a:buSzPts val="3600"/>
              <a:buFont typeface="Calibri"/>
              <a:buNone/>
              <a:defRPr sz="3600" b="1" i="0" u="none" strike="noStrike" cap="none">
                <a:solidFill>
                  <a:schemeClr val="accent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4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marR="0" lvl="0" indent="-381000" algn="l" rtl="0">
              <a:lnSpc>
                <a:spcPct val="100000"/>
              </a:lnSpc>
              <a:spcBef>
                <a:spcPts val="1000"/>
              </a:spcBef>
              <a:spcAft>
                <a:spcPts val="0"/>
              </a:spcAft>
              <a:buClr>
                <a:schemeClr val="accent2"/>
              </a:buClr>
              <a:buSzPts val="2400"/>
              <a:buFont typeface="Arial"/>
              <a:buChar char="•"/>
              <a:defRPr sz="2400" b="0" i="0" u="none" strike="noStrike" cap="none">
                <a:solidFill>
                  <a:schemeClr val="dk1"/>
                </a:solidFill>
                <a:latin typeface="Calibri"/>
                <a:ea typeface="Calibri"/>
                <a:cs typeface="Calibri"/>
                <a:sym typeface="Calibri"/>
              </a:defRPr>
            </a:lvl1pPr>
            <a:lvl2pPr marL="914400" marR="0" lvl="1" indent="-355600" algn="l" rtl="0">
              <a:lnSpc>
                <a:spcPct val="100000"/>
              </a:lnSpc>
              <a:spcBef>
                <a:spcPts val="1000"/>
              </a:spcBef>
              <a:spcAft>
                <a:spcPts val="0"/>
              </a:spcAft>
              <a:buClr>
                <a:schemeClr val="accent1"/>
              </a:buClr>
              <a:buSzPts val="2000"/>
              <a:buFont typeface="Arial"/>
              <a:buChar char="•"/>
              <a:defRPr sz="2000" b="0" i="0" u="none" strike="noStrike" cap="none">
                <a:solidFill>
                  <a:schemeClr val="dk1"/>
                </a:solidFill>
                <a:latin typeface="Calibri"/>
                <a:ea typeface="Calibri"/>
                <a:cs typeface="Calibri"/>
                <a:sym typeface="Calibri"/>
              </a:defRPr>
            </a:lvl2pPr>
            <a:lvl3pPr marL="1371600" marR="0" lvl="2" indent="-342900" algn="l" rtl="0">
              <a:lnSpc>
                <a:spcPct val="100000"/>
              </a:lnSpc>
              <a:spcBef>
                <a:spcPts val="1000"/>
              </a:spcBef>
              <a:spcAft>
                <a:spcPts val="0"/>
              </a:spcAft>
              <a:buClr>
                <a:schemeClr val="accent2"/>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4pPr>
            <a:lvl5pPr marL="2286000" marR="0" lvl="4"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10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919497"/>
                </a:solidFill>
                <a:latin typeface="Calibri"/>
                <a:ea typeface="Calibri"/>
                <a:cs typeface="Calibri"/>
                <a:sym typeface="Calibri"/>
              </a:defRPr>
            </a:lvl1pPr>
            <a:lvl2pPr marL="0" marR="0" lvl="1" indent="0" algn="r" rtl="0">
              <a:spcBef>
                <a:spcPts val="0"/>
              </a:spcBef>
              <a:buNone/>
              <a:defRPr sz="1200" b="0" i="0" u="none" strike="noStrike" cap="none">
                <a:solidFill>
                  <a:srgbClr val="919497"/>
                </a:solidFill>
                <a:latin typeface="Calibri"/>
                <a:ea typeface="Calibri"/>
                <a:cs typeface="Calibri"/>
                <a:sym typeface="Calibri"/>
              </a:defRPr>
            </a:lvl2pPr>
            <a:lvl3pPr marL="0" marR="0" lvl="2" indent="0" algn="r" rtl="0">
              <a:spcBef>
                <a:spcPts val="0"/>
              </a:spcBef>
              <a:buNone/>
              <a:defRPr sz="1200" b="0" i="0" u="none" strike="noStrike" cap="none">
                <a:solidFill>
                  <a:srgbClr val="919497"/>
                </a:solidFill>
                <a:latin typeface="Calibri"/>
                <a:ea typeface="Calibri"/>
                <a:cs typeface="Calibri"/>
                <a:sym typeface="Calibri"/>
              </a:defRPr>
            </a:lvl3pPr>
            <a:lvl4pPr marL="0" marR="0" lvl="3" indent="0" algn="r" rtl="0">
              <a:spcBef>
                <a:spcPts val="0"/>
              </a:spcBef>
              <a:buNone/>
              <a:defRPr sz="1200" b="0" i="0" u="none" strike="noStrike" cap="none">
                <a:solidFill>
                  <a:srgbClr val="919497"/>
                </a:solidFill>
                <a:latin typeface="Calibri"/>
                <a:ea typeface="Calibri"/>
                <a:cs typeface="Calibri"/>
                <a:sym typeface="Calibri"/>
              </a:defRPr>
            </a:lvl4pPr>
            <a:lvl5pPr marL="0" marR="0" lvl="4" indent="0" algn="r" rtl="0">
              <a:spcBef>
                <a:spcPts val="0"/>
              </a:spcBef>
              <a:buNone/>
              <a:defRPr sz="1200" b="0" i="0" u="none" strike="noStrike" cap="none">
                <a:solidFill>
                  <a:srgbClr val="919497"/>
                </a:solidFill>
                <a:latin typeface="Calibri"/>
                <a:ea typeface="Calibri"/>
                <a:cs typeface="Calibri"/>
                <a:sym typeface="Calibri"/>
              </a:defRPr>
            </a:lvl5pPr>
            <a:lvl6pPr marL="0" marR="0" lvl="5" indent="0" algn="r" rtl="0">
              <a:spcBef>
                <a:spcPts val="0"/>
              </a:spcBef>
              <a:buNone/>
              <a:defRPr sz="1200" b="0" i="0" u="none" strike="noStrike" cap="none">
                <a:solidFill>
                  <a:srgbClr val="919497"/>
                </a:solidFill>
                <a:latin typeface="Calibri"/>
                <a:ea typeface="Calibri"/>
                <a:cs typeface="Calibri"/>
                <a:sym typeface="Calibri"/>
              </a:defRPr>
            </a:lvl6pPr>
            <a:lvl7pPr marL="0" marR="0" lvl="6" indent="0" algn="r" rtl="0">
              <a:spcBef>
                <a:spcPts val="0"/>
              </a:spcBef>
              <a:buNone/>
              <a:defRPr sz="1200" b="0" i="0" u="none" strike="noStrike" cap="none">
                <a:solidFill>
                  <a:srgbClr val="919497"/>
                </a:solidFill>
                <a:latin typeface="Calibri"/>
                <a:ea typeface="Calibri"/>
                <a:cs typeface="Calibri"/>
                <a:sym typeface="Calibri"/>
              </a:defRPr>
            </a:lvl7pPr>
            <a:lvl8pPr marL="0" marR="0" lvl="7" indent="0" algn="r" rtl="0">
              <a:spcBef>
                <a:spcPts val="0"/>
              </a:spcBef>
              <a:buNone/>
              <a:defRPr sz="1200" b="0" i="0" u="none" strike="noStrike" cap="none">
                <a:solidFill>
                  <a:srgbClr val="919497"/>
                </a:solidFill>
                <a:latin typeface="Calibri"/>
                <a:ea typeface="Calibri"/>
                <a:cs typeface="Calibri"/>
                <a:sym typeface="Calibri"/>
              </a:defRPr>
            </a:lvl8pPr>
            <a:lvl9pPr marL="0" marR="0" lvl="8" indent="0" algn="r" rtl="0">
              <a:spcBef>
                <a:spcPts val="0"/>
              </a:spcBef>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 name="Google Shape;13;p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6118" r:id="rId28"/>
    <p:sldLayoutId id="2147483677" r:id="rId29"/>
    <p:sldLayoutId id="2147483678" r:id="rId30"/>
    <p:sldLayoutId id="2147483679" r:id="rId31"/>
    <p:sldLayoutId id="2147483680" r:id="rId32"/>
    <p:sldLayoutId id="2147486079" r:id="rId33"/>
    <p:sldLayoutId id="2147483682" r:id="rId34"/>
    <p:sldLayoutId id="2147483683" r:id="rId35"/>
    <p:sldLayoutId id="2147483684" r:id="rId36"/>
    <p:sldLayoutId id="2147483685" r:id="rId37"/>
    <p:sldLayoutId id="2147483686" r:id="rId38"/>
    <p:sldLayoutId id="2147483687" r:id="rId39"/>
    <p:sldLayoutId id="2147483688" r:id="rId40"/>
    <p:sldLayoutId id="2147483689" r:id="rId41"/>
    <p:sldLayoutId id="2147483690" r:id="rId42"/>
    <p:sldLayoutId id="2147483691" r:id="rId43"/>
    <p:sldLayoutId id="2147483692" r:id="rId44"/>
    <p:sldLayoutId id="2147483693" r:id="rId45"/>
    <p:sldLayoutId id="2147483694" r:id="rId46"/>
    <p:sldLayoutId id="2147483695" r:id="rId47"/>
    <p:sldLayoutId id="2147483696" r:id="rId48"/>
    <p:sldLayoutId id="2147483697" r:id="rId49"/>
    <p:sldLayoutId id="2147483698" r:id="rId50"/>
    <p:sldLayoutId id="2147483699" r:id="rId51"/>
    <p:sldLayoutId id="2147483700" r:id="rId52"/>
    <p:sldLayoutId id="2147483701" r:id="rId53"/>
    <p:sldLayoutId id="2147483702" r:id="rId54"/>
    <p:sldLayoutId id="2147483703" r:id="rId55"/>
    <p:sldLayoutId id="2147483704" r:id="rId56"/>
    <p:sldLayoutId id="2147483705" r:id="rId57"/>
    <p:sldLayoutId id="2147486347" r:id="rId58"/>
    <p:sldLayoutId id="2147486348" r:id="rId59"/>
    <p:sldLayoutId id="2147486349" r:id="rId60"/>
    <p:sldLayoutId id="2147486350" r:id="rId61"/>
    <p:sldLayoutId id="2147486351" r:id="rId62"/>
    <p:sldLayoutId id="2147486352" r:id="rId63"/>
    <p:sldLayoutId id="2147486353" r:id="rId64"/>
    <p:sldLayoutId id="2147486354" r:id="rId65"/>
    <p:sldLayoutId id="2147483714" r:id="rId66"/>
    <p:sldLayoutId id="2147483715" r:id="rId67"/>
    <p:sldLayoutId id="2147486090" r:id="rId68"/>
    <p:sldLayoutId id="2147486091" r:id="rId69"/>
    <p:sldLayoutId id="2147486092" r:id="rId70"/>
    <p:sldLayoutId id="2147486087" r:id="rId71"/>
    <p:sldLayoutId id="2147483720" r:id="rId72"/>
    <p:sldLayoutId id="2147486088" r:id="rId73"/>
    <p:sldLayoutId id="2147483722" r:id="rId74"/>
    <p:sldLayoutId id="2147483723" r:id="rId75"/>
    <p:sldLayoutId id="2147483724" r:id="rId76"/>
    <p:sldLayoutId id="2147483725" r:id="rId77"/>
    <p:sldLayoutId id="2147483726" r:id="rId78"/>
    <p:sldLayoutId id="2147486355" r:id="rId79"/>
    <p:sldLayoutId id="2147483728" r:id="rId80"/>
    <p:sldLayoutId id="2147483729" r:id="rId81"/>
    <p:sldLayoutId id="2147483730" r:id="rId82"/>
    <p:sldLayoutId id="2147483731" r:id="rId83"/>
    <p:sldLayoutId id="2147483732" r:id="rId84"/>
    <p:sldLayoutId id="2147483733" r:id="rId85"/>
    <p:sldLayoutId id="2147483734" r:id="rId86"/>
    <p:sldLayoutId id="2147483735" r:id="rId87"/>
    <p:sldLayoutId id="2147483736" r:id="rId88"/>
    <p:sldLayoutId id="2147483737" r:id="rId89"/>
    <p:sldLayoutId id="2147483738" r:id="rId90"/>
    <p:sldLayoutId id="2147483739" r:id="rId91"/>
    <p:sldLayoutId id="2147483740" r:id="rId92"/>
    <p:sldLayoutId id="2147486060" r:id="rId93"/>
    <p:sldLayoutId id="2147483742" r:id="rId94"/>
    <p:sldLayoutId id="2147483743" r:id="rId95"/>
    <p:sldLayoutId id="2147483744" r:id="rId96"/>
    <p:sldLayoutId id="2147483745" r:id="rId97"/>
    <p:sldLayoutId id="2147483746" r:id="rId98"/>
    <p:sldLayoutId id="2147483747" r:id="rId99"/>
    <p:sldLayoutId id="2147483748" r:id="rId100"/>
    <p:sldLayoutId id="2147483749" r:id="rId101"/>
    <p:sldLayoutId id="2147483750" r:id="rId102"/>
    <p:sldLayoutId id="2147483751" r:id="rId103"/>
    <p:sldLayoutId id="2147483752" r:id="rId104"/>
    <p:sldLayoutId id="2147483753" r:id="rId105"/>
    <p:sldLayoutId id="2147483754" r:id="rId106"/>
    <p:sldLayoutId id="2147483755" r:id="rId107"/>
    <p:sldLayoutId id="2147483756" r:id="rId108"/>
    <p:sldLayoutId id="2147483757" r:id="rId109"/>
    <p:sldLayoutId id="2147483758" r:id="rId110"/>
    <p:sldLayoutId id="2147483759" r:id="rId111"/>
    <p:sldLayoutId id="2147483760" r:id="rId112"/>
    <p:sldLayoutId id="2147483761" r:id="rId113"/>
    <p:sldLayoutId id="2147483762" r:id="rId114"/>
    <p:sldLayoutId id="2147483763" r:id="rId115"/>
    <p:sldLayoutId id="2147483764" r:id="rId116"/>
    <p:sldLayoutId id="2147483765" r:id="rId117"/>
    <p:sldLayoutId id="2147483766" r:id="rId118"/>
    <p:sldLayoutId id="2147483767" r:id="rId119"/>
    <p:sldLayoutId id="2147483768" r:id="rId120"/>
    <p:sldLayoutId id="2147483769" r:id="rId121"/>
    <p:sldLayoutId id="2147483770" r:id="rId122"/>
    <p:sldLayoutId id="2147483771" r:id="rId123"/>
    <p:sldLayoutId id="2147483772" r:id="rId124"/>
    <p:sldLayoutId id="2147483773" r:id="rId125"/>
    <p:sldLayoutId id="2147483774" r:id="rId126"/>
    <p:sldLayoutId id="2147483775" r:id="rId127"/>
    <p:sldLayoutId id="2147483776" r:id="rId128"/>
    <p:sldLayoutId id="2147483777" r:id="rId129"/>
    <p:sldLayoutId id="2147483778" r:id="rId130"/>
    <p:sldLayoutId id="2147483779" r:id="rId131"/>
    <p:sldLayoutId id="2147483780" r:id="rId132"/>
    <p:sldLayoutId id="2147483781" r:id="rId133"/>
    <p:sldLayoutId id="2147483782" r:id="rId134"/>
    <p:sldLayoutId id="2147483783" r:id="rId135"/>
    <p:sldLayoutId id="2147483784" r:id="rId136"/>
    <p:sldLayoutId id="2147483785" r:id="rId137"/>
    <p:sldLayoutId id="2147483786" r:id="rId138"/>
    <p:sldLayoutId id="2147483787" r:id="rId139"/>
    <p:sldLayoutId id="2147483788" r:id="rId140"/>
    <p:sldLayoutId id="2147483789" r:id="rId141"/>
    <p:sldLayoutId id="2147483790" r:id="rId142"/>
    <p:sldLayoutId id="2147483791" r:id="rId143"/>
    <p:sldLayoutId id="2147483792" r:id="rId144"/>
    <p:sldLayoutId id="2147483793" r:id="rId145"/>
    <p:sldLayoutId id="2147483794" r:id="rId146"/>
    <p:sldLayoutId id="2147483795" r:id="rId147"/>
    <p:sldLayoutId id="2147483796" r:id="rId148"/>
    <p:sldLayoutId id="2147483797" r:id="rId149"/>
    <p:sldLayoutId id="2147483798" r:id="rId150"/>
    <p:sldLayoutId id="2147483799" r:id="rId151"/>
    <p:sldLayoutId id="2147483800" r:id="rId152"/>
    <p:sldLayoutId id="2147483801" r:id="rId153"/>
    <p:sldLayoutId id="2147483802" r:id="rId154"/>
    <p:sldLayoutId id="2147483803" r:id="rId155"/>
    <p:sldLayoutId id="2147483804" r:id="rId156"/>
    <p:sldLayoutId id="2147483805" r:id="rId157"/>
    <p:sldLayoutId id="2147483806" r:id="rId158"/>
    <p:sldLayoutId id="2147483807" r:id="rId159"/>
    <p:sldLayoutId id="2147483808" r:id="rId160"/>
    <p:sldLayoutId id="2147483809" r:id="rId161"/>
    <p:sldLayoutId id="2147483810" r:id="rId162"/>
    <p:sldLayoutId id="2147483811" r:id="rId163"/>
    <p:sldLayoutId id="2147483812" r:id="rId164"/>
    <p:sldLayoutId id="2147483813" r:id="rId165"/>
    <p:sldLayoutId id="2147483814" r:id="rId166"/>
    <p:sldLayoutId id="2147483815" r:id="rId167"/>
    <p:sldLayoutId id="2147483816" r:id="rId168"/>
    <p:sldLayoutId id="2147483817" r:id="rId169"/>
    <p:sldLayoutId id="2147483818" r:id="rId170"/>
    <p:sldLayoutId id="2147483819" r:id="rId171"/>
    <p:sldLayoutId id="2147483820" r:id="rId172"/>
    <p:sldLayoutId id="2147483821" r:id="rId173"/>
    <p:sldLayoutId id="2147483822" r:id="rId174"/>
    <p:sldLayoutId id="2147483823" r:id="rId175"/>
    <p:sldLayoutId id="2147483824" r:id="rId176"/>
    <p:sldLayoutId id="2147483825" r:id="rId177"/>
    <p:sldLayoutId id="2147483826" r:id="rId178"/>
    <p:sldLayoutId id="2147483827" r:id="rId179"/>
    <p:sldLayoutId id="2147483828" r:id="rId180"/>
    <p:sldLayoutId id="2147483829" r:id="rId181"/>
    <p:sldLayoutId id="2147483830" r:id="rId182"/>
    <p:sldLayoutId id="2147483831" r:id="rId183"/>
    <p:sldLayoutId id="2147483832" r:id="rId184"/>
    <p:sldLayoutId id="2147483833" r:id="rId185"/>
    <p:sldLayoutId id="2147483834" r:id="rId186"/>
    <p:sldLayoutId id="2147483835" r:id="rId187"/>
    <p:sldLayoutId id="2147483836" r:id="rId188"/>
    <p:sldLayoutId id="2147483837" r:id="rId189"/>
    <p:sldLayoutId id="2147483838" r:id="rId190"/>
    <p:sldLayoutId id="2147483839" r:id="rId191"/>
    <p:sldLayoutId id="2147483840" r:id="rId192"/>
    <p:sldLayoutId id="2147483841" r:id="rId193"/>
    <p:sldLayoutId id="2147483842" r:id="rId194"/>
    <p:sldLayoutId id="2147483843" r:id="rId195"/>
    <p:sldLayoutId id="2147483844" r:id="rId196"/>
    <p:sldLayoutId id="2147483845" r:id="rId197"/>
    <p:sldLayoutId id="2147483846" r:id="rId198"/>
    <p:sldLayoutId id="2147483847" r:id="rId199"/>
    <p:sldLayoutId id="2147483848" r:id="rId200"/>
    <p:sldLayoutId id="2147483849" r:id="rId201"/>
    <p:sldLayoutId id="2147483850" r:id="rId202"/>
    <p:sldLayoutId id="2147483851" r:id="rId203"/>
    <p:sldLayoutId id="2147483852" r:id="rId204"/>
    <p:sldLayoutId id="2147483853" r:id="rId205"/>
    <p:sldLayoutId id="2147483854" r:id="rId206"/>
    <p:sldLayoutId id="2147483855" r:id="rId207"/>
    <p:sldLayoutId id="2147483856" r:id="rId208"/>
    <p:sldLayoutId id="2147483857" r:id="rId209"/>
    <p:sldLayoutId id="2147483858" r:id="rId210"/>
    <p:sldLayoutId id="2147483859" r:id="rId211"/>
    <p:sldLayoutId id="2147483860" r:id="rId212"/>
    <p:sldLayoutId id="2147483861" r:id="rId213"/>
    <p:sldLayoutId id="2147483862" r:id="rId214"/>
    <p:sldLayoutId id="2147483863" r:id="rId215"/>
    <p:sldLayoutId id="2147483864" r:id="rId216"/>
    <p:sldLayoutId id="2147483865" r:id="rId217"/>
    <p:sldLayoutId id="2147483866" r:id="rId218"/>
    <p:sldLayoutId id="2147483867" r:id="rId219"/>
    <p:sldLayoutId id="2147486109" r:id="rId220"/>
    <p:sldLayoutId id="2147483869" r:id="rId221"/>
    <p:sldLayoutId id="2147483870" r:id="rId222"/>
    <p:sldLayoutId id="2147483871" r:id="rId223"/>
    <p:sldLayoutId id="2147483872" r:id="rId224"/>
    <p:sldLayoutId id="2147483873" r:id="rId225"/>
    <p:sldLayoutId id="2147483874" r:id="rId226"/>
    <p:sldLayoutId id="2147483875" r:id="rId227"/>
    <p:sldLayoutId id="2147483876" r:id="rId228"/>
    <p:sldLayoutId id="2147486136" r:id="rId229"/>
    <p:sldLayoutId id="2147486137" r:id="rId230"/>
    <p:sldLayoutId id="2147483879" r:id="rId231"/>
    <p:sldLayoutId id="2147483880" r:id="rId232"/>
    <p:sldLayoutId id="2147483881" r:id="rId233"/>
    <p:sldLayoutId id="2147483882" r:id="rId234"/>
    <p:sldLayoutId id="2147483883" r:id="rId235"/>
    <p:sldLayoutId id="2147483884" r:id="rId236"/>
    <p:sldLayoutId id="2147486071" r:id="rId237"/>
    <p:sldLayoutId id="2147483886" r:id="rId238"/>
    <p:sldLayoutId id="2147483887" r:id="rId239"/>
    <p:sldLayoutId id="2147483888" r:id="rId240"/>
    <p:sldLayoutId id="2147483889" r:id="rId241"/>
    <p:sldLayoutId id="2147483890" r:id="rId242"/>
    <p:sldLayoutId id="2147483891" r:id="rId243"/>
    <p:sldLayoutId id="2147483892" r:id="rId244"/>
    <p:sldLayoutId id="2147483893" r:id="rId245"/>
    <p:sldLayoutId id="2147483894" r:id="rId246"/>
    <p:sldLayoutId id="2147483895" r:id="rId247"/>
    <p:sldLayoutId id="2147483896" r:id="rId248"/>
    <p:sldLayoutId id="2147483897" r:id="rId249"/>
    <p:sldLayoutId id="2147483898" r:id="rId250"/>
    <p:sldLayoutId id="2147483899" r:id="rId251"/>
    <p:sldLayoutId id="2147483900" r:id="rId252"/>
    <p:sldLayoutId id="2147483901" r:id="rId253"/>
    <p:sldLayoutId id="2147483902" r:id="rId254"/>
    <p:sldLayoutId id="2147483903" r:id="rId255"/>
    <p:sldLayoutId id="2147483904" r:id="rId256"/>
    <p:sldLayoutId id="2147483905" r:id="rId257"/>
    <p:sldLayoutId id="2147483906" r:id="rId258"/>
    <p:sldLayoutId id="2147483907" r:id="rId259"/>
    <p:sldLayoutId id="2147483908" r:id="rId260"/>
    <p:sldLayoutId id="2147483909" r:id="rId261"/>
    <p:sldLayoutId id="2147483910" r:id="rId262"/>
    <p:sldLayoutId id="2147483911" r:id="rId263"/>
    <p:sldLayoutId id="2147483912" r:id="rId264"/>
    <p:sldLayoutId id="2147483913" r:id="rId265"/>
    <p:sldLayoutId id="2147483914" r:id="rId266"/>
    <p:sldLayoutId id="2147483915" r:id="rId267"/>
    <p:sldLayoutId id="2147483916" r:id="rId268"/>
    <p:sldLayoutId id="2147483917" r:id="rId269"/>
    <p:sldLayoutId id="2147483918" r:id="rId270"/>
    <p:sldLayoutId id="2147483919" r:id="rId271"/>
    <p:sldLayoutId id="2147483920" r:id="rId27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183092"/>
            <a:ext cx="5486400" cy="762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04800" y="1066800"/>
            <a:ext cx="5486400" cy="301730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04800" y="4237567"/>
            <a:ext cx="1422400" cy="243417"/>
          </a:xfrm>
          <a:prstGeom prst="rect">
            <a:avLst/>
          </a:prstGeom>
        </p:spPr>
        <p:txBody>
          <a:bodyPr vert="horz" lIns="91440" tIns="45720" rIns="91440" bIns="45720" rtlCol="0" anchor="ctr"/>
          <a:lstStyle>
            <a:lvl1pPr algn="l">
              <a:defRPr sz="800">
                <a:solidFill>
                  <a:schemeClr val="tx1">
                    <a:tint val="75000"/>
                  </a:schemeClr>
                </a:solidFill>
              </a:defRPr>
            </a:lvl1pPr>
          </a:lstStyle>
          <a:p>
            <a:fld id="{1D8BD707-D9CF-40AE-B4C6-C98DA3205C09}" type="datetimeFigureOut">
              <a:rPr lang="en-US" smtClean="0"/>
              <a:pPr/>
              <a:t>11/10/2023</a:t>
            </a:fld>
            <a:endParaRPr lang="en-US"/>
          </a:p>
        </p:txBody>
      </p:sp>
      <p:sp>
        <p:nvSpPr>
          <p:cNvPr id="5" name="Footer Placeholder 4"/>
          <p:cNvSpPr>
            <a:spLocks noGrp="1"/>
          </p:cNvSpPr>
          <p:nvPr>
            <p:ph type="ftr" sz="quarter" idx="3"/>
          </p:nvPr>
        </p:nvSpPr>
        <p:spPr>
          <a:xfrm>
            <a:off x="2082800" y="4237567"/>
            <a:ext cx="1930400" cy="243417"/>
          </a:xfrm>
          <a:prstGeom prst="rect">
            <a:avLst/>
          </a:prstGeom>
        </p:spPr>
        <p:txBody>
          <a:bodyPr vert="horz" lIns="91440" tIns="45720" rIns="91440" bIns="45720" rtlCol="0" anchor="ctr"/>
          <a:lstStyle>
            <a:lvl1pPr algn="ctr">
              <a:defRPr sz="8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368800" y="4237567"/>
            <a:ext cx="1422400" cy="243417"/>
          </a:xfrm>
          <a:prstGeom prst="rect">
            <a:avLst/>
          </a:prstGeom>
        </p:spPr>
        <p:txBody>
          <a:bodyPr vert="horz" lIns="91440" tIns="45720" rIns="91440" bIns="45720" rtlCol="0" anchor="ctr"/>
          <a:lstStyle>
            <a:lvl1pPr algn="r">
              <a:defRPr sz="800">
                <a:solidFill>
                  <a:schemeClr val="tx1">
                    <a:tint val="75000"/>
                  </a:schemeClr>
                </a:solidFill>
              </a:defRPr>
            </a:lvl1pPr>
          </a:lstStyle>
          <a:p>
            <a:fld id="{B6F15528-21DE-4FAA-801E-634DDDAF4B2B}"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7386" r:id="rId1"/>
    <p:sldLayoutId id="2147487387" r:id="rId2"/>
    <p:sldLayoutId id="2147487388" r:id="rId3"/>
    <p:sldLayoutId id="2147487389" r:id="rId4"/>
    <p:sldLayoutId id="2147487390" r:id="rId5"/>
    <p:sldLayoutId id="2147487391" r:id="rId6"/>
    <p:sldLayoutId id="2147487392" r:id="rId7"/>
    <p:sldLayoutId id="2147487393" r:id="rId8"/>
    <p:sldLayoutId id="2147487394" r:id="rId9"/>
    <p:sldLayoutId id="2147487395" r:id="rId10"/>
    <p:sldLayoutId id="2147487396" r:id="rId11"/>
  </p:sldLayoutIdLst>
  <p:txStyles>
    <p:titleStyle>
      <a:lvl1pPr algn="ctr" defTabSz="609630" rtl="0" eaLnBrk="1" latinLnBrk="0" hangingPunct="1">
        <a:spcBef>
          <a:spcPct val="0"/>
        </a:spcBef>
        <a:buNone/>
        <a:defRPr sz="2933" kern="1200">
          <a:solidFill>
            <a:schemeClr val="tx1"/>
          </a:solidFill>
          <a:latin typeface="+mj-lt"/>
          <a:ea typeface="+mj-ea"/>
          <a:cs typeface="+mj-cs"/>
        </a:defRPr>
      </a:lvl1pPr>
    </p:titleStyle>
    <p:bodyStyle>
      <a:lvl1pPr marL="228611" indent="-228611" algn="l" defTabSz="609630" rtl="0" eaLnBrk="1" latinLnBrk="0" hangingPunct="1">
        <a:spcBef>
          <a:spcPct val="20000"/>
        </a:spcBef>
        <a:buFont typeface="Arial" pitchFamily="34" charset="0"/>
        <a:buChar char="•"/>
        <a:defRPr sz="2133" kern="1200">
          <a:solidFill>
            <a:schemeClr val="tx1"/>
          </a:solidFill>
          <a:latin typeface="+mn-lt"/>
          <a:ea typeface="+mn-ea"/>
          <a:cs typeface="+mn-cs"/>
        </a:defRPr>
      </a:lvl1pPr>
      <a:lvl2pPr marL="495325" indent="-190510" algn="l" defTabSz="609630" rtl="0" eaLnBrk="1" latinLnBrk="0" hangingPunct="1">
        <a:spcBef>
          <a:spcPct val="20000"/>
        </a:spcBef>
        <a:buFont typeface="Arial" pitchFamily="34" charset="0"/>
        <a:buChar char="–"/>
        <a:defRPr sz="1867" kern="1200">
          <a:solidFill>
            <a:schemeClr val="tx1"/>
          </a:solidFill>
          <a:latin typeface="+mn-lt"/>
          <a:ea typeface="+mn-ea"/>
          <a:cs typeface="+mn-cs"/>
        </a:defRPr>
      </a:lvl2pPr>
      <a:lvl3pPr marL="762038" indent="-152408" algn="l" defTabSz="60963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853"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66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03.gif"/><Relationship Id="rId13" Type="http://schemas.openxmlformats.org/officeDocument/2006/relationships/image" Target="../media/image108.png"/><Relationship Id="rId18" Type="http://schemas.openxmlformats.org/officeDocument/2006/relationships/image" Target="../media/image113.png"/><Relationship Id="rId3" Type="http://schemas.openxmlformats.org/officeDocument/2006/relationships/image" Target="../media/image98.png"/><Relationship Id="rId21" Type="http://schemas.openxmlformats.org/officeDocument/2006/relationships/image" Target="../media/image116.png"/><Relationship Id="rId7" Type="http://schemas.openxmlformats.org/officeDocument/2006/relationships/image" Target="../media/image102.png"/><Relationship Id="rId12" Type="http://schemas.openxmlformats.org/officeDocument/2006/relationships/image" Target="../media/image107.png"/><Relationship Id="rId17" Type="http://schemas.openxmlformats.org/officeDocument/2006/relationships/image" Target="../media/image112.png"/><Relationship Id="rId2" Type="http://schemas.openxmlformats.org/officeDocument/2006/relationships/notesSlide" Target="../notesSlides/notesSlide1.xml"/><Relationship Id="rId16" Type="http://schemas.openxmlformats.org/officeDocument/2006/relationships/image" Target="../media/image111.png"/><Relationship Id="rId20" Type="http://schemas.openxmlformats.org/officeDocument/2006/relationships/image" Target="../media/image115.png"/><Relationship Id="rId1" Type="http://schemas.openxmlformats.org/officeDocument/2006/relationships/slideLayout" Target="../slideLayouts/slideLayout417.xml"/><Relationship Id="rId6" Type="http://schemas.openxmlformats.org/officeDocument/2006/relationships/image" Target="../media/image101.png"/><Relationship Id="rId11" Type="http://schemas.openxmlformats.org/officeDocument/2006/relationships/image" Target="../media/image106.png"/><Relationship Id="rId5" Type="http://schemas.openxmlformats.org/officeDocument/2006/relationships/image" Target="../media/image100.png"/><Relationship Id="rId15" Type="http://schemas.openxmlformats.org/officeDocument/2006/relationships/image" Target="../media/image110.png"/><Relationship Id="rId10" Type="http://schemas.openxmlformats.org/officeDocument/2006/relationships/image" Target="../media/image105.png"/><Relationship Id="rId19" Type="http://schemas.openxmlformats.org/officeDocument/2006/relationships/image" Target="../media/image114.png"/><Relationship Id="rId4" Type="http://schemas.openxmlformats.org/officeDocument/2006/relationships/image" Target="../media/image99.png"/><Relationship Id="rId9" Type="http://schemas.openxmlformats.org/officeDocument/2006/relationships/image" Target="../media/image104.png"/><Relationship Id="rId14" Type="http://schemas.openxmlformats.org/officeDocument/2006/relationships/image" Target="../media/image109.png"/><Relationship Id="rId22" Type="http://schemas.openxmlformats.org/officeDocument/2006/relationships/image" Target="../media/image117.png"/></Relationships>
</file>

<file path=ppt/slides/_rels/slide10.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7.xml"/><Relationship Id="rId1" Type="http://schemas.openxmlformats.org/officeDocument/2006/relationships/slideLayout" Target="../slideLayouts/slideLayout427.xml"/></Relationships>
</file>

<file path=ppt/slides/_rels/slide11.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8.xml"/><Relationship Id="rId1" Type="http://schemas.openxmlformats.org/officeDocument/2006/relationships/slideLayout" Target="../slideLayouts/slideLayout427.xml"/></Relationships>
</file>

<file path=ppt/slides/_rels/slide12.xml.rels><?xml version="1.0" encoding="UTF-8" standalone="yes"?>
<Relationships xmlns="http://schemas.openxmlformats.org/package/2006/relationships"><Relationship Id="rId8" Type="http://schemas.openxmlformats.org/officeDocument/2006/relationships/image" Target="../media/image132.jpeg"/><Relationship Id="rId3" Type="http://schemas.openxmlformats.org/officeDocument/2006/relationships/image" Target="../media/image127.jpeg"/><Relationship Id="rId7" Type="http://schemas.openxmlformats.org/officeDocument/2006/relationships/image" Target="../media/image131.jpeg"/><Relationship Id="rId2" Type="http://schemas.openxmlformats.org/officeDocument/2006/relationships/notesSlide" Target="../notesSlides/notesSlide9.xml"/><Relationship Id="rId1" Type="http://schemas.openxmlformats.org/officeDocument/2006/relationships/slideLayout" Target="../slideLayouts/slideLayout417.xml"/><Relationship Id="rId6" Type="http://schemas.openxmlformats.org/officeDocument/2006/relationships/image" Target="../media/image130.png"/><Relationship Id="rId5" Type="http://schemas.openxmlformats.org/officeDocument/2006/relationships/image" Target="../media/image129.png"/><Relationship Id="rId10" Type="http://schemas.openxmlformats.org/officeDocument/2006/relationships/image" Target="../media/image134.jpeg"/><Relationship Id="rId4" Type="http://schemas.openxmlformats.org/officeDocument/2006/relationships/image" Target="../media/image128.jpeg"/><Relationship Id="rId9" Type="http://schemas.openxmlformats.org/officeDocument/2006/relationships/image" Target="../media/image133.jpeg"/></Relationships>
</file>

<file path=ppt/slides/_rels/slide13.xml.rels><?xml version="1.0" encoding="UTF-8" standalone="yes"?>
<Relationships xmlns="http://schemas.openxmlformats.org/package/2006/relationships"><Relationship Id="rId3" Type="http://schemas.openxmlformats.org/officeDocument/2006/relationships/image" Target="../media/image135.jpeg"/><Relationship Id="rId2" Type="http://schemas.openxmlformats.org/officeDocument/2006/relationships/notesSlide" Target="../notesSlides/notesSlide10.xml"/><Relationship Id="rId1" Type="http://schemas.openxmlformats.org/officeDocument/2006/relationships/slideLayout" Target="../slideLayouts/slideLayout588.xml"/></Relationships>
</file>

<file path=ppt/slides/_rels/slide14.xml.rels><?xml version="1.0" encoding="UTF-8" standalone="yes"?>
<Relationships xmlns="http://schemas.openxmlformats.org/package/2006/relationships"><Relationship Id="rId8" Type="http://schemas.openxmlformats.org/officeDocument/2006/relationships/image" Target="../media/image142.svg"/><Relationship Id="rId3" Type="http://schemas.openxmlformats.org/officeDocument/2006/relationships/image" Target="../media/image137.png"/><Relationship Id="rId7" Type="http://schemas.openxmlformats.org/officeDocument/2006/relationships/image" Target="../media/image141.png"/><Relationship Id="rId2" Type="http://schemas.openxmlformats.org/officeDocument/2006/relationships/image" Target="../media/image136.png"/><Relationship Id="rId1" Type="http://schemas.openxmlformats.org/officeDocument/2006/relationships/slideLayout" Target="../slideLayouts/slideLayout963.xml"/><Relationship Id="rId6" Type="http://schemas.openxmlformats.org/officeDocument/2006/relationships/image" Target="../media/image140.svg"/><Relationship Id="rId5" Type="http://schemas.openxmlformats.org/officeDocument/2006/relationships/image" Target="../media/image139.png"/><Relationship Id="rId4" Type="http://schemas.openxmlformats.org/officeDocument/2006/relationships/image" Target="../media/image138.svg"/></Relationships>
</file>

<file path=ppt/slides/_rels/slide15.xml.rels><?xml version="1.0" encoding="UTF-8" standalone="yes"?>
<Relationships xmlns="http://schemas.openxmlformats.org/package/2006/relationships"><Relationship Id="rId2" Type="http://schemas.openxmlformats.org/officeDocument/2006/relationships/image" Target="../media/image143.png"/><Relationship Id="rId1" Type="http://schemas.openxmlformats.org/officeDocument/2006/relationships/slideLayout" Target="../slideLayouts/slideLayout45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50.xml"/></Relationships>
</file>

<file path=ppt/slides/_rels/slide17.xml.rels><?xml version="1.0" encoding="UTF-8" standalone="yes"?>
<Relationships xmlns="http://schemas.openxmlformats.org/package/2006/relationships"><Relationship Id="rId8" Type="http://schemas.openxmlformats.org/officeDocument/2006/relationships/image" Target="../media/image141.png"/><Relationship Id="rId3" Type="http://schemas.openxmlformats.org/officeDocument/2006/relationships/image" Target="../media/image136.png"/><Relationship Id="rId7" Type="http://schemas.openxmlformats.org/officeDocument/2006/relationships/image" Target="../media/image140.svg"/><Relationship Id="rId2" Type="http://schemas.microsoft.com/office/2018/10/relationships/comments" Target="../comments/modernComment_139_A43AC41B.xml"/><Relationship Id="rId1" Type="http://schemas.openxmlformats.org/officeDocument/2006/relationships/slideLayout" Target="../slideLayouts/slideLayout963.xml"/><Relationship Id="rId6" Type="http://schemas.openxmlformats.org/officeDocument/2006/relationships/image" Target="../media/image139.png"/><Relationship Id="rId5" Type="http://schemas.openxmlformats.org/officeDocument/2006/relationships/image" Target="../media/image138.svg"/><Relationship Id="rId4" Type="http://schemas.openxmlformats.org/officeDocument/2006/relationships/image" Target="../media/image137.png"/><Relationship Id="rId9" Type="http://schemas.openxmlformats.org/officeDocument/2006/relationships/image" Target="../media/image142.svg"/></Relationships>
</file>

<file path=ppt/slides/_rels/slide18.xml.rels><?xml version="1.0" encoding="UTF-8" standalone="yes"?>
<Relationships xmlns="http://schemas.openxmlformats.org/package/2006/relationships"><Relationship Id="rId2" Type="http://schemas.openxmlformats.org/officeDocument/2006/relationships/image" Target="../media/image144.png"/><Relationship Id="rId1" Type="http://schemas.openxmlformats.org/officeDocument/2006/relationships/slideLayout" Target="../slideLayouts/slideLayout692.xml"/></Relationships>
</file>

<file path=ppt/slides/_rels/slide19.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12.xml"/><Relationship Id="rId1" Type="http://schemas.openxmlformats.org/officeDocument/2006/relationships/slideLayout" Target="../slideLayouts/slideLayout69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42.xml"/></Relationships>
</file>

<file path=ppt/slides/_rels/slide20.xml.rels><?xml version="1.0" encoding="UTF-8" standalone="yes"?>
<Relationships xmlns="http://schemas.openxmlformats.org/package/2006/relationships"><Relationship Id="rId2" Type="http://schemas.openxmlformats.org/officeDocument/2006/relationships/image" Target="../media/image146.png"/><Relationship Id="rId1" Type="http://schemas.openxmlformats.org/officeDocument/2006/relationships/slideLayout" Target="../slideLayouts/slideLayout963.xml"/></Relationships>
</file>

<file path=ppt/slides/_rels/slide21.xml.rels><?xml version="1.0" encoding="UTF-8" standalone="yes"?>
<Relationships xmlns="http://schemas.openxmlformats.org/package/2006/relationships"><Relationship Id="rId3" Type="http://schemas.openxmlformats.org/officeDocument/2006/relationships/image" Target="../media/image148.svg"/><Relationship Id="rId2" Type="http://schemas.openxmlformats.org/officeDocument/2006/relationships/image" Target="../media/image147.png"/><Relationship Id="rId1" Type="http://schemas.openxmlformats.org/officeDocument/2006/relationships/slideLayout" Target="../slideLayouts/slideLayout96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96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96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96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96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96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96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96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96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50.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96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96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96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96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963.xml"/></Relationships>
</file>

<file path=ppt/slides/_rels/slide35.xml.rels><?xml version="1.0" encoding="UTF-8" standalone="yes"?>
<Relationships xmlns="http://schemas.openxmlformats.org/package/2006/relationships"><Relationship Id="rId2" Type="http://schemas.openxmlformats.org/officeDocument/2006/relationships/image" Target="../media/image149.jpeg"/><Relationship Id="rId1" Type="http://schemas.openxmlformats.org/officeDocument/2006/relationships/slideLayout" Target="../slideLayouts/slideLayout292.xml"/></Relationships>
</file>

<file path=ppt/slides/_rels/slide36.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image" Target="../media/image150.png"/><Relationship Id="rId1" Type="http://schemas.openxmlformats.org/officeDocument/2006/relationships/slideLayout" Target="../slideLayouts/slideLayout963.xml"/><Relationship Id="rId4" Type="http://schemas.openxmlformats.org/officeDocument/2006/relationships/image" Target="../media/image152.sv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88.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9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92.xml"/></Relationships>
</file>

<file path=ppt/slides/_rels/slide8.xml.rels><?xml version="1.0" encoding="UTF-8" standalone="yes"?>
<Relationships xmlns="http://schemas.openxmlformats.org/package/2006/relationships"><Relationship Id="rId8" Type="http://schemas.openxmlformats.org/officeDocument/2006/relationships/image" Target="../media/image122.png"/><Relationship Id="rId3" Type="http://schemas.microsoft.com/office/2018/10/relationships/comments" Target="../comments/modernComment_149_B9BB8372.xml"/><Relationship Id="rId7" Type="http://schemas.openxmlformats.org/officeDocument/2006/relationships/image" Target="../media/image121.png"/><Relationship Id="rId2" Type="http://schemas.openxmlformats.org/officeDocument/2006/relationships/notesSlide" Target="../notesSlides/notesSlide5.xml"/><Relationship Id="rId1" Type="http://schemas.openxmlformats.org/officeDocument/2006/relationships/slideLayout" Target="../slideLayouts/slideLayout450.xml"/><Relationship Id="rId6" Type="http://schemas.openxmlformats.org/officeDocument/2006/relationships/image" Target="../media/image120.png"/><Relationship Id="rId5" Type="http://schemas.openxmlformats.org/officeDocument/2006/relationships/image" Target="../media/image119.png"/><Relationship Id="rId4" Type="http://schemas.openxmlformats.org/officeDocument/2006/relationships/image" Target="../media/image118.png"/></Relationships>
</file>

<file path=ppt/slides/_rels/slide9.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6.xml"/><Relationship Id="rId1" Type="http://schemas.openxmlformats.org/officeDocument/2006/relationships/slideLayout" Target="../slideLayouts/slideLayout417.xml"/><Relationship Id="rId5" Type="http://schemas.openxmlformats.org/officeDocument/2006/relationships/image" Target="../media/image125.svg"/><Relationship Id="rId4" Type="http://schemas.openxmlformats.org/officeDocument/2006/relationships/image" Target="../media/image12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00F04537-23BF-21CC-C67C-621776B6EE81}"/>
              </a:ext>
            </a:extLst>
          </p:cNvPr>
          <p:cNvSpPr>
            <a:spLocks noGrp="1"/>
          </p:cNvSpPr>
          <p:nvPr>
            <p:ph type="sldNum" sz="quarter" idx="10"/>
          </p:nvPr>
        </p:nvSpPr>
        <p:spPr/>
        <p:txBody>
          <a:bodyPr/>
          <a:lstStyle/>
          <a:p>
            <a:fld id="{97033E4B-E3EB-3D46-B2D8-3159663620FA}" type="slidenum">
              <a:rPr lang="en-US" smtClean="0"/>
              <a:pPr/>
              <a:t>1</a:t>
            </a:fld>
            <a:endParaRPr lang="en-US"/>
          </a:p>
        </p:txBody>
      </p:sp>
      <p:sp>
        <p:nvSpPr>
          <p:cNvPr id="5" name="Footer Placeholder 4">
            <a:extLst>
              <a:ext uri="{FF2B5EF4-FFF2-40B4-BE49-F238E27FC236}">
                <a16:creationId xmlns:a16="http://schemas.microsoft.com/office/drawing/2014/main" id="{A9F354D6-E765-6068-4572-8AAC509F5239}"/>
              </a:ext>
            </a:extLst>
          </p:cNvPr>
          <p:cNvSpPr>
            <a:spLocks noGrp="1"/>
          </p:cNvSpPr>
          <p:nvPr>
            <p:ph type="ftr" sz="quarter" idx="11"/>
          </p:nvPr>
        </p:nvSpPr>
        <p:spPr/>
        <p:txBody>
          <a:bodyPr/>
          <a:lstStyle/>
          <a:p>
            <a:pPr algn="l"/>
            <a:r>
              <a:rPr lang="en-US"/>
              <a:t>Illinois Perinatal Quality Collaborative</a:t>
            </a:r>
          </a:p>
        </p:txBody>
      </p:sp>
      <p:sp>
        <p:nvSpPr>
          <p:cNvPr id="9" name="Title 1">
            <a:extLst>
              <a:ext uri="{FF2B5EF4-FFF2-40B4-BE49-F238E27FC236}">
                <a16:creationId xmlns:a16="http://schemas.microsoft.com/office/drawing/2014/main" id="{A59911C8-FB04-AB1E-9DF3-1719F4A8E412}"/>
              </a:ext>
            </a:extLst>
          </p:cNvPr>
          <p:cNvSpPr txBox="1">
            <a:spLocks/>
          </p:cNvSpPr>
          <p:nvPr/>
        </p:nvSpPr>
        <p:spPr>
          <a:xfrm>
            <a:off x="3048000" y="6976"/>
            <a:ext cx="5306742" cy="1096514"/>
          </a:xfrm>
          <a:prstGeom prst="rect">
            <a:avLst/>
          </a:prstGeom>
        </p:spPr>
        <p:txBody>
          <a:bodyPr vert="horz" lIns="91440" tIns="45720" rIns="91440" bIns="45720" rtlCol="0" anchor="ctr">
            <a:normAutofit fontScale="97500" lnSpcReduction="10000"/>
          </a:bodyPr>
          <a:lst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a:lstStyle>
          <a:p>
            <a:pPr algn="ctr"/>
            <a:r>
              <a:rPr lang="en-US">
                <a:ea typeface="Lato Medium"/>
                <a:cs typeface="Lato Medium"/>
              </a:rPr>
              <a:t>Thank you to our</a:t>
            </a:r>
            <a:r>
              <a:rPr lang="en-US">
                <a:solidFill>
                  <a:schemeClr val="tx2">
                    <a:lumMod val="50000"/>
                  </a:schemeClr>
                </a:solidFill>
                <a:ea typeface="Lato Medium"/>
                <a:cs typeface="Lato Medium"/>
              </a:rPr>
              <a:t> </a:t>
            </a:r>
            <a:endParaRPr lang="en-US">
              <a:solidFill>
                <a:schemeClr val="tx2">
                  <a:lumMod val="50000"/>
                </a:schemeClr>
              </a:solidFill>
            </a:endParaRPr>
          </a:p>
          <a:p>
            <a:pPr algn="ctr"/>
            <a:r>
              <a:rPr lang="en-US">
                <a:solidFill>
                  <a:schemeClr val="accent3"/>
                </a:solidFill>
                <a:ea typeface="Lato Medium"/>
                <a:cs typeface="Lato Medium"/>
              </a:rPr>
              <a:t>Funders:</a:t>
            </a:r>
            <a:endParaRPr lang="en-US">
              <a:solidFill>
                <a:schemeClr val="accent3"/>
              </a:solidFill>
            </a:endParaRPr>
          </a:p>
        </p:txBody>
      </p:sp>
      <p:pic>
        <p:nvPicPr>
          <p:cNvPr id="11" name="Picture 8" descr="IDPH | Protecting health, improving lives.">
            <a:extLst>
              <a:ext uri="{FF2B5EF4-FFF2-40B4-BE49-F238E27FC236}">
                <a16:creationId xmlns:a16="http://schemas.microsoft.com/office/drawing/2014/main" id="{79E5BE18-815B-2128-14F6-55F28E4E99F9}"/>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948383" y="1195283"/>
            <a:ext cx="2558009" cy="69456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4" descr="File:US CDC logo.svg - Wikimedia Commons">
            <a:extLst>
              <a:ext uri="{FF2B5EF4-FFF2-40B4-BE49-F238E27FC236}">
                <a16:creationId xmlns:a16="http://schemas.microsoft.com/office/drawing/2014/main" id="{2089DC53-0BA7-A340-049B-28714F3ABBF4}"/>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4033941" y="1008972"/>
            <a:ext cx="1398959" cy="1057622"/>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Logo&#10;&#10;Description automatically generated">
            <a:extLst>
              <a:ext uri="{FF2B5EF4-FFF2-40B4-BE49-F238E27FC236}">
                <a16:creationId xmlns:a16="http://schemas.microsoft.com/office/drawing/2014/main" id="{DADE1F50-90C5-48DA-A421-40E43ECF4B0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897629" y="1010646"/>
            <a:ext cx="1161691" cy="1151682"/>
          </a:xfrm>
          <a:prstGeom prst="rect">
            <a:avLst/>
          </a:prstGeom>
        </p:spPr>
      </p:pic>
      <p:sp>
        <p:nvSpPr>
          <p:cNvPr id="22" name="Title 1">
            <a:extLst>
              <a:ext uri="{FF2B5EF4-FFF2-40B4-BE49-F238E27FC236}">
                <a16:creationId xmlns:a16="http://schemas.microsoft.com/office/drawing/2014/main" id="{9D083F7A-AFCE-F54E-02B9-D4B8C1C92D81}"/>
              </a:ext>
            </a:extLst>
          </p:cNvPr>
          <p:cNvSpPr txBox="1">
            <a:spLocks/>
          </p:cNvSpPr>
          <p:nvPr/>
        </p:nvSpPr>
        <p:spPr>
          <a:xfrm>
            <a:off x="3161167" y="2383161"/>
            <a:ext cx="5306742" cy="593308"/>
          </a:xfrm>
          <a:prstGeom prst="rect">
            <a:avLst/>
          </a:prstGeom>
        </p:spPr>
        <p:txBody>
          <a:bodyPr vert="horz" lIns="91440" tIns="45720" rIns="91440" bIns="45720" rtlCol="0" anchor="ctr">
            <a:normAutofit fontScale="97500" lnSpcReduction="10000"/>
          </a:bodyPr>
          <a:lst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a:lstStyle>
          <a:p>
            <a:pPr algn="ctr"/>
            <a:r>
              <a:rPr lang="en-US">
                <a:solidFill>
                  <a:schemeClr val="accent3"/>
                </a:solidFill>
                <a:ea typeface="Lato Medium"/>
                <a:cs typeface="Lato Medium"/>
              </a:rPr>
              <a:t>Conference Sponsors:</a:t>
            </a:r>
          </a:p>
          <a:p>
            <a:pPr algn="ctr"/>
            <a:endParaRPr lang="en-US">
              <a:solidFill>
                <a:schemeClr val="accent3"/>
              </a:solidFill>
            </a:endParaRPr>
          </a:p>
        </p:txBody>
      </p:sp>
      <p:pic>
        <p:nvPicPr>
          <p:cNvPr id="28" name="Picture 28" descr="Logo, company name&#10;&#10;Description automatically generated">
            <a:extLst>
              <a:ext uri="{FF2B5EF4-FFF2-40B4-BE49-F238E27FC236}">
                <a16:creationId xmlns:a16="http://schemas.microsoft.com/office/drawing/2014/main" id="{8E8BA1E6-1D6A-7763-4368-7FD49A2FB6FA}"/>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7861950" y="2806280"/>
            <a:ext cx="2146800" cy="985575"/>
          </a:xfrm>
          <a:prstGeom prst="rect">
            <a:avLst/>
          </a:prstGeom>
        </p:spPr>
      </p:pic>
      <p:sp>
        <p:nvSpPr>
          <p:cNvPr id="29" name="Title 1">
            <a:extLst>
              <a:ext uri="{FF2B5EF4-FFF2-40B4-BE49-F238E27FC236}">
                <a16:creationId xmlns:a16="http://schemas.microsoft.com/office/drawing/2014/main" id="{8C324D09-08DE-21B5-8F28-FE8F4773F51B}"/>
              </a:ext>
            </a:extLst>
          </p:cNvPr>
          <p:cNvSpPr txBox="1">
            <a:spLocks/>
          </p:cNvSpPr>
          <p:nvPr/>
        </p:nvSpPr>
        <p:spPr>
          <a:xfrm>
            <a:off x="3163019" y="3675228"/>
            <a:ext cx="5306742" cy="593308"/>
          </a:xfrm>
          <a:prstGeom prst="rect">
            <a:avLst/>
          </a:prstGeom>
        </p:spPr>
        <p:txBody>
          <a:bodyPr vert="horz" lIns="91440" tIns="45720" rIns="91440" bIns="45720" rtlCol="0" anchor="ctr">
            <a:normAutofit fontScale="97500" lnSpcReduction="10000"/>
          </a:bodyPr>
          <a:lst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a:lstStyle>
          <a:p>
            <a:pPr algn="ctr"/>
            <a:r>
              <a:rPr lang="en-US">
                <a:solidFill>
                  <a:schemeClr val="accent3"/>
                </a:solidFill>
                <a:ea typeface="Lato Medium"/>
                <a:cs typeface="Lato Medium"/>
              </a:rPr>
              <a:t>Supporters:</a:t>
            </a:r>
            <a:endParaRPr lang="en-US">
              <a:solidFill>
                <a:schemeClr val="accent3"/>
              </a:solidFill>
            </a:endParaRPr>
          </a:p>
        </p:txBody>
      </p:sp>
      <p:pic>
        <p:nvPicPr>
          <p:cNvPr id="31" name="Picture 30" descr="Graphical user interface, text&#10;&#10;Description automatically generated">
            <a:extLst>
              <a:ext uri="{FF2B5EF4-FFF2-40B4-BE49-F238E27FC236}">
                <a16:creationId xmlns:a16="http://schemas.microsoft.com/office/drawing/2014/main" id="{6A61A08D-1115-431E-2B46-E666DC6F4B79}"/>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558026" y="4882666"/>
            <a:ext cx="2179501" cy="695373"/>
          </a:xfrm>
          <a:prstGeom prst="rect">
            <a:avLst/>
          </a:prstGeom>
        </p:spPr>
      </p:pic>
      <p:pic>
        <p:nvPicPr>
          <p:cNvPr id="33" name="Picture 2" descr="Laboratory of Neurogenomics and Novel Therapies Web Site – Research and  Patient Care at Northwestern">
            <a:extLst>
              <a:ext uri="{FF2B5EF4-FFF2-40B4-BE49-F238E27FC236}">
                <a16:creationId xmlns:a16="http://schemas.microsoft.com/office/drawing/2014/main" id="{8822425D-6509-8E77-A66A-276D5D34118E}"/>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4040368" y="4985505"/>
            <a:ext cx="1627118" cy="596373"/>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descr="Text&#10;&#10;Description automatically generated">
            <a:extLst>
              <a:ext uri="{FF2B5EF4-FFF2-40B4-BE49-F238E27FC236}">
                <a16:creationId xmlns:a16="http://schemas.microsoft.com/office/drawing/2014/main" id="{0CD0FDDE-DB87-D374-3714-F8397751BF14}"/>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545682" y="4883130"/>
            <a:ext cx="1623541" cy="694458"/>
          </a:xfrm>
          <a:prstGeom prst="rect">
            <a:avLst/>
          </a:prstGeom>
        </p:spPr>
      </p:pic>
      <p:pic>
        <p:nvPicPr>
          <p:cNvPr id="37" name="Picture 36">
            <a:extLst>
              <a:ext uri="{FF2B5EF4-FFF2-40B4-BE49-F238E27FC236}">
                <a16:creationId xmlns:a16="http://schemas.microsoft.com/office/drawing/2014/main" id="{D1A47E77-6815-0449-DB09-7302D615E620}"/>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8410241" y="4923984"/>
            <a:ext cx="2298492" cy="471200"/>
          </a:xfrm>
          <a:prstGeom prst="rect">
            <a:avLst/>
          </a:prstGeom>
        </p:spPr>
      </p:pic>
      <p:pic>
        <p:nvPicPr>
          <p:cNvPr id="38" name="Picture 38" descr="A picture containing text, sign&#10;&#10;Description automatically generated">
            <a:extLst>
              <a:ext uri="{FF2B5EF4-FFF2-40B4-BE49-F238E27FC236}">
                <a16:creationId xmlns:a16="http://schemas.microsoft.com/office/drawing/2014/main" id="{C50CA5DC-22F1-D5B7-FDC4-9802303D2C06}"/>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270884" y="4159989"/>
            <a:ext cx="1664899" cy="598041"/>
          </a:xfrm>
          <a:prstGeom prst="rect">
            <a:avLst/>
          </a:prstGeom>
        </p:spPr>
      </p:pic>
      <p:pic>
        <p:nvPicPr>
          <p:cNvPr id="39" name="Picture 39" descr="Text&#10;&#10;Description automatically generated">
            <a:extLst>
              <a:ext uri="{FF2B5EF4-FFF2-40B4-BE49-F238E27FC236}">
                <a16:creationId xmlns:a16="http://schemas.microsoft.com/office/drawing/2014/main" id="{7C577206-38B5-60CD-FDA3-3A06519F7501}"/>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3590064" y="4094729"/>
            <a:ext cx="2743200" cy="733720"/>
          </a:xfrm>
          <a:prstGeom prst="rect">
            <a:avLst/>
          </a:prstGeom>
        </p:spPr>
      </p:pic>
      <p:pic>
        <p:nvPicPr>
          <p:cNvPr id="41" name="Picture 41" descr="A picture containing icon&#10;&#10;Description automatically generated">
            <a:extLst>
              <a:ext uri="{FF2B5EF4-FFF2-40B4-BE49-F238E27FC236}">
                <a16:creationId xmlns:a16="http://schemas.microsoft.com/office/drawing/2014/main" id="{A1107B0C-0CBB-BEB9-1B05-6527881AAF10}"/>
              </a:ext>
            </a:extLst>
          </p:cNvPr>
          <p:cNvPicPr>
            <a:picLocks noChangeAspect="1"/>
          </p:cNvPicPr>
          <p:nvPr/>
        </p:nvPicPr>
        <p:blipFill>
          <a:blip r:embed="rId13">
            <a:extLst>
              <a:ext uri="{28A0092B-C50C-407E-A947-70E740481C1C}">
                <a14:useLocalDpi xmlns:a14="http://schemas.microsoft.com/office/drawing/2010/main"/>
              </a:ext>
            </a:extLst>
          </a:blip>
          <a:stretch>
            <a:fillRect/>
          </a:stretch>
        </p:blipFill>
        <p:spPr>
          <a:xfrm>
            <a:off x="8245692" y="4258485"/>
            <a:ext cx="1905000" cy="476250"/>
          </a:xfrm>
          <a:prstGeom prst="rect">
            <a:avLst/>
          </a:prstGeom>
        </p:spPr>
      </p:pic>
      <p:pic>
        <p:nvPicPr>
          <p:cNvPr id="2" name="Picture 1" descr="A blue and red logo&#10;&#10;Description automatically generated">
            <a:extLst>
              <a:ext uri="{FF2B5EF4-FFF2-40B4-BE49-F238E27FC236}">
                <a16:creationId xmlns:a16="http://schemas.microsoft.com/office/drawing/2014/main" id="{60718354-0C3A-870E-CCC5-9E9F78B5CA0B}"/>
              </a:ext>
            </a:extLst>
          </p:cNvPr>
          <p:cNvPicPr>
            <a:picLocks noChangeAspect="1"/>
          </p:cNvPicPr>
          <p:nvPr/>
        </p:nvPicPr>
        <p:blipFill>
          <a:blip r:embed="rId14"/>
          <a:stretch>
            <a:fillRect/>
          </a:stretch>
        </p:blipFill>
        <p:spPr>
          <a:xfrm>
            <a:off x="7355457" y="1114492"/>
            <a:ext cx="2743200" cy="862149"/>
          </a:xfrm>
          <a:prstGeom prst="rect">
            <a:avLst/>
          </a:prstGeom>
        </p:spPr>
      </p:pic>
      <p:sp>
        <p:nvSpPr>
          <p:cNvPr id="3" name="TextBox 2">
            <a:extLst>
              <a:ext uri="{FF2B5EF4-FFF2-40B4-BE49-F238E27FC236}">
                <a16:creationId xmlns:a16="http://schemas.microsoft.com/office/drawing/2014/main" id="{110CE415-E0BA-D941-046D-F4A868F713D8}"/>
              </a:ext>
            </a:extLst>
          </p:cNvPr>
          <p:cNvSpPr txBox="1"/>
          <p:nvPr/>
        </p:nvSpPr>
        <p:spPr>
          <a:xfrm>
            <a:off x="2222739" y="2539041"/>
            <a:ext cx="2225616" cy="4308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200">
                <a:solidFill>
                  <a:schemeClr val="accent1"/>
                </a:solidFill>
                <a:latin typeface="+mj-lt"/>
                <a:ea typeface="Lato Medium"/>
                <a:cs typeface="Lato Medium"/>
              </a:rPr>
              <a:t>Gold Level</a:t>
            </a:r>
          </a:p>
        </p:txBody>
      </p:sp>
      <p:pic>
        <p:nvPicPr>
          <p:cNvPr id="6" name="Picture 5" descr="A close-up of a logo&#10;&#10;Description automatically generated">
            <a:extLst>
              <a:ext uri="{FF2B5EF4-FFF2-40B4-BE49-F238E27FC236}">
                <a16:creationId xmlns:a16="http://schemas.microsoft.com/office/drawing/2014/main" id="{0EB19574-787A-B037-3295-092C69B1F144}"/>
              </a:ext>
            </a:extLst>
          </p:cNvPr>
          <p:cNvPicPr>
            <a:picLocks noChangeAspect="1"/>
          </p:cNvPicPr>
          <p:nvPr/>
        </p:nvPicPr>
        <p:blipFill>
          <a:blip r:embed="rId15"/>
          <a:stretch>
            <a:fillRect/>
          </a:stretch>
        </p:blipFill>
        <p:spPr>
          <a:xfrm>
            <a:off x="2312599" y="2844920"/>
            <a:ext cx="1355785" cy="981255"/>
          </a:xfrm>
          <a:prstGeom prst="rect">
            <a:avLst/>
          </a:prstGeom>
        </p:spPr>
      </p:pic>
      <p:sp>
        <p:nvSpPr>
          <p:cNvPr id="7" name="TextBox 6">
            <a:extLst>
              <a:ext uri="{FF2B5EF4-FFF2-40B4-BE49-F238E27FC236}">
                <a16:creationId xmlns:a16="http://schemas.microsoft.com/office/drawing/2014/main" id="{10FD87FC-489F-8448-7FCC-CBFCA1A62A15}"/>
              </a:ext>
            </a:extLst>
          </p:cNvPr>
          <p:cNvSpPr txBox="1"/>
          <p:nvPr/>
        </p:nvSpPr>
        <p:spPr>
          <a:xfrm>
            <a:off x="5184474" y="2539040"/>
            <a:ext cx="2225616" cy="4308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200">
                <a:solidFill>
                  <a:schemeClr val="accent1"/>
                </a:solidFill>
                <a:latin typeface="+mj-lt"/>
                <a:ea typeface="Lato Medium"/>
                <a:cs typeface="Lato Medium"/>
              </a:rPr>
              <a:t>Silver Level</a:t>
            </a:r>
          </a:p>
        </p:txBody>
      </p:sp>
      <p:pic>
        <p:nvPicPr>
          <p:cNvPr id="8" name="Picture 7" descr="A logo for a vaccination clinic&#10;&#10;Description automatically generated">
            <a:extLst>
              <a:ext uri="{FF2B5EF4-FFF2-40B4-BE49-F238E27FC236}">
                <a16:creationId xmlns:a16="http://schemas.microsoft.com/office/drawing/2014/main" id="{236CC8C7-E6E5-832B-D607-6A86EE142D4F}"/>
              </a:ext>
            </a:extLst>
          </p:cNvPr>
          <p:cNvPicPr>
            <a:picLocks noChangeAspect="1"/>
          </p:cNvPicPr>
          <p:nvPr/>
        </p:nvPicPr>
        <p:blipFill>
          <a:blip r:embed="rId16"/>
          <a:stretch>
            <a:fillRect/>
          </a:stretch>
        </p:blipFill>
        <p:spPr>
          <a:xfrm>
            <a:off x="5126966" y="2843244"/>
            <a:ext cx="1823050" cy="912719"/>
          </a:xfrm>
          <a:prstGeom prst="rect">
            <a:avLst/>
          </a:prstGeom>
        </p:spPr>
      </p:pic>
      <p:sp>
        <p:nvSpPr>
          <p:cNvPr id="10" name="TextBox 9">
            <a:extLst>
              <a:ext uri="{FF2B5EF4-FFF2-40B4-BE49-F238E27FC236}">
                <a16:creationId xmlns:a16="http://schemas.microsoft.com/office/drawing/2014/main" id="{A440ACF6-34BB-5CF4-A25C-4632F41B3E5D}"/>
              </a:ext>
            </a:extLst>
          </p:cNvPr>
          <p:cNvSpPr txBox="1"/>
          <p:nvPr/>
        </p:nvSpPr>
        <p:spPr>
          <a:xfrm>
            <a:off x="8088700" y="2467153"/>
            <a:ext cx="2225616" cy="4308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200">
                <a:solidFill>
                  <a:schemeClr val="accent1"/>
                </a:solidFill>
                <a:latin typeface="+mj-lt"/>
                <a:ea typeface="Lato Medium"/>
                <a:cs typeface="Lato Medium"/>
              </a:rPr>
              <a:t>CME Provider</a:t>
            </a:r>
          </a:p>
        </p:txBody>
      </p:sp>
      <p:pic>
        <p:nvPicPr>
          <p:cNvPr id="13" name="Picture 12" descr="A black and white logo&#10;&#10;Description automatically generated">
            <a:extLst>
              <a:ext uri="{FF2B5EF4-FFF2-40B4-BE49-F238E27FC236}">
                <a16:creationId xmlns:a16="http://schemas.microsoft.com/office/drawing/2014/main" id="{0EA41DA7-00B2-D6FE-0B55-5AEA6806CA73}"/>
              </a:ext>
            </a:extLst>
          </p:cNvPr>
          <p:cNvPicPr>
            <a:picLocks noChangeAspect="1"/>
          </p:cNvPicPr>
          <p:nvPr/>
        </p:nvPicPr>
        <p:blipFill>
          <a:blip r:embed="rId17"/>
          <a:stretch>
            <a:fillRect/>
          </a:stretch>
        </p:blipFill>
        <p:spPr>
          <a:xfrm>
            <a:off x="6938065" y="4093773"/>
            <a:ext cx="774403" cy="798303"/>
          </a:xfrm>
          <a:prstGeom prst="rect">
            <a:avLst/>
          </a:prstGeom>
        </p:spPr>
      </p:pic>
      <p:sp>
        <p:nvSpPr>
          <p:cNvPr id="14" name="Rectangle 13">
            <a:extLst>
              <a:ext uri="{FF2B5EF4-FFF2-40B4-BE49-F238E27FC236}">
                <a16:creationId xmlns:a16="http://schemas.microsoft.com/office/drawing/2014/main" id="{1AA5E25E-B67C-C488-C8EB-3456C63230F4}"/>
              </a:ext>
            </a:extLst>
          </p:cNvPr>
          <p:cNvSpPr/>
          <p:nvPr/>
        </p:nvSpPr>
        <p:spPr>
          <a:xfrm>
            <a:off x="453621" y="6143016"/>
            <a:ext cx="11099320" cy="28754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ea typeface="+mn-lt"/>
                <a:cs typeface="+mn-lt"/>
              </a:rPr>
              <a:t>[object File]</a:t>
            </a:r>
            <a:endParaRPr lang="en-US"/>
          </a:p>
        </p:txBody>
      </p:sp>
      <p:sp>
        <p:nvSpPr>
          <p:cNvPr id="16" name="Rectangle 15">
            <a:extLst>
              <a:ext uri="{FF2B5EF4-FFF2-40B4-BE49-F238E27FC236}">
                <a16:creationId xmlns:a16="http://schemas.microsoft.com/office/drawing/2014/main" id="{9B4E0185-6257-C1BC-FA80-ECE5ED2B617E}"/>
              </a:ext>
            </a:extLst>
          </p:cNvPr>
          <p:cNvSpPr/>
          <p:nvPr/>
        </p:nvSpPr>
        <p:spPr>
          <a:xfrm>
            <a:off x="482375" y="6430562"/>
            <a:ext cx="7116792" cy="21566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4" name="Picture 44">
            <a:extLst>
              <a:ext uri="{FF2B5EF4-FFF2-40B4-BE49-F238E27FC236}">
                <a16:creationId xmlns:a16="http://schemas.microsoft.com/office/drawing/2014/main" id="{9D3A7F2A-2208-12DB-86D9-EC2D5EA56612}"/>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488793" y="5638896"/>
            <a:ext cx="2137508" cy="785525"/>
          </a:xfrm>
          <a:prstGeom prst="rect">
            <a:avLst/>
          </a:prstGeom>
        </p:spPr>
      </p:pic>
      <p:pic>
        <p:nvPicPr>
          <p:cNvPr id="45" name="Picture 45" descr="Logo, company name&#10;&#10;Description automatically generated">
            <a:extLst>
              <a:ext uri="{FF2B5EF4-FFF2-40B4-BE49-F238E27FC236}">
                <a16:creationId xmlns:a16="http://schemas.microsoft.com/office/drawing/2014/main" id="{782F805C-EB35-7022-84B0-AD214D82CF4D}"/>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3032665" y="5734719"/>
            <a:ext cx="2098431" cy="728755"/>
          </a:xfrm>
          <a:prstGeom prst="rect">
            <a:avLst/>
          </a:prstGeom>
        </p:spPr>
      </p:pic>
      <p:pic>
        <p:nvPicPr>
          <p:cNvPr id="46" name="Picture 46" descr="Logo&#10;&#10;Description automatically generated">
            <a:extLst>
              <a:ext uri="{FF2B5EF4-FFF2-40B4-BE49-F238E27FC236}">
                <a16:creationId xmlns:a16="http://schemas.microsoft.com/office/drawing/2014/main" id="{5C76C4E5-EF6E-7DCF-7A3D-7C6B7D099609}"/>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8003847" y="5727998"/>
            <a:ext cx="1432414" cy="625964"/>
          </a:xfrm>
          <a:prstGeom prst="rect">
            <a:avLst/>
          </a:prstGeom>
        </p:spPr>
      </p:pic>
      <p:pic>
        <p:nvPicPr>
          <p:cNvPr id="21" name="Picture 20" descr="A purple text on a white background&#10;&#10;Description automatically generated">
            <a:extLst>
              <a:ext uri="{FF2B5EF4-FFF2-40B4-BE49-F238E27FC236}">
                <a16:creationId xmlns:a16="http://schemas.microsoft.com/office/drawing/2014/main" id="{FF8E46F6-73B7-2F2D-2A16-55370B778AE9}"/>
              </a:ext>
            </a:extLst>
          </p:cNvPr>
          <p:cNvPicPr>
            <a:picLocks noChangeAspect="1"/>
          </p:cNvPicPr>
          <p:nvPr/>
        </p:nvPicPr>
        <p:blipFill>
          <a:blip r:embed="rId21"/>
          <a:stretch>
            <a:fillRect/>
          </a:stretch>
        </p:blipFill>
        <p:spPr>
          <a:xfrm>
            <a:off x="5587043" y="5834018"/>
            <a:ext cx="2283125" cy="538342"/>
          </a:xfrm>
          <a:prstGeom prst="rect">
            <a:avLst/>
          </a:prstGeom>
        </p:spPr>
      </p:pic>
      <p:pic>
        <p:nvPicPr>
          <p:cNvPr id="25" name="Picture 24" descr="EverThrive Illinois">
            <a:extLst>
              <a:ext uri="{FF2B5EF4-FFF2-40B4-BE49-F238E27FC236}">
                <a16:creationId xmlns:a16="http://schemas.microsoft.com/office/drawing/2014/main" id="{57D77025-FB6B-47F7-3102-510F50AB177F}"/>
              </a:ext>
            </a:extLst>
          </p:cNvPr>
          <p:cNvPicPr>
            <a:picLocks noChangeAspect="1"/>
          </p:cNvPicPr>
          <p:nvPr/>
        </p:nvPicPr>
        <p:blipFill>
          <a:blip r:embed="rId22"/>
          <a:stretch>
            <a:fillRect/>
          </a:stretch>
        </p:blipFill>
        <p:spPr>
          <a:xfrm>
            <a:off x="9670212" y="5651825"/>
            <a:ext cx="2311880" cy="629556"/>
          </a:xfrm>
          <a:prstGeom prst="rect">
            <a:avLst/>
          </a:prstGeom>
        </p:spPr>
      </p:pic>
    </p:spTree>
    <p:extLst>
      <p:ext uri="{BB962C8B-B14F-4D97-AF65-F5344CB8AC3E}">
        <p14:creationId xmlns:p14="http://schemas.microsoft.com/office/powerpoint/2010/main" val="39868140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9" name="Rectangle 18">
            <a:extLst>
              <a:ext uri="{FF2B5EF4-FFF2-40B4-BE49-F238E27FC236}">
                <a16:creationId xmlns:a16="http://schemas.microsoft.com/office/drawing/2014/main" id="{3C54F4CE-85F0-46ED-80DA-9518C9251A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Shape 20">
            <a:extLst>
              <a:ext uri="{FF2B5EF4-FFF2-40B4-BE49-F238E27FC236}">
                <a16:creationId xmlns:a16="http://schemas.microsoft.com/office/drawing/2014/main" id="{DADD1FCA-8ACB-4958-81DD-4CDD6D3E192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0"/>
            <a:ext cx="5802086" cy="6858000"/>
          </a:xfrm>
          <a:custGeom>
            <a:avLst/>
            <a:gdLst>
              <a:gd name="connsiteX0" fmla="*/ 5734864 w 5734864"/>
              <a:gd name="connsiteY0" fmla="*/ 0 h 6858000"/>
              <a:gd name="connsiteX1" fmla="*/ 771611 w 5734864"/>
              <a:gd name="connsiteY1" fmla="*/ 0 h 6858000"/>
              <a:gd name="connsiteX2" fmla="*/ 771679 w 5734864"/>
              <a:gd name="connsiteY2" fmla="*/ 49108 h 6858000"/>
              <a:gd name="connsiteX3" fmla="*/ 794248 w 5734864"/>
              <a:gd name="connsiteY3" fmla="*/ 200968 h 6858000"/>
              <a:gd name="connsiteX4" fmla="*/ 801749 w 5734864"/>
              <a:gd name="connsiteY4" fmla="*/ 414071 h 6858000"/>
              <a:gd name="connsiteX5" fmla="*/ 818548 w 5734864"/>
              <a:gd name="connsiteY5" fmla="*/ 585467 h 6858000"/>
              <a:gd name="connsiteX6" fmla="*/ 857476 w 5734864"/>
              <a:gd name="connsiteY6" fmla="*/ 800623 h 6858000"/>
              <a:gd name="connsiteX7" fmla="*/ 851083 w 5734864"/>
              <a:gd name="connsiteY7" fmla="*/ 878903 h 6858000"/>
              <a:gd name="connsiteX8" fmla="*/ 873564 w 5734864"/>
              <a:gd name="connsiteY8" fmla="*/ 943826 h 6858000"/>
              <a:gd name="connsiteX9" fmla="*/ 864705 w 5734864"/>
              <a:gd name="connsiteY9" fmla="*/ 973328 h 6858000"/>
              <a:gd name="connsiteX10" fmla="*/ 862869 w 5734864"/>
              <a:gd name="connsiteY10" fmla="*/ 978457 h 6858000"/>
              <a:gd name="connsiteX11" fmla="*/ 862233 w 5734864"/>
              <a:gd name="connsiteY11" fmla="*/ 998041 h 6858000"/>
              <a:gd name="connsiteX12" fmla="*/ 853665 w 5734864"/>
              <a:gd name="connsiteY12" fmla="*/ 1004750 h 6858000"/>
              <a:gd name="connsiteX13" fmla="*/ 846695 w 5734864"/>
              <a:gd name="connsiteY13" fmla="*/ 1035077 h 6858000"/>
              <a:gd name="connsiteX14" fmla="*/ 847865 w 5734864"/>
              <a:gd name="connsiteY14" fmla="*/ 1070795 h 6858000"/>
              <a:gd name="connsiteX15" fmla="*/ 862786 w 5734864"/>
              <a:gd name="connsiteY15" fmla="*/ 1238994 h 6858000"/>
              <a:gd name="connsiteX16" fmla="*/ 859345 w 5734864"/>
              <a:gd name="connsiteY16" fmla="*/ 1380427 h 6858000"/>
              <a:gd name="connsiteX17" fmla="*/ 855172 w 5734864"/>
              <a:gd name="connsiteY17" fmla="*/ 1435262 h 6858000"/>
              <a:gd name="connsiteX18" fmla="*/ 860494 w 5734864"/>
              <a:gd name="connsiteY18" fmla="*/ 1453861 h 6858000"/>
              <a:gd name="connsiteX19" fmla="*/ 853731 w 5734864"/>
              <a:gd name="connsiteY19" fmla="*/ 1467047 h 6858000"/>
              <a:gd name="connsiteX20" fmla="*/ 845847 w 5734864"/>
              <a:gd name="connsiteY20" fmla="*/ 1502307 h 6858000"/>
              <a:gd name="connsiteX21" fmla="*/ 817613 w 5734864"/>
              <a:gd name="connsiteY21" fmla="*/ 1565166 h 6858000"/>
              <a:gd name="connsiteX22" fmla="*/ 804223 w 5734864"/>
              <a:gd name="connsiteY22" fmla="*/ 1601941 h 6858000"/>
              <a:gd name="connsiteX23" fmla="*/ 791773 w 5734864"/>
              <a:gd name="connsiteY23" fmla="*/ 1627005 h 6858000"/>
              <a:gd name="connsiteX24" fmla="*/ 774645 w 5734864"/>
              <a:gd name="connsiteY24" fmla="*/ 1699922 h 6858000"/>
              <a:gd name="connsiteX25" fmla="*/ 752343 w 5734864"/>
              <a:gd name="connsiteY25" fmla="*/ 1824604 h 6858000"/>
              <a:gd name="connsiteX26" fmla="*/ 746254 w 5734864"/>
              <a:gd name="connsiteY26" fmla="*/ 1850222 h 6858000"/>
              <a:gd name="connsiteX27" fmla="*/ 728600 w 5734864"/>
              <a:gd name="connsiteY27" fmla="*/ 1869603 h 6858000"/>
              <a:gd name="connsiteX28" fmla="*/ 724396 w 5734864"/>
              <a:gd name="connsiteY28" fmla="*/ 1883104 h 6858000"/>
              <a:gd name="connsiteX29" fmla="*/ 722165 w 5734864"/>
              <a:gd name="connsiteY29" fmla="*/ 1885924 h 6858000"/>
              <a:gd name="connsiteX30" fmla="*/ 721338 w 5734864"/>
              <a:gd name="connsiteY30" fmla="*/ 1887123 h 6858000"/>
              <a:gd name="connsiteX31" fmla="*/ 714840 w 5734864"/>
              <a:gd name="connsiteY31" fmla="*/ 1902274 h 6858000"/>
              <a:gd name="connsiteX32" fmla="*/ 722847 w 5734864"/>
              <a:gd name="connsiteY32" fmla="*/ 1929891 h 6858000"/>
              <a:gd name="connsiteX33" fmla="*/ 719647 w 5734864"/>
              <a:gd name="connsiteY33" fmla="*/ 1936120 h 6858000"/>
              <a:gd name="connsiteX34" fmla="*/ 714660 w 5734864"/>
              <a:gd name="connsiteY34" fmla="*/ 1982709 h 6858000"/>
              <a:gd name="connsiteX35" fmla="*/ 710759 w 5734864"/>
              <a:gd name="connsiteY35" fmla="*/ 2013010 h 6858000"/>
              <a:gd name="connsiteX36" fmla="*/ 697927 w 5734864"/>
              <a:gd name="connsiteY36" fmla="*/ 2069833 h 6858000"/>
              <a:gd name="connsiteX37" fmla="*/ 693594 w 5734864"/>
              <a:gd name="connsiteY37" fmla="*/ 2103731 h 6858000"/>
              <a:gd name="connsiteX38" fmla="*/ 691109 w 5734864"/>
              <a:gd name="connsiteY38" fmla="*/ 2124027 h 6858000"/>
              <a:gd name="connsiteX39" fmla="*/ 676593 w 5734864"/>
              <a:gd name="connsiteY39" fmla="*/ 2176182 h 6858000"/>
              <a:gd name="connsiteX40" fmla="*/ 633227 w 5734864"/>
              <a:gd name="connsiteY40" fmla="*/ 2258036 h 6858000"/>
              <a:gd name="connsiteX41" fmla="*/ 625564 w 5734864"/>
              <a:gd name="connsiteY41" fmla="*/ 2284567 h 6858000"/>
              <a:gd name="connsiteX42" fmla="*/ 627074 w 5734864"/>
              <a:gd name="connsiteY42" fmla="*/ 2289605 h 6858000"/>
              <a:gd name="connsiteX43" fmla="*/ 614574 w 5734864"/>
              <a:gd name="connsiteY43" fmla="*/ 2308717 h 6858000"/>
              <a:gd name="connsiteX44" fmla="*/ 606890 w 5734864"/>
              <a:gd name="connsiteY44" fmla="*/ 2320662 h 6858000"/>
              <a:gd name="connsiteX45" fmla="*/ 605558 w 5734864"/>
              <a:gd name="connsiteY45" fmla="*/ 2327897 h 6858000"/>
              <a:gd name="connsiteX46" fmla="*/ 602202 w 5734864"/>
              <a:gd name="connsiteY46" fmla="*/ 2357749 h 6858000"/>
              <a:gd name="connsiteX47" fmla="*/ 600213 w 5734864"/>
              <a:gd name="connsiteY47" fmla="*/ 2364905 h 6858000"/>
              <a:gd name="connsiteX48" fmla="*/ 597160 w 5734864"/>
              <a:gd name="connsiteY48" fmla="*/ 2388351 h 6858000"/>
              <a:gd name="connsiteX49" fmla="*/ 597982 w 5734864"/>
              <a:gd name="connsiteY49" fmla="*/ 2402296 h 6858000"/>
              <a:gd name="connsiteX50" fmla="*/ 593150 w 5734864"/>
              <a:gd name="connsiteY50" fmla="*/ 2420015 h 6858000"/>
              <a:gd name="connsiteX51" fmla="*/ 592833 w 5734864"/>
              <a:gd name="connsiteY51" fmla="*/ 2422749 h 6858000"/>
              <a:gd name="connsiteX52" fmla="*/ 594479 w 5734864"/>
              <a:gd name="connsiteY52" fmla="*/ 2426002 h 6858000"/>
              <a:gd name="connsiteX53" fmla="*/ 591963 w 5734864"/>
              <a:gd name="connsiteY53" fmla="*/ 2431950 h 6858000"/>
              <a:gd name="connsiteX54" fmla="*/ 591544 w 5734864"/>
              <a:gd name="connsiteY54" fmla="*/ 2433897 h 6858000"/>
              <a:gd name="connsiteX55" fmla="*/ 589519 w 5734864"/>
              <a:gd name="connsiteY55" fmla="*/ 2451398 h 6858000"/>
              <a:gd name="connsiteX56" fmla="*/ 590037 w 5734864"/>
              <a:gd name="connsiteY56" fmla="*/ 2455536 h 6858000"/>
              <a:gd name="connsiteX57" fmla="*/ 588179 w 5734864"/>
              <a:gd name="connsiteY57" fmla="*/ 2462981 h 6858000"/>
              <a:gd name="connsiteX58" fmla="*/ 583434 w 5734864"/>
              <a:gd name="connsiteY58" fmla="*/ 2503991 h 6858000"/>
              <a:gd name="connsiteX59" fmla="*/ 567942 w 5734864"/>
              <a:gd name="connsiteY59" fmla="*/ 2652936 h 6858000"/>
              <a:gd name="connsiteX60" fmla="*/ 573869 w 5734864"/>
              <a:gd name="connsiteY60" fmla="*/ 2670188 h 6858000"/>
              <a:gd name="connsiteX61" fmla="*/ 575243 w 5734864"/>
              <a:gd name="connsiteY61" fmla="*/ 2688114 h 6858000"/>
              <a:gd name="connsiteX62" fmla="*/ 573824 w 5734864"/>
              <a:gd name="connsiteY62" fmla="*/ 2689856 h 6858000"/>
              <a:gd name="connsiteX63" fmla="*/ 570699 w 5734864"/>
              <a:gd name="connsiteY63" fmla="*/ 2709353 h 6858000"/>
              <a:gd name="connsiteX64" fmla="*/ 573192 w 5734864"/>
              <a:gd name="connsiteY64" fmla="*/ 2714527 h 6858000"/>
              <a:gd name="connsiteX65" fmla="*/ 572044 w 5734864"/>
              <a:gd name="connsiteY65" fmla="*/ 2728187 h 6858000"/>
              <a:gd name="connsiteX66" fmla="*/ 572465 w 5734864"/>
              <a:gd name="connsiteY66" fmla="*/ 2755863 h 6858000"/>
              <a:gd name="connsiteX67" fmla="*/ 570028 w 5734864"/>
              <a:gd name="connsiteY67" fmla="*/ 2760324 h 6858000"/>
              <a:gd name="connsiteX68" fmla="*/ 566748 w 5734864"/>
              <a:gd name="connsiteY68" fmla="*/ 2800948 h 6858000"/>
              <a:gd name="connsiteX69" fmla="*/ 565509 w 5734864"/>
              <a:gd name="connsiteY69" fmla="*/ 2801167 h 6858000"/>
              <a:gd name="connsiteX70" fmla="*/ 559367 w 5734864"/>
              <a:gd name="connsiteY70" fmla="*/ 2811129 h 6858000"/>
              <a:gd name="connsiteX71" fmla="*/ 550354 w 5734864"/>
              <a:gd name="connsiteY71" fmla="*/ 2830949 h 6858000"/>
              <a:gd name="connsiteX72" fmla="*/ 514795 w 5734864"/>
              <a:gd name="connsiteY72" fmla="*/ 2872433 h 6858000"/>
              <a:gd name="connsiteX73" fmla="*/ 509875 w 5734864"/>
              <a:gd name="connsiteY73" fmla="*/ 2923099 h 6858000"/>
              <a:gd name="connsiteX74" fmla="*/ 509577 w 5734864"/>
              <a:gd name="connsiteY74" fmla="*/ 2923197 h 6858000"/>
              <a:gd name="connsiteX75" fmla="*/ 507597 w 5734864"/>
              <a:gd name="connsiteY75" fmla="*/ 2931868 h 6858000"/>
              <a:gd name="connsiteX76" fmla="*/ 507379 w 5734864"/>
              <a:gd name="connsiteY76" fmla="*/ 2938322 h 6858000"/>
              <a:gd name="connsiteX77" fmla="*/ 504725 w 5734864"/>
              <a:gd name="connsiteY77" fmla="*/ 2954519 h 6858000"/>
              <a:gd name="connsiteX78" fmla="*/ 502018 w 5734864"/>
              <a:gd name="connsiteY78" fmla="*/ 2959643 h 6858000"/>
              <a:gd name="connsiteX79" fmla="*/ 498360 w 5734864"/>
              <a:gd name="connsiteY79" fmla="*/ 2961019 h 6858000"/>
              <a:gd name="connsiteX80" fmla="*/ 498483 w 5734864"/>
              <a:gd name="connsiteY80" fmla="*/ 2962590 h 6858000"/>
              <a:gd name="connsiteX81" fmla="*/ 484403 w 5734864"/>
              <a:gd name="connsiteY81" fmla="*/ 2990538 h 6858000"/>
              <a:gd name="connsiteX82" fmla="*/ 463075 w 5734864"/>
              <a:gd name="connsiteY82" fmla="*/ 3055956 h 6858000"/>
              <a:gd name="connsiteX83" fmla="*/ 455013 w 5734864"/>
              <a:gd name="connsiteY83" fmla="*/ 3094482 h 6858000"/>
              <a:gd name="connsiteX84" fmla="*/ 428391 w 5734864"/>
              <a:gd name="connsiteY84" fmla="*/ 3198850 h 6858000"/>
              <a:gd name="connsiteX85" fmla="*/ 401440 w 5734864"/>
              <a:gd name="connsiteY85" fmla="*/ 3307560 h 6858000"/>
              <a:gd name="connsiteX86" fmla="*/ 386076 w 5734864"/>
              <a:gd name="connsiteY86" fmla="*/ 3373943 h 6858000"/>
              <a:gd name="connsiteX87" fmla="*/ 374726 w 5734864"/>
              <a:gd name="connsiteY87" fmla="*/ 3381364 h 6858000"/>
              <a:gd name="connsiteX88" fmla="*/ 369145 w 5734864"/>
              <a:gd name="connsiteY88" fmla="*/ 3383729 h 6858000"/>
              <a:gd name="connsiteX89" fmla="*/ 364294 w 5734864"/>
              <a:gd name="connsiteY89" fmla="*/ 3414159 h 6858000"/>
              <a:gd name="connsiteX90" fmla="*/ 366450 w 5734864"/>
              <a:gd name="connsiteY90" fmla="*/ 3436925 h 6858000"/>
              <a:gd name="connsiteX91" fmla="*/ 351743 w 5734864"/>
              <a:gd name="connsiteY91" fmla="*/ 3521619 h 6858000"/>
              <a:gd name="connsiteX92" fmla="*/ 345784 w 5734864"/>
              <a:gd name="connsiteY92" fmla="*/ 3603757 h 6858000"/>
              <a:gd name="connsiteX93" fmla="*/ 344198 w 5734864"/>
              <a:gd name="connsiteY93" fmla="*/ 3652424 h 6858000"/>
              <a:gd name="connsiteX94" fmla="*/ 352450 w 5734864"/>
              <a:gd name="connsiteY94" fmla="*/ 3665222 h 6858000"/>
              <a:gd name="connsiteX95" fmla="*/ 342621 w 5734864"/>
              <a:gd name="connsiteY95" fmla="*/ 3700804 h 6858000"/>
              <a:gd name="connsiteX96" fmla="*/ 341514 w 5734864"/>
              <a:gd name="connsiteY96" fmla="*/ 3734774 h 6858000"/>
              <a:gd name="connsiteX97" fmla="*/ 340607 w 5734864"/>
              <a:gd name="connsiteY97" fmla="*/ 3785153 h 6858000"/>
              <a:gd name="connsiteX98" fmla="*/ 340707 w 5734864"/>
              <a:gd name="connsiteY98" fmla="*/ 3788177 h 6858000"/>
              <a:gd name="connsiteX99" fmla="*/ 340361 w 5734864"/>
              <a:gd name="connsiteY99" fmla="*/ 3798803 h 6858000"/>
              <a:gd name="connsiteX100" fmla="*/ 339642 w 5734864"/>
              <a:gd name="connsiteY100" fmla="*/ 3838750 h 6858000"/>
              <a:gd name="connsiteX101" fmla="*/ 360295 w 5734864"/>
              <a:gd name="connsiteY101" fmla="*/ 4015196 h 6858000"/>
              <a:gd name="connsiteX102" fmla="*/ 339043 w 5734864"/>
              <a:gd name="connsiteY102" fmla="*/ 4052778 h 6858000"/>
              <a:gd name="connsiteX103" fmla="*/ 339343 w 5734864"/>
              <a:gd name="connsiteY103" fmla="*/ 4096257 h 6858000"/>
              <a:gd name="connsiteX104" fmla="*/ 340786 w 5734864"/>
              <a:gd name="connsiteY104" fmla="*/ 4321136 h 6858000"/>
              <a:gd name="connsiteX105" fmla="*/ 343158 w 5734864"/>
              <a:gd name="connsiteY105" fmla="*/ 4429174 h 6858000"/>
              <a:gd name="connsiteX106" fmla="*/ 334599 w 5734864"/>
              <a:gd name="connsiteY106" fmla="*/ 4449938 h 6858000"/>
              <a:gd name="connsiteX107" fmla="*/ 332890 w 5734864"/>
              <a:gd name="connsiteY107" fmla="*/ 4453515 h 6858000"/>
              <a:gd name="connsiteX108" fmla="*/ 331105 w 5734864"/>
              <a:gd name="connsiteY108" fmla="*/ 4467941 h 6858000"/>
              <a:gd name="connsiteX109" fmla="*/ 324289 w 5734864"/>
              <a:gd name="connsiteY109" fmla="*/ 4471861 h 6858000"/>
              <a:gd name="connsiteX110" fmla="*/ 317079 w 5734864"/>
              <a:gd name="connsiteY110" fmla="*/ 4493468 h 6858000"/>
              <a:gd name="connsiteX111" fmla="*/ 315557 w 5734864"/>
              <a:gd name="connsiteY111" fmla="*/ 4520067 h 6858000"/>
              <a:gd name="connsiteX112" fmla="*/ 315240 w 5734864"/>
              <a:gd name="connsiteY112" fmla="*/ 4536872 h 6858000"/>
              <a:gd name="connsiteX113" fmla="*/ 316200 w 5734864"/>
              <a:gd name="connsiteY113" fmla="*/ 4538297 h 6858000"/>
              <a:gd name="connsiteX114" fmla="*/ 317507 w 5734864"/>
              <a:gd name="connsiteY114" fmla="*/ 4547582 h 6858000"/>
              <a:gd name="connsiteX115" fmla="*/ 323078 w 5734864"/>
              <a:gd name="connsiteY115" fmla="*/ 4592102 h 6858000"/>
              <a:gd name="connsiteX116" fmla="*/ 328722 w 5734864"/>
              <a:gd name="connsiteY116" fmla="*/ 4667914 h 6858000"/>
              <a:gd name="connsiteX117" fmla="*/ 335597 w 5734864"/>
              <a:gd name="connsiteY117" fmla="*/ 4695035 h 6858000"/>
              <a:gd name="connsiteX118" fmla="*/ 339485 w 5734864"/>
              <a:gd name="connsiteY118" fmla="*/ 4695979 h 6858000"/>
              <a:gd name="connsiteX119" fmla="*/ 341089 w 5734864"/>
              <a:gd name="connsiteY119" fmla="*/ 4704268 h 6858000"/>
              <a:gd name="connsiteX120" fmla="*/ 342177 w 5734864"/>
              <a:gd name="connsiteY120" fmla="*/ 4706060 h 6858000"/>
              <a:gd name="connsiteX121" fmla="*/ 347751 w 5734864"/>
              <a:gd name="connsiteY121" fmla="*/ 4716754 h 6858000"/>
              <a:gd name="connsiteX122" fmla="*/ 344125 w 5734864"/>
              <a:gd name="connsiteY122" fmla="*/ 4764669 h 6858000"/>
              <a:gd name="connsiteX123" fmla="*/ 340188 w 5734864"/>
              <a:gd name="connsiteY123" fmla="*/ 4779386 h 6858000"/>
              <a:gd name="connsiteX124" fmla="*/ 335146 w 5734864"/>
              <a:gd name="connsiteY124" fmla="*/ 4787491 h 6858000"/>
              <a:gd name="connsiteX125" fmla="*/ 319124 w 5734864"/>
              <a:gd name="connsiteY125" fmla="*/ 4843514 h 6858000"/>
              <a:gd name="connsiteX126" fmla="*/ 305956 w 5734864"/>
              <a:gd name="connsiteY126" fmla="*/ 4881505 h 6858000"/>
              <a:gd name="connsiteX127" fmla="*/ 301062 w 5734864"/>
              <a:gd name="connsiteY127" fmla="*/ 4889332 h 6858000"/>
              <a:gd name="connsiteX128" fmla="*/ 302141 w 5734864"/>
              <a:gd name="connsiteY128" fmla="*/ 4899400 h 6858000"/>
              <a:gd name="connsiteX129" fmla="*/ 304424 w 5734864"/>
              <a:gd name="connsiteY129" fmla="*/ 4902664 h 6858000"/>
              <a:gd name="connsiteX130" fmla="*/ 293123 w 5734864"/>
              <a:gd name="connsiteY130" fmla="*/ 4932769 h 6858000"/>
              <a:gd name="connsiteX131" fmla="*/ 292275 w 5734864"/>
              <a:gd name="connsiteY131" fmla="*/ 4936482 h 6858000"/>
              <a:gd name="connsiteX132" fmla="*/ 288304 w 5734864"/>
              <a:gd name="connsiteY132" fmla="*/ 4962325 h 6858000"/>
              <a:gd name="connsiteX133" fmla="*/ 287420 w 5734864"/>
              <a:gd name="connsiteY133" fmla="*/ 5042193 h 6858000"/>
              <a:gd name="connsiteX134" fmla="*/ 287020 w 5734864"/>
              <a:gd name="connsiteY134" fmla="*/ 5065655 h 6858000"/>
              <a:gd name="connsiteX135" fmla="*/ 288488 w 5734864"/>
              <a:gd name="connsiteY135" fmla="*/ 5082216 h 6858000"/>
              <a:gd name="connsiteX136" fmla="*/ 282763 w 5734864"/>
              <a:gd name="connsiteY136" fmla="*/ 5127114 h 6858000"/>
              <a:gd name="connsiteX137" fmla="*/ 269316 w 5734864"/>
              <a:gd name="connsiteY137" fmla="*/ 5202682 h 6858000"/>
              <a:gd name="connsiteX138" fmla="*/ 269174 w 5734864"/>
              <a:gd name="connsiteY138" fmla="*/ 5230835 h 6858000"/>
              <a:gd name="connsiteX139" fmla="*/ 272679 w 5734864"/>
              <a:gd name="connsiteY139" fmla="*/ 5232660 h 6858000"/>
              <a:gd name="connsiteX140" fmla="*/ 272160 w 5734864"/>
              <a:gd name="connsiteY140" fmla="*/ 5241150 h 6858000"/>
              <a:gd name="connsiteX141" fmla="*/ 272760 w 5734864"/>
              <a:gd name="connsiteY141" fmla="*/ 5243156 h 6858000"/>
              <a:gd name="connsiteX142" fmla="*/ 275462 w 5734864"/>
              <a:gd name="connsiteY142" fmla="*/ 5254919 h 6858000"/>
              <a:gd name="connsiteX143" fmla="*/ 262897 w 5734864"/>
              <a:gd name="connsiteY143" fmla="*/ 5286259 h 6858000"/>
              <a:gd name="connsiteX144" fmla="*/ 252761 w 5734864"/>
              <a:gd name="connsiteY144" fmla="*/ 5357801 h 6858000"/>
              <a:gd name="connsiteX145" fmla="*/ 242360 w 5734864"/>
              <a:gd name="connsiteY145" fmla="*/ 5460080 h 6858000"/>
              <a:gd name="connsiteX146" fmla="*/ 229880 w 5734864"/>
              <a:gd name="connsiteY146" fmla="*/ 5539714 h 6858000"/>
              <a:gd name="connsiteX147" fmla="*/ 204283 w 5734864"/>
              <a:gd name="connsiteY147" fmla="*/ 5639080 h 6858000"/>
              <a:gd name="connsiteX148" fmla="*/ 198948 w 5734864"/>
              <a:gd name="connsiteY148" fmla="*/ 5710958 h 6858000"/>
              <a:gd name="connsiteX149" fmla="*/ 192367 w 5734864"/>
              <a:gd name="connsiteY149" fmla="*/ 5719859 h 6858000"/>
              <a:gd name="connsiteX150" fmla="*/ 188035 w 5734864"/>
              <a:gd name="connsiteY150" fmla="*/ 5729935 h 6858000"/>
              <a:gd name="connsiteX151" fmla="*/ 188428 w 5734864"/>
              <a:gd name="connsiteY151" fmla="*/ 5731182 h 6858000"/>
              <a:gd name="connsiteX152" fmla="*/ 181635 w 5734864"/>
              <a:gd name="connsiteY152" fmla="*/ 5753538 h 6858000"/>
              <a:gd name="connsiteX153" fmla="*/ 169744 w 5734864"/>
              <a:gd name="connsiteY153" fmla="*/ 5796307 h 6858000"/>
              <a:gd name="connsiteX154" fmla="*/ 170351 w 5734864"/>
              <a:gd name="connsiteY154" fmla="*/ 5796644 h 6858000"/>
              <a:gd name="connsiteX155" fmla="*/ 171559 w 5734864"/>
              <a:gd name="connsiteY155" fmla="*/ 5803435 h 6858000"/>
              <a:gd name="connsiteX156" fmla="*/ 172284 w 5734864"/>
              <a:gd name="connsiteY156" fmla="*/ 5816391 h 6858000"/>
              <a:gd name="connsiteX157" fmla="*/ 182542 w 5734864"/>
              <a:gd name="connsiteY157" fmla="*/ 5846382 h 6858000"/>
              <a:gd name="connsiteX158" fmla="*/ 175877 w 5734864"/>
              <a:gd name="connsiteY158" fmla="*/ 5871336 h 6858000"/>
              <a:gd name="connsiteX159" fmla="*/ 174910 w 5734864"/>
              <a:gd name="connsiteY159" fmla="*/ 5876376 h 6858000"/>
              <a:gd name="connsiteX160" fmla="*/ 175047 w 5734864"/>
              <a:gd name="connsiteY160" fmla="*/ 5876483 h 6858000"/>
              <a:gd name="connsiteX161" fmla="*/ 174335 w 5734864"/>
              <a:gd name="connsiteY161" fmla="*/ 5881814 h 6858000"/>
              <a:gd name="connsiteX162" fmla="*/ 171273 w 5734864"/>
              <a:gd name="connsiteY162" fmla="*/ 5895339 h 6858000"/>
              <a:gd name="connsiteX163" fmla="*/ 171658 w 5734864"/>
              <a:gd name="connsiteY163" fmla="*/ 5898749 h 6858000"/>
              <a:gd name="connsiteX164" fmla="*/ 174658 w 5734864"/>
              <a:gd name="connsiteY164" fmla="*/ 5919558 h 6858000"/>
              <a:gd name="connsiteX165" fmla="*/ 169099 w 5734864"/>
              <a:gd name="connsiteY165" fmla="*/ 5984417 h 6858000"/>
              <a:gd name="connsiteX166" fmla="*/ 162007 w 5734864"/>
              <a:gd name="connsiteY166" fmla="*/ 6049043 h 6858000"/>
              <a:gd name="connsiteX167" fmla="*/ 156875 w 5734864"/>
              <a:gd name="connsiteY167" fmla="*/ 6114000 h 6858000"/>
              <a:gd name="connsiteX168" fmla="*/ 165441 w 5734864"/>
              <a:gd name="connsiteY168" fmla="*/ 6146938 h 6858000"/>
              <a:gd name="connsiteX169" fmla="*/ 165177 w 5734864"/>
              <a:gd name="connsiteY169" fmla="*/ 6150658 h 6858000"/>
              <a:gd name="connsiteX170" fmla="*/ 161772 w 5734864"/>
              <a:gd name="connsiteY170" fmla="*/ 6160011 h 6858000"/>
              <a:gd name="connsiteX171" fmla="*/ 160051 w 5734864"/>
              <a:gd name="connsiteY171" fmla="*/ 6163393 h 6858000"/>
              <a:gd name="connsiteX172" fmla="*/ 158473 w 5734864"/>
              <a:gd name="connsiteY172" fmla="*/ 6168628 h 6858000"/>
              <a:gd name="connsiteX173" fmla="*/ 158573 w 5734864"/>
              <a:gd name="connsiteY173" fmla="*/ 6168799 h 6858000"/>
              <a:gd name="connsiteX174" fmla="*/ 146463 w 5734864"/>
              <a:gd name="connsiteY174" fmla="*/ 6196671 h 6858000"/>
              <a:gd name="connsiteX175" fmla="*/ 150209 w 5734864"/>
              <a:gd name="connsiteY175" fmla="*/ 6232365 h 6858000"/>
              <a:gd name="connsiteX176" fmla="*/ 148544 w 5734864"/>
              <a:gd name="connsiteY176" fmla="*/ 6246162 h 6858000"/>
              <a:gd name="connsiteX177" fmla="*/ 148403 w 5734864"/>
              <a:gd name="connsiteY177" fmla="*/ 6253754 h 6858000"/>
              <a:gd name="connsiteX178" fmla="*/ 138880 w 5734864"/>
              <a:gd name="connsiteY178" fmla="*/ 6276449 h 6858000"/>
              <a:gd name="connsiteX179" fmla="*/ 138683 w 5734864"/>
              <a:gd name="connsiteY179" fmla="*/ 6279721 h 6858000"/>
              <a:gd name="connsiteX180" fmla="*/ 130721 w 5734864"/>
              <a:gd name="connsiteY180" fmla="*/ 6293675 h 6858000"/>
              <a:gd name="connsiteX181" fmla="*/ 120717 w 5734864"/>
              <a:gd name="connsiteY181" fmla="*/ 6313967 h 6858000"/>
              <a:gd name="connsiteX182" fmla="*/ 120841 w 5734864"/>
              <a:gd name="connsiteY182" fmla="*/ 6315437 h 6858000"/>
              <a:gd name="connsiteX183" fmla="*/ 115208 w 5734864"/>
              <a:gd name="connsiteY183" fmla="*/ 6324024 h 6858000"/>
              <a:gd name="connsiteX184" fmla="*/ 101217 w 5734864"/>
              <a:gd name="connsiteY184" fmla="*/ 6365923 h 6858000"/>
              <a:gd name="connsiteX185" fmla="*/ 74946 w 5734864"/>
              <a:gd name="connsiteY185" fmla="*/ 6556817 h 6858000"/>
              <a:gd name="connsiteX186" fmla="*/ 16001 w 5734864"/>
              <a:gd name="connsiteY186" fmla="*/ 6808678 h 6858000"/>
              <a:gd name="connsiteX187" fmla="*/ 0 w 5734864"/>
              <a:gd name="connsiteY187" fmla="*/ 6858000 h 6858000"/>
              <a:gd name="connsiteX188" fmla="*/ 5734864 w 5734864"/>
              <a:gd name="connsiteY188" fmla="*/ 6858000 h 6858000"/>
              <a:gd name="connsiteX0" fmla="*/ 5734864 w 5734864"/>
              <a:gd name="connsiteY0" fmla="*/ 0 h 6858000"/>
              <a:gd name="connsiteX1" fmla="*/ 771611 w 5734864"/>
              <a:gd name="connsiteY1" fmla="*/ 0 h 6858000"/>
              <a:gd name="connsiteX2" fmla="*/ 771679 w 5734864"/>
              <a:gd name="connsiteY2" fmla="*/ 49108 h 6858000"/>
              <a:gd name="connsiteX3" fmla="*/ 794248 w 5734864"/>
              <a:gd name="connsiteY3" fmla="*/ 200968 h 6858000"/>
              <a:gd name="connsiteX4" fmla="*/ 801749 w 5734864"/>
              <a:gd name="connsiteY4" fmla="*/ 414071 h 6858000"/>
              <a:gd name="connsiteX5" fmla="*/ 818548 w 5734864"/>
              <a:gd name="connsiteY5" fmla="*/ 585467 h 6858000"/>
              <a:gd name="connsiteX6" fmla="*/ 857476 w 5734864"/>
              <a:gd name="connsiteY6" fmla="*/ 800623 h 6858000"/>
              <a:gd name="connsiteX7" fmla="*/ 851083 w 5734864"/>
              <a:gd name="connsiteY7" fmla="*/ 878903 h 6858000"/>
              <a:gd name="connsiteX8" fmla="*/ 873564 w 5734864"/>
              <a:gd name="connsiteY8" fmla="*/ 943826 h 6858000"/>
              <a:gd name="connsiteX9" fmla="*/ 864705 w 5734864"/>
              <a:gd name="connsiteY9" fmla="*/ 973328 h 6858000"/>
              <a:gd name="connsiteX10" fmla="*/ 862869 w 5734864"/>
              <a:gd name="connsiteY10" fmla="*/ 978457 h 6858000"/>
              <a:gd name="connsiteX11" fmla="*/ 862233 w 5734864"/>
              <a:gd name="connsiteY11" fmla="*/ 998041 h 6858000"/>
              <a:gd name="connsiteX12" fmla="*/ 853665 w 5734864"/>
              <a:gd name="connsiteY12" fmla="*/ 1004750 h 6858000"/>
              <a:gd name="connsiteX13" fmla="*/ 846695 w 5734864"/>
              <a:gd name="connsiteY13" fmla="*/ 1035077 h 6858000"/>
              <a:gd name="connsiteX14" fmla="*/ 847865 w 5734864"/>
              <a:gd name="connsiteY14" fmla="*/ 1070795 h 6858000"/>
              <a:gd name="connsiteX15" fmla="*/ 862786 w 5734864"/>
              <a:gd name="connsiteY15" fmla="*/ 1238994 h 6858000"/>
              <a:gd name="connsiteX16" fmla="*/ 859345 w 5734864"/>
              <a:gd name="connsiteY16" fmla="*/ 1380427 h 6858000"/>
              <a:gd name="connsiteX17" fmla="*/ 855172 w 5734864"/>
              <a:gd name="connsiteY17" fmla="*/ 1435262 h 6858000"/>
              <a:gd name="connsiteX18" fmla="*/ 860494 w 5734864"/>
              <a:gd name="connsiteY18" fmla="*/ 1453861 h 6858000"/>
              <a:gd name="connsiteX19" fmla="*/ 853731 w 5734864"/>
              <a:gd name="connsiteY19" fmla="*/ 1467047 h 6858000"/>
              <a:gd name="connsiteX20" fmla="*/ 845847 w 5734864"/>
              <a:gd name="connsiteY20" fmla="*/ 1502307 h 6858000"/>
              <a:gd name="connsiteX21" fmla="*/ 817613 w 5734864"/>
              <a:gd name="connsiteY21" fmla="*/ 1565166 h 6858000"/>
              <a:gd name="connsiteX22" fmla="*/ 804223 w 5734864"/>
              <a:gd name="connsiteY22" fmla="*/ 1601941 h 6858000"/>
              <a:gd name="connsiteX23" fmla="*/ 791773 w 5734864"/>
              <a:gd name="connsiteY23" fmla="*/ 1627005 h 6858000"/>
              <a:gd name="connsiteX24" fmla="*/ 774645 w 5734864"/>
              <a:gd name="connsiteY24" fmla="*/ 1699922 h 6858000"/>
              <a:gd name="connsiteX25" fmla="*/ 752343 w 5734864"/>
              <a:gd name="connsiteY25" fmla="*/ 1824604 h 6858000"/>
              <a:gd name="connsiteX26" fmla="*/ 746254 w 5734864"/>
              <a:gd name="connsiteY26" fmla="*/ 1850222 h 6858000"/>
              <a:gd name="connsiteX27" fmla="*/ 728600 w 5734864"/>
              <a:gd name="connsiteY27" fmla="*/ 1869603 h 6858000"/>
              <a:gd name="connsiteX28" fmla="*/ 724396 w 5734864"/>
              <a:gd name="connsiteY28" fmla="*/ 1883104 h 6858000"/>
              <a:gd name="connsiteX29" fmla="*/ 722165 w 5734864"/>
              <a:gd name="connsiteY29" fmla="*/ 1885924 h 6858000"/>
              <a:gd name="connsiteX30" fmla="*/ 721338 w 5734864"/>
              <a:gd name="connsiteY30" fmla="*/ 1887123 h 6858000"/>
              <a:gd name="connsiteX31" fmla="*/ 714840 w 5734864"/>
              <a:gd name="connsiteY31" fmla="*/ 1902274 h 6858000"/>
              <a:gd name="connsiteX32" fmla="*/ 722847 w 5734864"/>
              <a:gd name="connsiteY32" fmla="*/ 1929891 h 6858000"/>
              <a:gd name="connsiteX33" fmla="*/ 714660 w 5734864"/>
              <a:gd name="connsiteY33" fmla="*/ 1982709 h 6858000"/>
              <a:gd name="connsiteX34" fmla="*/ 710759 w 5734864"/>
              <a:gd name="connsiteY34" fmla="*/ 2013010 h 6858000"/>
              <a:gd name="connsiteX35" fmla="*/ 697927 w 5734864"/>
              <a:gd name="connsiteY35" fmla="*/ 2069833 h 6858000"/>
              <a:gd name="connsiteX36" fmla="*/ 693594 w 5734864"/>
              <a:gd name="connsiteY36" fmla="*/ 2103731 h 6858000"/>
              <a:gd name="connsiteX37" fmla="*/ 691109 w 5734864"/>
              <a:gd name="connsiteY37" fmla="*/ 2124027 h 6858000"/>
              <a:gd name="connsiteX38" fmla="*/ 676593 w 5734864"/>
              <a:gd name="connsiteY38" fmla="*/ 2176182 h 6858000"/>
              <a:gd name="connsiteX39" fmla="*/ 633227 w 5734864"/>
              <a:gd name="connsiteY39" fmla="*/ 2258036 h 6858000"/>
              <a:gd name="connsiteX40" fmla="*/ 625564 w 5734864"/>
              <a:gd name="connsiteY40" fmla="*/ 2284567 h 6858000"/>
              <a:gd name="connsiteX41" fmla="*/ 627074 w 5734864"/>
              <a:gd name="connsiteY41" fmla="*/ 2289605 h 6858000"/>
              <a:gd name="connsiteX42" fmla="*/ 614574 w 5734864"/>
              <a:gd name="connsiteY42" fmla="*/ 2308717 h 6858000"/>
              <a:gd name="connsiteX43" fmla="*/ 606890 w 5734864"/>
              <a:gd name="connsiteY43" fmla="*/ 2320662 h 6858000"/>
              <a:gd name="connsiteX44" fmla="*/ 605558 w 5734864"/>
              <a:gd name="connsiteY44" fmla="*/ 2327897 h 6858000"/>
              <a:gd name="connsiteX45" fmla="*/ 602202 w 5734864"/>
              <a:gd name="connsiteY45" fmla="*/ 2357749 h 6858000"/>
              <a:gd name="connsiteX46" fmla="*/ 600213 w 5734864"/>
              <a:gd name="connsiteY46" fmla="*/ 2364905 h 6858000"/>
              <a:gd name="connsiteX47" fmla="*/ 597160 w 5734864"/>
              <a:gd name="connsiteY47" fmla="*/ 2388351 h 6858000"/>
              <a:gd name="connsiteX48" fmla="*/ 597982 w 5734864"/>
              <a:gd name="connsiteY48" fmla="*/ 2402296 h 6858000"/>
              <a:gd name="connsiteX49" fmla="*/ 593150 w 5734864"/>
              <a:gd name="connsiteY49" fmla="*/ 2420015 h 6858000"/>
              <a:gd name="connsiteX50" fmla="*/ 592833 w 5734864"/>
              <a:gd name="connsiteY50" fmla="*/ 2422749 h 6858000"/>
              <a:gd name="connsiteX51" fmla="*/ 594479 w 5734864"/>
              <a:gd name="connsiteY51" fmla="*/ 2426002 h 6858000"/>
              <a:gd name="connsiteX52" fmla="*/ 591963 w 5734864"/>
              <a:gd name="connsiteY52" fmla="*/ 2431950 h 6858000"/>
              <a:gd name="connsiteX53" fmla="*/ 591544 w 5734864"/>
              <a:gd name="connsiteY53" fmla="*/ 2433897 h 6858000"/>
              <a:gd name="connsiteX54" fmla="*/ 589519 w 5734864"/>
              <a:gd name="connsiteY54" fmla="*/ 2451398 h 6858000"/>
              <a:gd name="connsiteX55" fmla="*/ 590037 w 5734864"/>
              <a:gd name="connsiteY55" fmla="*/ 2455536 h 6858000"/>
              <a:gd name="connsiteX56" fmla="*/ 588179 w 5734864"/>
              <a:gd name="connsiteY56" fmla="*/ 2462981 h 6858000"/>
              <a:gd name="connsiteX57" fmla="*/ 583434 w 5734864"/>
              <a:gd name="connsiteY57" fmla="*/ 2503991 h 6858000"/>
              <a:gd name="connsiteX58" fmla="*/ 567942 w 5734864"/>
              <a:gd name="connsiteY58" fmla="*/ 2652936 h 6858000"/>
              <a:gd name="connsiteX59" fmla="*/ 573869 w 5734864"/>
              <a:gd name="connsiteY59" fmla="*/ 2670188 h 6858000"/>
              <a:gd name="connsiteX60" fmla="*/ 575243 w 5734864"/>
              <a:gd name="connsiteY60" fmla="*/ 2688114 h 6858000"/>
              <a:gd name="connsiteX61" fmla="*/ 573824 w 5734864"/>
              <a:gd name="connsiteY61" fmla="*/ 2689856 h 6858000"/>
              <a:gd name="connsiteX62" fmla="*/ 570699 w 5734864"/>
              <a:gd name="connsiteY62" fmla="*/ 2709353 h 6858000"/>
              <a:gd name="connsiteX63" fmla="*/ 573192 w 5734864"/>
              <a:gd name="connsiteY63" fmla="*/ 2714527 h 6858000"/>
              <a:gd name="connsiteX64" fmla="*/ 572044 w 5734864"/>
              <a:gd name="connsiteY64" fmla="*/ 2728187 h 6858000"/>
              <a:gd name="connsiteX65" fmla="*/ 572465 w 5734864"/>
              <a:gd name="connsiteY65" fmla="*/ 2755863 h 6858000"/>
              <a:gd name="connsiteX66" fmla="*/ 570028 w 5734864"/>
              <a:gd name="connsiteY66" fmla="*/ 2760324 h 6858000"/>
              <a:gd name="connsiteX67" fmla="*/ 566748 w 5734864"/>
              <a:gd name="connsiteY67" fmla="*/ 2800948 h 6858000"/>
              <a:gd name="connsiteX68" fmla="*/ 565509 w 5734864"/>
              <a:gd name="connsiteY68" fmla="*/ 2801167 h 6858000"/>
              <a:gd name="connsiteX69" fmla="*/ 559367 w 5734864"/>
              <a:gd name="connsiteY69" fmla="*/ 2811129 h 6858000"/>
              <a:gd name="connsiteX70" fmla="*/ 550354 w 5734864"/>
              <a:gd name="connsiteY70" fmla="*/ 2830949 h 6858000"/>
              <a:gd name="connsiteX71" fmla="*/ 514795 w 5734864"/>
              <a:gd name="connsiteY71" fmla="*/ 2872433 h 6858000"/>
              <a:gd name="connsiteX72" fmla="*/ 509875 w 5734864"/>
              <a:gd name="connsiteY72" fmla="*/ 2923099 h 6858000"/>
              <a:gd name="connsiteX73" fmla="*/ 509577 w 5734864"/>
              <a:gd name="connsiteY73" fmla="*/ 2923197 h 6858000"/>
              <a:gd name="connsiteX74" fmla="*/ 507597 w 5734864"/>
              <a:gd name="connsiteY74" fmla="*/ 2931868 h 6858000"/>
              <a:gd name="connsiteX75" fmla="*/ 507379 w 5734864"/>
              <a:gd name="connsiteY75" fmla="*/ 2938322 h 6858000"/>
              <a:gd name="connsiteX76" fmla="*/ 504725 w 5734864"/>
              <a:gd name="connsiteY76" fmla="*/ 2954519 h 6858000"/>
              <a:gd name="connsiteX77" fmla="*/ 502018 w 5734864"/>
              <a:gd name="connsiteY77" fmla="*/ 2959643 h 6858000"/>
              <a:gd name="connsiteX78" fmla="*/ 498360 w 5734864"/>
              <a:gd name="connsiteY78" fmla="*/ 2961019 h 6858000"/>
              <a:gd name="connsiteX79" fmla="*/ 498483 w 5734864"/>
              <a:gd name="connsiteY79" fmla="*/ 2962590 h 6858000"/>
              <a:gd name="connsiteX80" fmla="*/ 484403 w 5734864"/>
              <a:gd name="connsiteY80" fmla="*/ 2990538 h 6858000"/>
              <a:gd name="connsiteX81" fmla="*/ 463075 w 5734864"/>
              <a:gd name="connsiteY81" fmla="*/ 3055956 h 6858000"/>
              <a:gd name="connsiteX82" fmla="*/ 455013 w 5734864"/>
              <a:gd name="connsiteY82" fmla="*/ 3094482 h 6858000"/>
              <a:gd name="connsiteX83" fmla="*/ 428391 w 5734864"/>
              <a:gd name="connsiteY83" fmla="*/ 3198850 h 6858000"/>
              <a:gd name="connsiteX84" fmla="*/ 401440 w 5734864"/>
              <a:gd name="connsiteY84" fmla="*/ 3307560 h 6858000"/>
              <a:gd name="connsiteX85" fmla="*/ 386076 w 5734864"/>
              <a:gd name="connsiteY85" fmla="*/ 3373943 h 6858000"/>
              <a:gd name="connsiteX86" fmla="*/ 374726 w 5734864"/>
              <a:gd name="connsiteY86" fmla="*/ 3381364 h 6858000"/>
              <a:gd name="connsiteX87" fmla="*/ 369145 w 5734864"/>
              <a:gd name="connsiteY87" fmla="*/ 3383729 h 6858000"/>
              <a:gd name="connsiteX88" fmla="*/ 364294 w 5734864"/>
              <a:gd name="connsiteY88" fmla="*/ 3414159 h 6858000"/>
              <a:gd name="connsiteX89" fmla="*/ 366450 w 5734864"/>
              <a:gd name="connsiteY89" fmla="*/ 3436925 h 6858000"/>
              <a:gd name="connsiteX90" fmla="*/ 351743 w 5734864"/>
              <a:gd name="connsiteY90" fmla="*/ 3521619 h 6858000"/>
              <a:gd name="connsiteX91" fmla="*/ 345784 w 5734864"/>
              <a:gd name="connsiteY91" fmla="*/ 3603757 h 6858000"/>
              <a:gd name="connsiteX92" fmla="*/ 344198 w 5734864"/>
              <a:gd name="connsiteY92" fmla="*/ 3652424 h 6858000"/>
              <a:gd name="connsiteX93" fmla="*/ 352450 w 5734864"/>
              <a:gd name="connsiteY93" fmla="*/ 3665222 h 6858000"/>
              <a:gd name="connsiteX94" fmla="*/ 342621 w 5734864"/>
              <a:gd name="connsiteY94" fmla="*/ 3700804 h 6858000"/>
              <a:gd name="connsiteX95" fmla="*/ 341514 w 5734864"/>
              <a:gd name="connsiteY95" fmla="*/ 3734774 h 6858000"/>
              <a:gd name="connsiteX96" fmla="*/ 340607 w 5734864"/>
              <a:gd name="connsiteY96" fmla="*/ 3785153 h 6858000"/>
              <a:gd name="connsiteX97" fmla="*/ 340707 w 5734864"/>
              <a:gd name="connsiteY97" fmla="*/ 3788177 h 6858000"/>
              <a:gd name="connsiteX98" fmla="*/ 340361 w 5734864"/>
              <a:gd name="connsiteY98" fmla="*/ 3798803 h 6858000"/>
              <a:gd name="connsiteX99" fmla="*/ 339642 w 5734864"/>
              <a:gd name="connsiteY99" fmla="*/ 3838750 h 6858000"/>
              <a:gd name="connsiteX100" fmla="*/ 360295 w 5734864"/>
              <a:gd name="connsiteY100" fmla="*/ 4015196 h 6858000"/>
              <a:gd name="connsiteX101" fmla="*/ 339043 w 5734864"/>
              <a:gd name="connsiteY101" fmla="*/ 4052778 h 6858000"/>
              <a:gd name="connsiteX102" fmla="*/ 339343 w 5734864"/>
              <a:gd name="connsiteY102" fmla="*/ 4096257 h 6858000"/>
              <a:gd name="connsiteX103" fmla="*/ 340786 w 5734864"/>
              <a:gd name="connsiteY103" fmla="*/ 4321136 h 6858000"/>
              <a:gd name="connsiteX104" fmla="*/ 343158 w 5734864"/>
              <a:gd name="connsiteY104" fmla="*/ 4429174 h 6858000"/>
              <a:gd name="connsiteX105" fmla="*/ 334599 w 5734864"/>
              <a:gd name="connsiteY105" fmla="*/ 4449938 h 6858000"/>
              <a:gd name="connsiteX106" fmla="*/ 332890 w 5734864"/>
              <a:gd name="connsiteY106" fmla="*/ 4453515 h 6858000"/>
              <a:gd name="connsiteX107" fmla="*/ 331105 w 5734864"/>
              <a:gd name="connsiteY107" fmla="*/ 4467941 h 6858000"/>
              <a:gd name="connsiteX108" fmla="*/ 324289 w 5734864"/>
              <a:gd name="connsiteY108" fmla="*/ 4471861 h 6858000"/>
              <a:gd name="connsiteX109" fmla="*/ 317079 w 5734864"/>
              <a:gd name="connsiteY109" fmla="*/ 4493468 h 6858000"/>
              <a:gd name="connsiteX110" fmla="*/ 315557 w 5734864"/>
              <a:gd name="connsiteY110" fmla="*/ 4520067 h 6858000"/>
              <a:gd name="connsiteX111" fmla="*/ 315240 w 5734864"/>
              <a:gd name="connsiteY111" fmla="*/ 4536872 h 6858000"/>
              <a:gd name="connsiteX112" fmla="*/ 316200 w 5734864"/>
              <a:gd name="connsiteY112" fmla="*/ 4538297 h 6858000"/>
              <a:gd name="connsiteX113" fmla="*/ 317507 w 5734864"/>
              <a:gd name="connsiteY113" fmla="*/ 4547582 h 6858000"/>
              <a:gd name="connsiteX114" fmla="*/ 323078 w 5734864"/>
              <a:gd name="connsiteY114" fmla="*/ 4592102 h 6858000"/>
              <a:gd name="connsiteX115" fmla="*/ 328722 w 5734864"/>
              <a:gd name="connsiteY115" fmla="*/ 4667914 h 6858000"/>
              <a:gd name="connsiteX116" fmla="*/ 335597 w 5734864"/>
              <a:gd name="connsiteY116" fmla="*/ 4695035 h 6858000"/>
              <a:gd name="connsiteX117" fmla="*/ 339485 w 5734864"/>
              <a:gd name="connsiteY117" fmla="*/ 4695979 h 6858000"/>
              <a:gd name="connsiteX118" fmla="*/ 341089 w 5734864"/>
              <a:gd name="connsiteY118" fmla="*/ 4704268 h 6858000"/>
              <a:gd name="connsiteX119" fmla="*/ 342177 w 5734864"/>
              <a:gd name="connsiteY119" fmla="*/ 4706060 h 6858000"/>
              <a:gd name="connsiteX120" fmla="*/ 347751 w 5734864"/>
              <a:gd name="connsiteY120" fmla="*/ 4716754 h 6858000"/>
              <a:gd name="connsiteX121" fmla="*/ 344125 w 5734864"/>
              <a:gd name="connsiteY121" fmla="*/ 4764669 h 6858000"/>
              <a:gd name="connsiteX122" fmla="*/ 340188 w 5734864"/>
              <a:gd name="connsiteY122" fmla="*/ 4779386 h 6858000"/>
              <a:gd name="connsiteX123" fmla="*/ 335146 w 5734864"/>
              <a:gd name="connsiteY123" fmla="*/ 4787491 h 6858000"/>
              <a:gd name="connsiteX124" fmla="*/ 319124 w 5734864"/>
              <a:gd name="connsiteY124" fmla="*/ 4843514 h 6858000"/>
              <a:gd name="connsiteX125" fmla="*/ 305956 w 5734864"/>
              <a:gd name="connsiteY125" fmla="*/ 4881505 h 6858000"/>
              <a:gd name="connsiteX126" fmla="*/ 301062 w 5734864"/>
              <a:gd name="connsiteY126" fmla="*/ 4889332 h 6858000"/>
              <a:gd name="connsiteX127" fmla="*/ 302141 w 5734864"/>
              <a:gd name="connsiteY127" fmla="*/ 4899400 h 6858000"/>
              <a:gd name="connsiteX128" fmla="*/ 304424 w 5734864"/>
              <a:gd name="connsiteY128" fmla="*/ 4902664 h 6858000"/>
              <a:gd name="connsiteX129" fmla="*/ 293123 w 5734864"/>
              <a:gd name="connsiteY129" fmla="*/ 4932769 h 6858000"/>
              <a:gd name="connsiteX130" fmla="*/ 292275 w 5734864"/>
              <a:gd name="connsiteY130" fmla="*/ 4936482 h 6858000"/>
              <a:gd name="connsiteX131" fmla="*/ 288304 w 5734864"/>
              <a:gd name="connsiteY131" fmla="*/ 4962325 h 6858000"/>
              <a:gd name="connsiteX132" fmla="*/ 287420 w 5734864"/>
              <a:gd name="connsiteY132" fmla="*/ 5042193 h 6858000"/>
              <a:gd name="connsiteX133" fmla="*/ 287020 w 5734864"/>
              <a:gd name="connsiteY133" fmla="*/ 5065655 h 6858000"/>
              <a:gd name="connsiteX134" fmla="*/ 288488 w 5734864"/>
              <a:gd name="connsiteY134" fmla="*/ 5082216 h 6858000"/>
              <a:gd name="connsiteX135" fmla="*/ 282763 w 5734864"/>
              <a:gd name="connsiteY135" fmla="*/ 5127114 h 6858000"/>
              <a:gd name="connsiteX136" fmla="*/ 269316 w 5734864"/>
              <a:gd name="connsiteY136" fmla="*/ 5202682 h 6858000"/>
              <a:gd name="connsiteX137" fmla="*/ 269174 w 5734864"/>
              <a:gd name="connsiteY137" fmla="*/ 5230835 h 6858000"/>
              <a:gd name="connsiteX138" fmla="*/ 272679 w 5734864"/>
              <a:gd name="connsiteY138" fmla="*/ 5232660 h 6858000"/>
              <a:gd name="connsiteX139" fmla="*/ 272160 w 5734864"/>
              <a:gd name="connsiteY139" fmla="*/ 5241150 h 6858000"/>
              <a:gd name="connsiteX140" fmla="*/ 272760 w 5734864"/>
              <a:gd name="connsiteY140" fmla="*/ 5243156 h 6858000"/>
              <a:gd name="connsiteX141" fmla="*/ 275462 w 5734864"/>
              <a:gd name="connsiteY141" fmla="*/ 5254919 h 6858000"/>
              <a:gd name="connsiteX142" fmla="*/ 262897 w 5734864"/>
              <a:gd name="connsiteY142" fmla="*/ 5286259 h 6858000"/>
              <a:gd name="connsiteX143" fmla="*/ 252761 w 5734864"/>
              <a:gd name="connsiteY143" fmla="*/ 5357801 h 6858000"/>
              <a:gd name="connsiteX144" fmla="*/ 242360 w 5734864"/>
              <a:gd name="connsiteY144" fmla="*/ 5460080 h 6858000"/>
              <a:gd name="connsiteX145" fmla="*/ 229880 w 5734864"/>
              <a:gd name="connsiteY145" fmla="*/ 5539714 h 6858000"/>
              <a:gd name="connsiteX146" fmla="*/ 204283 w 5734864"/>
              <a:gd name="connsiteY146" fmla="*/ 5639080 h 6858000"/>
              <a:gd name="connsiteX147" fmla="*/ 198948 w 5734864"/>
              <a:gd name="connsiteY147" fmla="*/ 5710958 h 6858000"/>
              <a:gd name="connsiteX148" fmla="*/ 192367 w 5734864"/>
              <a:gd name="connsiteY148" fmla="*/ 5719859 h 6858000"/>
              <a:gd name="connsiteX149" fmla="*/ 188035 w 5734864"/>
              <a:gd name="connsiteY149" fmla="*/ 5729935 h 6858000"/>
              <a:gd name="connsiteX150" fmla="*/ 188428 w 5734864"/>
              <a:gd name="connsiteY150" fmla="*/ 5731182 h 6858000"/>
              <a:gd name="connsiteX151" fmla="*/ 181635 w 5734864"/>
              <a:gd name="connsiteY151" fmla="*/ 5753538 h 6858000"/>
              <a:gd name="connsiteX152" fmla="*/ 169744 w 5734864"/>
              <a:gd name="connsiteY152" fmla="*/ 5796307 h 6858000"/>
              <a:gd name="connsiteX153" fmla="*/ 170351 w 5734864"/>
              <a:gd name="connsiteY153" fmla="*/ 5796644 h 6858000"/>
              <a:gd name="connsiteX154" fmla="*/ 171559 w 5734864"/>
              <a:gd name="connsiteY154" fmla="*/ 5803435 h 6858000"/>
              <a:gd name="connsiteX155" fmla="*/ 172284 w 5734864"/>
              <a:gd name="connsiteY155" fmla="*/ 5816391 h 6858000"/>
              <a:gd name="connsiteX156" fmla="*/ 182542 w 5734864"/>
              <a:gd name="connsiteY156" fmla="*/ 5846382 h 6858000"/>
              <a:gd name="connsiteX157" fmla="*/ 175877 w 5734864"/>
              <a:gd name="connsiteY157" fmla="*/ 5871336 h 6858000"/>
              <a:gd name="connsiteX158" fmla="*/ 174910 w 5734864"/>
              <a:gd name="connsiteY158" fmla="*/ 5876376 h 6858000"/>
              <a:gd name="connsiteX159" fmla="*/ 175047 w 5734864"/>
              <a:gd name="connsiteY159" fmla="*/ 5876483 h 6858000"/>
              <a:gd name="connsiteX160" fmla="*/ 174335 w 5734864"/>
              <a:gd name="connsiteY160" fmla="*/ 5881814 h 6858000"/>
              <a:gd name="connsiteX161" fmla="*/ 171273 w 5734864"/>
              <a:gd name="connsiteY161" fmla="*/ 5895339 h 6858000"/>
              <a:gd name="connsiteX162" fmla="*/ 171658 w 5734864"/>
              <a:gd name="connsiteY162" fmla="*/ 5898749 h 6858000"/>
              <a:gd name="connsiteX163" fmla="*/ 174658 w 5734864"/>
              <a:gd name="connsiteY163" fmla="*/ 5919558 h 6858000"/>
              <a:gd name="connsiteX164" fmla="*/ 169099 w 5734864"/>
              <a:gd name="connsiteY164" fmla="*/ 5984417 h 6858000"/>
              <a:gd name="connsiteX165" fmla="*/ 162007 w 5734864"/>
              <a:gd name="connsiteY165" fmla="*/ 6049043 h 6858000"/>
              <a:gd name="connsiteX166" fmla="*/ 156875 w 5734864"/>
              <a:gd name="connsiteY166" fmla="*/ 6114000 h 6858000"/>
              <a:gd name="connsiteX167" fmla="*/ 165441 w 5734864"/>
              <a:gd name="connsiteY167" fmla="*/ 6146938 h 6858000"/>
              <a:gd name="connsiteX168" fmla="*/ 165177 w 5734864"/>
              <a:gd name="connsiteY168" fmla="*/ 6150658 h 6858000"/>
              <a:gd name="connsiteX169" fmla="*/ 161772 w 5734864"/>
              <a:gd name="connsiteY169" fmla="*/ 6160011 h 6858000"/>
              <a:gd name="connsiteX170" fmla="*/ 160051 w 5734864"/>
              <a:gd name="connsiteY170" fmla="*/ 6163393 h 6858000"/>
              <a:gd name="connsiteX171" fmla="*/ 158473 w 5734864"/>
              <a:gd name="connsiteY171" fmla="*/ 6168628 h 6858000"/>
              <a:gd name="connsiteX172" fmla="*/ 158573 w 5734864"/>
              <a:gd name="connsiteY172" fmla="*/ 6168799 h 6858000"/>
              <a:gd name="connsiteX173" fmla="*/ 146463 w 5734864"/>
              <a:gd name="connsiteY173" fmla="*/ 6196671 h 6858000"/>
              <a:gd name="connsiteX174" fmla="*/ 150209 w 5734864"/>
              <a:gd name="connsiteY174" fmla="*/ 6232365 h 6858000"/>
              <a:gd name="connsiteX175" fmla="*/ 148544 w 5734864"/>
              <a:gd name="connsiteY175" fmla="*/ 6246162 h 6858000"/>
              <a:gd name="connsiteX176" fmla="*/ 148403 w 5734864"/>
              <a:gd name="connsiteY176" fmla="*/ 6253754 h 6858000"/>
              <a:gd name="connsiteX177" fmla="*/ 138880 w 5734864"/>
              <a:gd name="connsiteY177" fmla="*/ 6276449 h 6858000"/>
              <a:gd name="connsiteX178" fmla="*/ 138683 w 5734864"/>
              <a:gd name="connsiteY178" fmla="*/ 6279721 h 6858000"/>
              <a:gd name="connsiteX179" fmla="*/ 130721 w 5734864"/>
              <a:gd name="connsiteY179" fmla="*/ 6293675 h 6858000"/>
              <a:gd name="connsiteX180" fmla="*/ 120717 w 5734864"/>
              <a:gd name="connsiteY180" fmla="*/ 6313967 h 6858000"/>
              <a:gd name="connsiteX181" fmla="*/ 120841 w 5734864"/>
              <a:gd name="connsiteY181" fmla="*/ 6315437 h 6858000"/>
              <a:gd name="connsiteX182" fmla="*/ 115208 w 5734864"/>
              <a:gd name="connsiteY182" fmla="*/ 6324024 h 6858000"/>
              <a:gd name="connsiteX183" fmla="*/ 101217 w 5734864"/>
              <a:gd name="connsiteY183" fmla="*/ 6365923 h 6858000"/>
              <a:gd name="connsiteX184" fmla="*/ 74946 w 5734864"/>
              <a:gd name="connsiteY184" fmla="*/ 6556817 h 6858000"/>
              <a:gd name="connsiteX185" fmla="*/ 16001 w 5734864"/>
              <a:gd name="connsiteY185" fmla="*/ 6808678 h 6858000"/>
              <a:gd name="connsiteX186" fmla="*/ 0 w 5734864"/>
              <a:gd name="connsiteY186" fmla="*/ 6858000 h 6858000"/>
              <a:gd name="connsiteX187" fmla="*/ 5734864 w 5734864"/>
              <a:gd name="connsiteY187" fmla="*/ 6858000 h 6858000"/>
              <a:gd name="connsiteX188" fmla="*/ 5734864 w 5734864"/>
              <a:gd name="connsiteY188" fmla="*/ 0 h 6858000"/>
              <a:gd name="connsiteX0" fmla="*/ 5734864 w 5734864"/>
              <a:gd name="connsiteY0" fmla="*/ 0 h 6858000"/>
              <a:gd name="connsiteX1" fmla="*/ 771611 w 5734864"/>
              <a:gd name="connsiteY1" fmla="*/ 0 h 6858000"/>
              <a:gd name="connsiteX2" fmla="*/ 771679 w 5734864"/>
              <a:gd name="connsiteY2" fmla="*/ 49108 h 6858000"/>
              <a:gd name="connsiteX3" fmla="*/ 794248 w 5734864"/>
              <a:gd name="connsiteY3" fmla="*/ 200968 h 6858000"/>
              <a:gd name="connsiteX4" fmla="*/ 801749 w 5734864"/>
              <a:gd name="connsiteY4" fmla="*/ 414071 h 6858000"/>
              <a:gd name="connsiteX5" fmla="*/ 818548 w 5734864"/>
              <a:gd name="connsiteY5" fmla="*/ 585467 h 6858000"/>
              <a:gd name="connsiteX6" fmla="*/ 857476 w 5734864"/>
              <a:gd name="connsiteY6" fmla="*/ 800623 h 6858000"/>
              <a:gd name="connsiteX7" fmla="*/ 851083 w 5734864"/>
              <a:gd name="connsiteY7" fmla="*/ 878903 h 6858000"/>
              <a:gd name="connsiteX8" fmla="*/ 873564 w 5734864"/>
              <a:gd name="connsiteY8" fmla="*/ 943826 h 6858000"/>
              <a:gd name="connsiteX9" fmla="*/ 864705 w 5734864"/>
              <a:gd name="connsiteY9" fmla="*/ 973328 h 6858000"/>
              <a:gd name="connsiteX10" fmla="*/ 862869 w 5734864"/>
              <a:gd name="connsiteY10" fmla="*/ 978457 h 6858000"/>
              <a:gd name="connsiteX11" fmla="*/ 862233 w 5734864"/>
              <a:gd name="connsiteY11" fmla="*/ 998041 h 6858000"/>
              <a:gd name="connsiteX12" fmla="*/ 853665 w 5734864"/>
              <a:gd name="connsiteY12" fmla="*/ 1004750 h 6858000"/>
              <a:gd name="connsiteX13" fmla="*/ 847865 w 5734864"/>
              <a:gd name="connsiteY13" fmla="*/ 1070795 h 6858000"/>
              <a:gd name="connsiteX14" fmla="*/ 862786 w 5734864"/>
              <a:gd name="connsiteY14" fmla="*/ 1238994 h 6858000"/>
              <a:gd name="connsiteX15" fmla="*/ 859345 w 5734864"/>
              <a:gd name="connsiteY15" fmla="*/ 1380427 h 6858000"/>
              <a:gd name="connsiteX16" fmla="*/ 855172 w 5734864"/>
              <a:gd name="connsiteY16" fmla="*/ 1435262 h 6858000"/>
              <a:gd name="connsiteX17" fmla="*/ 860494 w 5734864"/>
              <a:gd name="connsiteY17" fmla="*/ 1453861 h 6858000"/>
              <a:gd name="connsiteX18" fmla="*/ 853731 w 5734864"/>
              <a:gd name="connsiteY18" fmla="*/ 1467047 h 6858000"/>
              <a:gd name="connsiteX19" fmla="*/ 845847 w 5734864"/>
              <a:gd name="connsiteY19" fmla="*/ 1502307 h 6858000"/>
              <a:gd name="connsiteX20" fmla="*/ 817613 w 5734864"/>
              <a:gd name="connsiteY20" fmla="*/ 1565166 h 6858000"/>
              <a:gd name="connsiteX21" fmla="*/ 804223 w 5734864"/>
              <a:gd name="connsiteY21" fmla="*/ 1601941 h 6858000"/>
              <a:gd name="connsiteX22" fmla="*/ 791773 w 5734864"/>
              <a:gd name="connsiteY22" fmla="*/ 1627005 h 6858000"/>
              <a:gd name="connsiteX23" fmla="*/ 774645 w 5734864"/>
              <a:gd name="connsiteY23" fmla="*/ 1699922 h 6858000"/>
              <a:gd name="connsiteX24" fmla="*/ 752343 w 5734864"/>
              <a:gd name="connsiteY24" fmla="*/ 1824604 h 6858000"/>
              <a:gd name="connsiteX25" fmla="*/ 746254 w 5734864"/>
              <a:gd name="connsiteY25" fmla="*/ 1850222 h 6858000"/>
              <a:gd name="connsiteX26" fmla="*/ 728600 w 5734864"/>
              <a:gd name="connsiteY26" fmla="*/ 1869603 h 6858000"/>
              <a:gd name="connsiteX27" fmla="*/ 724396 w 5734864"/>
              <a:gd name="connsiteY27" fmla="*/ 1883104 h 6858000"/>
              <a:gd name="connsiteX28" fmla="*/ 722165 w 5734864"/>
              <a:gd name="connsiteY28" fmla="*/ 1885924 h 6858000"/>
              <a:gd name="connsiteX29" fmla="*/ 721338 w 5734864"/>
              <a:gd name="connsiteY29" fmla="*/ 1887123 h 6858000"/>
              <a:gd name="connsiteX30" fmla="*/ 714840 w 5734864"/>
              <a:gd name="connsiteY30" fmla="*/ 1902274 h 6858000"/>
              <a:gd name="connsiteX31" fmla="*/ 722847 w 5734864"/>
              <a:gd name="connsiteY31" fmla="*/ 1929891 h 6858000"/>
              <a:gd name="connsiteX32" fmla="*/ 714660 w 5734864"/>
              <a:gd name="connsiteY32" fmla="*/ 1982709 h 6858000"/>
              <a:gd name="connsiteX33" fmla="*/ 710759 w 5734864"/>
              <a:gd name="connsiteY33" fmla="*/ 2013010 h 6858000"/>
              <a:gd name="connsiteX34" fmla="*/ 697927 w 5734864"/>
              <a:gd name="connsiteY34" fmla="*/ 2069833 h 6858000"/>
              <a:gd name="connsiteX35" fmla="*/ 693594 w 5734864"/>
              <a:gd name="connsiteY35" fmla="*/ 2103731 h 6858000"/>
              <a:gd name="connsiteX36" fmla="*/ 691109 w 5734864"/>
              <a:gd name="connsiteY36" fmla="*/ 2124027 h 6858000"/>
              <a:gd name="connsiteX37" fmla="*/ 676593 w 5734864"/>
              <a:gd name="connsiteY37" fmla="*/ 2176182 h 6858000"/>
              <a:gd name="connsiteX38" fmla="*/ 633227 w 5734864"/>
              <a:gd name="connsiteY38" fmla="*/ 2258036 h 6858000"/>
              <a:gd name="connsiteX39" fmla="*/ 625564 w 5734864"/>
              <a:gd name="connsiteY39" fmla="*/ 2284567 h 6858000"/>
              <a:gd name="connsiteX40" fmla="*/ 627074 w 5734864"/>
              <a:gd name="connsiteY40" fmla="*/ 2289605 h 6858000"/>
              <a:gd name="connsiteX41" fmla="*/ 614574 w 5734864"/>
              <a:gd name="connsiteY41" fmla="*/ 2308717 h 6858000"/>
              <a:gd name="connsiteX42" fmla="*/ 606890 w 5734864"/>
              <a:gd name="connsiteY42" fmla="*/ 2320662 h 6858000"/>
              <a:gd name="connsiteX43" fmla="*/ 605558 w 5734864"/>
              <a:gd name="connsiteY43" fmla="*/ 2327897 h 6858000"/>
              <a:gd name="connsiteX44" fmla="*/ 602202 w 5734864"/>
              <a:gd name="connsiteY44" fmla="*/ 2357749 h 6858000"/>
              <a:gd name="connsiteX45" fmla="*/ 600213 w 5734864"/>
              <a:gd name="connsiteY45" fmla="*/ 2364905 h 6858000"/>
              <a:gd name="connsiteX46" fmla="*/ 597160 w 5734864"/>
              <a:gd name="connsiteY46" fmla="*/ 2388351 h 6858000"/>
              <a:gd name="connsiteX47" fmla="*/ 597982 w 5734864"/>
              <a:gd name="connsiteY47" fmla="*/ 2402296 h 6858000"/>
              <a:gd name="connsiteX48" fmla="*/ 593150 w 5734864"/>
              <a:gd name="connsiteY48" fmla="*/ 2420015 h 6858000"/>
              <a:gd name="connsiteX49" fmla="*/ 592833 w 5734864"/>
              <a:gd name="connsiteY49" fmla="*/ 2422749 h 6858000"/>
              <a:gd name="connsiteX50" fmla="*/ 594479 w 5734864"/>
              <a:gd name="connsiteY50" fmla="*/ 2426002 h 6858000"/>
              <a:gd name="connsiteX51" fmla="*/ 591963 w 5734864"/>
              <a:gd name="connsiteY51" fmla="*/ 2431950 h 6858000"/>
              <a:gd name="connsiteX52" fmla="*/ 591544 w 5734864"/>
              <a:gd name="connsiteY52" fmla="*/ 2433897 h 6858000"/>
              <a:gd name="connsiteX53" fmla="*/ 589519 w 5734864"/>
              <a:gd name="connsiteY53" fmla="*/ 2451398 h 6858000"/>
              <a:gd name="connsiteX54" fmla="*/ 590037 w 5734864"/>
              <a:gd name="connsiteY54" fmla="*/ 2455536 h 6858000"/>
              <a:gd name="connsiteX55" fmla="*/ 588179 w 5734864"/>
              <a:gd name="connsiteY55" fmla="*/ 2462981 h 6858000"/>
              <a:gd name="connsiteX56" fmla="*/ 583434 w 5734864"/>
              <a:gd name="connsiteY56" fmla="*/ 2503991 h 6858000"/>
              <a:gd name="connsiteX57" fmla="*/ 567942 w 5734864"/>
              <a:gd name="connsiteY57" fmla="*/ 2652936 h 6858000"/>
              <a:gd name="connsiteX58" fmla="*/ 573869 w 5734864"/>
              <a:gd name="connsiteY58" fmla="*/ 2670188 h 6858000"/>
              <a:gd name="connsiteX59" fmla="*/ 575243 w 5734864"/>
              <a:gd name="connsiteY59" fmla="*/ 2688114 h 6858000"/>
              <a:gd name="connsiteX60" fmla="*/ 573824 w 5734864"/>
              <a:gd name="connsiteY60" fmla="*/ 2689856 h 6858000"/>
              <a:gd name="connsiteX61" fmla="*/ 570699 w 5734864"/>
              <a:gd name="connsiteY61" fmla="*/ 2709353 h 6858000"/>
              <a:gd name="connsiteX62" fmla="*/ 573192 w 5734864"/>
              <a:gd name="connsiteY62" fmla="*/ 2714527 h 6858000"/>
              <a:gd name="connsiteX63" fmla="*/ 572044 w 5734864"/>
              <a:gd name="connsiteY63" fmla="*/ 2728187 h 6858000"/>
              <a:gd name="connsiteX64" fmla="*/ 572465 w 5734864"/>
              <a:gd name="connsiteY64" fmla="*/ 2755863 h 6858000"/>
              <a:gd name="connsiteX65" fmla="*/ 570028 w 5734864"/>
              <a:gd name="connsiteY65" fmla="*/ 2760324 h 6858000"/>
              <a:gd name="connsiteX66" fmla="*/ 566748 w 5734864"/>
              <a:gd name="connsiteY66" fmla="*/ 2800948 h 6858000"/>
              <a:gd name="connsiteX67" fmla="*/ 565509 w 5734864"/>
              <a:gd name="connsiteY67" fmla="*/ 2801167 h 6858000"/>
              <a:gd name="connsiteX68" fmla="*/ 559367 w 5734864"/>
              <a:gd name="connsiteY68" fmla="*/ 2811129 h 6858000"/>
              <a:gd name="connsiteX69" fmla="*/ 550354 w 5734864"/>
              <a:gd name="connsiteY69" fmla="*/ 2830949 h 6858000"/>
              <a:gd name="connsiteX70" fmla="*/ 514795 w 5734864"/>
              <a:gd name="connsiteY70" fmla="*/ 2872433 h 6858000"/>
              <a:gd name="connsiteX71" fmla="*/ 509875 w 5734864"/>
              <a:gd name="connsiteY71" fmla="*/ 2923099 h 6858000"/>
              <a:gd name="connsiteX72" fmla="*/ 509577 w 5734864"/>
              <a:gd name="connsiteY72" fmla="*/ 2923197 h 6858000"/>
              <a:gd name="connsiteX73" fmla="*/ 507597 w 5734864"/>
              <a:gd name="connsiteY73" fmla="*/ 2931868 h 6858000"/>
              <a:gd name="connsiteX74" fmla="*/ 507379 w 5734864"/>
              <a:gd name="connsiteY74" fmla="*/ 2938322 h 6858000"/>
              <a:gd name="connsiteX75" fmla="*/ 504725 w 5734864"/>
              <a:gd name="connsiteY75" fmla="*/ 2954519 h 6858000"/>
              <a:gd name="connsiteX76" fmla="*/ 502018 w 5734864"/>
              <a:gd name="connsiteY76" fmla="*/ 2959643 h 6858000"/>
              <a:gd name="connsiteX77" fmla="*/ 498360 w 5734864"/>
              <a:gd name="connsiteY77" fmla="*/ 2961019 h 6858000"/>
              <a:gd name="connsiteX78" fmla="*/ 498483 w 5734864"/>
              <a:gd name="connsiteY78" fmla="*/ 2962590 h 6858000"/>
              <a:gd name="connsiteX79" fmla="*/ 484403 w 5734864"/>
              <a:gd name="connsiteY79" fmla="*/ 2990538 h 6858000"/>
              <a:gd name="connsiteX80" fmla="*/ 463075 w 5734864"/>
              <a:gd name="connsiteY80" fmla="*/ 3055956 h 6858000"/>
              <a:gd name="connsiteX81" fmla="*/ 455013 w 5734864"/>
              <a:gd name="connsiteY81" fmla="*/ 3094482 h 6858000"/>
              <a:gd name="connsiteX82" fmla="*/ 428391 w 5734864"/>
              <a:gd name="connsiteY82" fmla="*/ 3198850 h 6858000"/>
              <a:gd name="connsiteX83" fmla="*/ 401440 w 5734864"/>
              <a:gd name="connsiteY83" fmla="*/ 3307560 h 6858000"/>
              <a:gd name="connsiteX84" fmla="*/ 386076 w 5734864"/>
              <a:gd name="connsiteY84" fmla="*/ 3373943 h 6858000"/>
              <a:gd name="connsiteX85" fmla="*/ 374726 w 5734864"/>
              <a:gd name="connsiteY85" fmla="*/ 3381364 h 6858000"/>
              <a:gd name="connsiteX86" fmla="*/ 369145 w 5734864"/>
              <a:gd name="connsiteY86" fmla="*/ 3383729 h 6858000"/>
              <a:gd name="connsiteX87" fmla="*/ 364294 w 5734864"/>
              <a:gd name="connsiteY87" fmla="*/ 3414159 h 6858000"/>
              <a:gd name="connsiteX88" fmla="*/ 366450 w 5734864"/>
              <a:gd name="connsiteY88" fmla="*/ 3436925 h 6858000"/>
              <a:gd name="connsiteX89" fmla="*/ 351743 w 5734864"/>
              <a:gd name="connsiteY89" fmla="*/ 3521619 h 6858000"/>
              <a:gd name="connsiteX90" fmla="*/ 345784 w 5734864"/>
              <a:gd name="connsiteY90" fmla="*/ 3603757 h 6858000"/>
              <a:gd name="connsiteX91" fmla="*/ 344198 w 5734864"/>
              <a:gd name="connsiteY91" fmla="*/ 3652424 h 6858000"/>
              <a:gd name="connsiteX92" fmla="*/ 352450 w 5734864"/>
              <a:gd name="connsiteY92" fmla="*/ 3665222 h 6858000"/>
              <a:gd name="connsiteX93" fmla="*/ 342621 w 5734864"/>
              <a:gd name="connsiteY93" fmla="*/ 3700804 h 6858000"/>
              <a:gd name="connsiteX94" fmla="*/ 341514 w 5734864"/>
              <a:gd name="connsiteY94" fmla="*/ 3734774 h 6858000"/>
              <a:gd name="connsiteX95" fmla="*/ 340607 w 5734864"/>
              <a:gd name="connsiteY95" fmla="*/ 3785153 h 6858000"/>
              <a:gd name="connsiteX96" fmla="*/ 340707 w 5734864"/>
              <a:gd name="connsiteY96" fmla="*/ 3788177 h 6858000"/>
              <a:gd name="connsiteX97" fmla="*/ 340361 w 5734864"/>
              <a:gd name="connsiteY97" fmla="*/ 3798803 h 6858000"/>
              <a:gd name="connsiteX98" fmla="*/ 339642 w 5734864"/>
              <a:gd name="connsiteY98" fmla="*/ 3838750 h 6858000"/>
              <a:gd name="connsiteX99" fmla="*/ 360295 w 5734864"/>
              <a:gd name="connsiteY99" fmla="*/ 4015196 h 6858000"/>
              <a:gd name="connsiteX100" fmla="*/ 339043 w 5734864"/>
              <a:gd name="connsiteY100" fmla="*/ 4052778 h 6858000"/>
              <a:gd name="connsiteX101" fmla="*/ 339343 w 5734864"/>
              <a:gd name="connsiteY101" fmla="*/ 4096257 h 6858000"/>
              <a:gd name="connsiteX102" fmla="*/ 340786 w 5734864"/>
              <a:gd name="connsiteY102" fmla="*/ 4321136 h 6858000"/>
              <a:gd name="connsiteX103" fmla="*/ 343158 w 5734864"/>
              <a:gd name="connsiteY103" fmla="*/ 4429174 h 6858000"/>
              <a:gd name="connsiteX104" fmla="*/ 334599 w 5734864"/>
              <a:gd name="connsiteY104" fmla="*/ 4449938 h 6858000"/>
              <a:gd name="connsiteX105" fmla="*/ 332890 w 5734864"/>
              <a:gd name="connsiteY105" fmla="*/ 4453515 h 6858000"/>
              <a:gd name="connsiteX106" fmla="*/ 331105 w 5734864"/>
              <a:gd name="connsiteY106" fmla="*/ 4467941 h 6858000"/>
              <a:gd name="connsiteX107" fmla="*/ 324289 w 5734864"/>
              <a:gd name="connsiteY107" fmla="*/ 4471861 h 6858000"/>
              <a:gd name="connsiteX108" fmla="*/ 317079 w 5734864"/>
              <a:gd name="connsiteY108" fmla="*/ 4493468 h 6858000"/>
              <a:gd name="connsiteX109" fmla="*/ 315557 w 5734864"/>
              <a:gd name="connsiteY109" fmla="*/ 4520067 h 6858000"/>
              <a:gd name="connsiteX110" fmla="*/ 315240 w 5734864"/>
              <a:gd name="connsiteY110" fmla="*/ 4536872 h 6858000"/>
              <a:gd name="connsiteX111" fmla="*/ 316200 w 5734864"/>
              <a:gd name="connsiteY111" fmla="*/ 4538297 h 6858000"/>
              <a:gd name="connsiteX112" fmla="*/ 317507 w 5734864"/>
              <a:gd name="connsiteY112" fmla="*/ 4547582 h 6858000"/>
              <a:gd name="connsiteX113" fmla="*/ 323078 w 5734864"/>
              <a:gd name="connsiteY113" fmla="*/ 4592102 h 6858000"/>
              <a:gd name="connsiteX114" fmla="*/ 328722 w 5734864"/>
              <a:gd name="connsiteY114" fmla="*/ 4667914 h 6858000"/>
              <a:gd name="connsiteX115" fmla="*/ 335597 w 5734864"/>
              <a:gd name="connsiteY115" fmla="*/ 4695035 h 6858000"/>
              <a:gd name="connsiteX116" fmla="*/ 339485 w 5734864"/>
              <a:gd name="connsiteY116" fmla="*/ 4695979 h 6858000"/>
              <a:gd name="connsiteX117" fmla="*/ 341089 w 5734864"/>
              <a:gd name="connsiteY117" fmla="*/ 4704268 h 6858000"/>
              <a:gd name="connsiteX118" fmla="*/ 342177 w 5734864"/>
              <a:gd name="connsiteY118" fmla="*/ 4706060 h 6858000"/>
              <a:gd name="connsiteX119" fmla="*/ 347751 w 5734864"/>
              <a:gd name="connsiteY119" fmla="*/ 4716754 h 6858000"/>
              <a:gd name="connsiteX120" fmla="*/ 344125 w 5734864"/>
              <a:gd name="connsiteY120" fmla="*/ 4764669 h 6858000"/>
              <a:gd name="connsiteX121" fmla="*/ 340188 w 5734864"/>
              <a:gd name="connsiteY121" fmla="*/ 4779386 h 6858000"/>
              <a:gd name="connsiteX122" fmla="*/ 335146 w 5734864"/>
              <a:gd name="connsiteY122" fmla="*/ 4787491 h 6858000"/>
              <a:gd name="connsiteX123" fmla="*/ 319124 w 5734864"/>
              <a:gd name="connsiteY123" fmla="*/ 4843514 h 6858000"/>
              <a:gd name="connsiteX124" fmla="*/ 305956 w 5734864"/>
              <a:gd name="connsiteY124" fmla="*/ 4881505 h 6858000"/>
              <a:gd name="connsiteX125" fmla="*/ 301062 w 5734864"/>
              <a:gd name="connsiteY125" fmla="*/ 4889332 h 6858000"/>
              <a:gd name="connsiteX126" fmla="*/ 302141 w 5734864"/>
              <a:gd name="connsiteY126" fmla="*/ 4899400 h 6858000"/>
              <a:gd name="connsiteX127" fmla="*/ 304424 w 5734864"/>
              <a:gd name="connsiteY127" fmla="*/ 4902664 h 6858000"/>
              <a:gd name="connsiteX128" fmla="*/ 293123 w 5734864"/>
              <a:gd name="connsiteY128" fmla="*/ 4932769 h 6858000"/>
              <a:gd name="connsiteX129" fmla="*/ 292275 w 5734864"/>
              <a:gd name="connsiteY129" fmla="*/ 4936482 h 6858000"/>
              <a:gd name="connsiteX130" fmla="*/ 288304 w 5734864"/>
              <a:gd name="connsiteY130" fmla="*/ 4962325 h 6858000"/>
              <a:gd name="connsiteX131" fmla="*/ 287420 w 5734864"/>
              <a:gd name="connsiteY131" fmla="*/ 5042193 h 6858000"/>
              <a:gd name="connsiteX132" fmla="*/ 287020 w 5734864"/>
              <a:gd name="connsiteY132" fmla="*/ 5065655 h 6858000"/>
              <a:gd name="connsiteX133" fmla="*/ 288488 w 5734864"/>
              <a:gd name="connsiteY133" fmla="*/ 5082216 h 6858000"/>
              <a:gd name="connsiteX134" fmla="*/ 282763 w 5734864"/>
              <a:gd name="connsiteY134" fmla="*/ 5127114 h 6858000"/>
              <a:gd name="connsiteX135" fmla="*/ 269316 w 5734864"/>
              <a:gd name="connsiteY135" fmla="*/ 5202682 h 6858000"/>
              <a:gd name="connsiteX136" fmla="*/ 269174 w 5734864"/>
              <a:gd name="connsiteY136" fmla="*/ 5230835 h 6858000"/>
              <a:gd name="connsiteX137" fmla="*/ 272679 w 5734864"/>
              <a:gd name="connsiteY137" fmla="*/ 5232660 h 6858000"/>
              <a:gd name="connsiteX138" fmla="*/ 272160 w 5734864"/>
              <a:gd name="connsiteY138" fmla="*/ 5241150 h 6858000"/>
              <a:gd name="connsiteX139" fmla="*/ 272760 w 5734864"/>
              <a:gd name="connsiteY139" fmla="*/ 5243156 h 6858000"/>
              <a:gd name="connsiteX140" fmla="*/ 275462 w 5734864"/>
              <a:gd name="connsiteY140" fmla="*/ 5254919 h 6858000"/>
              <a:gd name="connsiteX141" fmla="*/ 262897 w 5734864"/>
              <a:gd name="connsiteY141" fmla="*/ 5286259 h 6858000"/>
              <a:gd name="connsiteX142" fmla="*/ 252761 w 5734864"/>
              <a:gd name="connsiteY142" fmla="*/ 5357801 h 6858000"/>
              <a:gd name="connsiteX143" fmla="*/ 242360 w 5734864"/>
              <a:gd name="connsiteY143" fmla="*/ 5460080 h 6858000"/>
              <a:gd name="connsiteX144" fmla="*/ 229880 w 5734864"/>
              <a:gd name="connsiteY144" fmla="*/ 5539714 h 6858000"/>
              <a:gd name="connsiteX145" fmla="*/ 204283 w 5734864"/>
              <a:gd name="connsiteY145" fmla="*/ 5639080 h 6858000"/>
              <a:gd name="connsiteX146" fmla="*/ 198948 w 5734864"/>
              <a:gd name="connsiteY146" fmla="*/ 5710958 h 6858000"/>
              <a:gd name="connsiteX147" fmla="*/ 192367 w 5734864"/>
              <a:gd name="connsiteY147" fmla="*/ 5719859 h 6858000"/>
              <a:gd name="connsiteX148" fmla="*/ 188035 w 5734864"/>
              <a:gd name="connsiteY148" fmla="*/ 5729935 h 6858000"/>
              <a:gd name="connsiteX149" fmla="*/ 188428 w 5734864"/>
              <a:gd name="connsiteY149" fmla="*/ 5731182 h 6858000"/>
              <a:gd name="connsiteX150" fmla="*/ 181635 w 5734864"/>
              <a:gd name="connsiteY150" fmla="*/ 5753538 h 6858000"/>
              <a:gd name="connsiteX151" fmla="*/ 169744 w 5734864"/>
              <a:gd name="connsiteY151" fmla="*/ 5796307 h 6858000"/>
              <a:gd name="connsiteX152" fmla="*/ 170351 w 5734864"/>
              <a:gd name="connsiteY152" fmla="*/ 5796644 h 6858000"/>
              <a:gd name="connsiteX153" fmla="*/ 171559 w 5734864"/>
              <a:gd name="connsiteY153" fmla="*/ 5803435 h 6858000"/>
              <a:gd name="connsiteX154" fmla="*/ 172284 w 5734864"/>
              <a:gd name="connsiteY154" fmla="*/ 5816391 h 6858000"/>
              <a:gd name="connsiteX155" fmla="*/ 182542 w 5734864"/>
              <a:gd name="connsiteY155" fmla="*/ 5846382 h 6858000"/>
              <a:gd name="connsiteX156" fmla="*/ 175877 w 5734864"/>
              <a:gd name="connsiteY156" fmla="*/ 5871336 h 6858000"/>
              <a:gd name="connsiteX157" fmla="*/ 174910 w 5734864"/>
              <a:gd name="connsiteY157" fmla="*/ 5876376 h 6858000"/>
              <a:gd name="connsiteX158" fmla="*/ 175047 w 5734864"/>
              <a:gd name="connsiteY158" fmla="*/ 5876483 h 6858000"/>
              <a:gd name="connsiteX159" fmla="*/ 174335 w 5734864"/>
              <a:gd name="connsiteY159" fmla="*/ 5881814 h 6858000"/>
              <a:gd name="connsiteX160" fmla="*/ 171273 w 5734864"/>
              <a:gd name="connsiteY160" fmla="*/ 5895339 h 6858000"/>
              <a:gd name="connsiteX161" fmla="*/ 171658 w 5734864"/>
              <a:gd name="connsiteY161" fmla="*/ 5898749 h 6858000"/>
              <a:gd name="connsiteX162" fmla="*/ 174658 w 5734864"/>
              <a:gd name="connsiteY162" fmla="*/ 5919558 h 6858000"/>
              <a:gd name="connsiteX163" fmla="*/ 169099 w 5734864"/>
              <a:gd name="connsiteY163" fmla="*/ 5984417 h 6858000"/>
              <a:gd name="connsiteX164" fmla="*/ 162007 w 5734864"/>
              <a:gd name="connsiteY164" fmla="*/ 6049043 h 6858000"/>
              <a:gd name="connsiteX165" fmla="*/ 156875 w 5734864"/>
              <a:gd name="connsiteY165" fmla="*/ 6114000 h 6858000"/>
              <a:gd name="connsiteX166" fmla="*/ 165441 w 5734864"/>
              <a:gd name="connsiteY166" fmla="*/ 6146938 h 6858000"/>
              <a:gd name="connsiteX167" fmla="*/ 165177 w 5734864"/>
              <a:gd name="connsiteY167" fmla="*/ 6150658 h 6858000"/>
              <a:gd name="connsiteX168" fmla="*/ 161772 w 5734864"/>
              <a:gd name="connsiteY168" fmla="*/ 6160011 h 6858000"/>
              <a:gd name="connsiteX169" fmla="*/ 160051 w 5734864"/>
              <a:gd name="connsiteY169" fmla="*/ 6163393 h 6858000"/>
              <a:gd name="connsiteX170" fmla="*/ 158473 w 5734864"/>
              <a:gd name="connsiteY170" fmla="*/ 6168628 h 6858000"/>
              <a:gd name="connsiteX171" fmla="*/ 158573 w 5734864"/>
              <a:gd name="connsiteY171" fmla="*/ 6168799 h 6858000"/>
              <a:gd name="connsiteX172" fmla="*/ 146463 w 5734864"/>
              <a:gd name="connsiteY172" fmla="*/ 6196671 h 6858000"/>
              <a:gd name="connsiteX173" fmla="*/ 150209 w 5734864"/>
              <a:gd name="connsiteY173" fmla="*/ 6232365 h 6858000"/>
              <a:gd name="connsiteX174" fmla="*/ 148544 w 5734864"/>
              <a:gd name="connsiteY174" fmla="*/ 6246162 h 6858000"/>
              <a:gd name="connsiteX175" fmla="*/ 148403 w 5734864"/>
              <a:gd name="connsiteY175" fmla="*/ 6253754 h 6858000"/>
              <a:gd name="connsiteX176" fmla="*/ 138880 w 5734864"/>
              <a:gd name="connsiteY176" fmla="*/ 6276449 h 6858000"/>
              <a:gd name="connsiteX177" fmla="*/ 138683 w 5734864"/>
              <a:gd name="connsiteY177" fmla="*/ 6279721 h 6858000"/>
              <a:gd name="connsiteX178" fmla="*/ 130721 w 5734864"/>
              <a:gd name="connsiteY178" fmla="*/ 6293675 h 6858000"/>
              <a:gd name="connsiteX179" fmla="*/ 120717 w 5734864"/>
              <a:gd name="connsiteY179" fmla="*/ 6313967 h 6858000"/>
              <a:gd name="connsiteX180" fmla="*/ 120841 w 5734864"/>
              <a:gd name="connsiteY180" fmla="*/ 6315437 h 6858000"/>
              <a:gd name="connsiteX181" fmla="*/ 115208 w 5734864"/>
              <a:gd name="connsiteY181" fmla="*/ 6324024 h 6858000"/>
              <a:gd name="connsiteX182" fmla="*/ 101217 w 5734864"/>
              <a:gd name="connsiteY182" fmla="*/ 6365923 h 6858000"/>
              <a:gd name="connsiteX183" fmla="*/ 74946 w 5734864"/>
              <a:gd name="connsiteY183" fmla="*/ 6556817 h 6858000"/>
              <a:gd name="connsiteX184" fmla="*/ 16001 w 5734864"/>
              <a:gd name="connsiteY184" fmla="*/ 6808678 h 6858000"/>
              <a:gd name="connsiteX185" fmla="*/ 0 w 5734864"/>
              <a:gd name="connsiteY185" fmla="*/ 6858000 h 6858000"/>
              <a:gd name="connsiteX186" fmla="*/ 5734864 w 5734864"/>
              <a:gd name="connsiteY186" fmla="*/ 6858000 h 6858000"/>
              <a:gd name="connsiteX187" fmla="*/ 5734864 w 5734864"/>
              <a:gd name="connsiteY18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Lst>
            <a:rect l="l" t="t" r="r" b="b"/>
            <a:pathLst>
              <a:path w="5734864" h="6858000">
                <a:moveTo>
                  <a:pt x="5734864" y="0"/>
                </a:moveTo>
                <a:lnTo>
                  <a:pt x="771611" y="0"/>
                </a:lnTo>
                <a:cubicBezTo>
                  <a:pt x="771634" y="16369"/>
                  <a:pt x="771656" y="32739"/>
                  <a:pt x="771679" y="49108"/>
                </a:cubicBezTo>
                <a:cubicBezTo>
                  <a:pt x="775201" y="55622"/>
                  <a:pt x="788724" y="196721"/>
                  <a:pt x="794248" y="200968"/>
                </a:cubicBezTo>
                <a:lnTo>
                  <a:pt x="801749" y="414071"/>
                </a:lnTo>
                <a:cubicBezTo>
                  <a:pt x="807329" y="440933"/>
                  <a:pt x="835107" y="598697"/>
                  <a:pt x="818548" y="585467"/>
                </a:cubicBezTo>
                <a:cubicBezTo>
                  <a:pt x="856197" y="664140"/>
                  <a:pt x="837895" y="708473"/>
                  <a:pt x="857476" y="800623"/>
                </a:cubicBezTo>
                <a:cubicBezTo>
                  <a:pt x="822401" y="857344"/>
                  <a:pt x="855723" y="824571"/>
                  <a:pt x="851083" y="878903"/>
                </a:cubicBezTo>
                <a:cubicBezTo>
                  <a:pt x="884811" y="859448"/>
                  <a:pt x="834648" y="946397"/>
                  <a:pt x="873564" y="943826"/>
                </a:cubicBezTo>
                <a:cubicBezTo>
                  <a:pt x="871487" y="953795"/>
                  <a:pt x="868248" y="963533"/>
                  <a:pt x="864705" y="973328"/>
                </a:cubicBezTo>
                <a:lnTo>
                  <a:pt x="862869" y="978457"/>
                </a:lnTo>
                <a:lnTo>
                  <a:pt x="862233" y="998041"/>
                </a:lnTo>
                <a:lnTo>
                  <a:pt x="853665" y="1004750"/>
                </a:lnTo>
                <a:lnTo>
                  <a:pt x="847865" y="1070795"/>
                </a:lnTo>
                <a:cubicBezTo>
                  <a:pt x="870234" y="1110486"/>
                  <a:pt x="833172" y="1190441"/>
                  <a:pt x="862786" y="1238994"/>
                </a:cubicBezTo>
                <a:cubicBezTo>
                  <a:pt x="864699" y="1290599"/>
                  <a:pt x="860615" y="1347716"/>
                  <a:pt x="859345" y="1380427"/>
                </a:cubicBezTo>
                <a:cubicBezTo>
                  <a:pt x="845703" y="1396391"/>
                  <a:pt x="873184" y="1435525"/>
                  <a:pt x="855172" y="1435262"/>
                </a:cubicBezTo>
                <a:lnTo>
                  <a:pt x="860494" y="1453861"/>
                </a:lnTo>
                <a:lnTo>
                  <a:pt x="853731" y="1467047"/>
                </a:lnTo>
                <a:cubicBezTo>
                  <a:pt x="846549" y="1480528"/>
                  <a:pt x="841728" y="1491093"/>
                  <a:pt x="845847" y="1502307"/>
                </a:cubicBezTo>
                <a:lnTo>
                  <a:pt x="817613" y="1565166"/>
                </a:lnTo>
                <a:cubicBezTo>
                  <a:pt x="805468" y="1557258"/>
                  <a:pt x="816534" y="1596564"/>
                  <a:pt x="804223" y="1601941"/>
                </a:cubicBezTo>
                <a:cubicBezTo>
                  <a:pt x="794287" y="1604654"/>
                  <a:pt x="795328" y="1617209"/>
                  <a:pt x="791773" y="1627005"/>
                </a:cubicBezTo>
                <a:cubicBezTo>
                  <a:pt x="781684" y="1634393"/>
                  <a:pt x="772978" y="1683187"/>
                  <a:pt x="774645" y="1699922"/>
                </a:cubicBezTo>
                <a:cubicBezTo>
                  <a:pt x="785341" y="1746767"/>
                  <a:pt x="744845" y="1787099"/>
                  <a:pt x="752343" y="1824604"/>
                </a:cubicBezTo>
                <a:cubicBezTo>
                  <a:pt x="751502" y="1834578"/>
                  <a:pt x="749297" y="1842929"/>
                  <a:pt x="746254" y="1850222"/>
                </a:cubicBezTo>
                <a:lnTo>
                  <a:pt x="728600" y="1869603"/>
                </a:lnTo>
                <a:lnTo>
                  <a:pt x="724396" y="1883104"/>
                </a:lnTo>
                <a:lnTo>
                  <a:pt x="722165" y="1885924"/>
                </a:lnTo>
                <a:lnTo>
                  <a:pt x="721338" y="1887123"/>
                </a:lnTo>
                <a:lnTo>
                  <a:pt x="714840" y="1902274"/>
                </a:lnTo>
                <a:lnTo>
                  <a:pt x="722847" y="1929891"/>
                </a:lnTo>
                <a:lnTo>
                  <a:pt x="714660" y="1982709"/>
                </a:lnTo>
                <a:cubicBezTo>
                  <a:pt x="727725" y="2006201"/>
                  <a:pt x="714739" y="1997091"/>
                  <a:pt x="710759" y="2013010"/>
                </a:cubicBezTo>
                <a:cubicBezTo>
                  <a:pt x="707970" y="2027531"/>
                  <a:pt x="700788" y="2054714"/>
                  <a:pt x="697927" y="2069833"/>
                </a:cubicBezTo>
                <a:cubicBezTo>
                  <a:pt x="685211" y="2080229"/>
                  <a:pt x="698762" y="2088241"/>
                  <a:pt x="693594" y="2103731"/>
                </a:cubicBezTo>
                <a:cubicBezTo>
                  <a:pt x="688481" y="2110649"/>
                  <a:pt x="687183" y="2115973"/>
                  <a:pt x="691109" y="2124027"/>
                </a:cubicBezTo>
                <a:cubicBezTo>
                  <a:pt x="666413" y="2155740"/>
                  <a:pt x="688031" y="2144874"/>
                  <a:pt x="676593" y="2176182"/>
                </a:cubicBezTo>
                <a:cubicBezTo>
                  <a:pt x="665190" y="2202944"/>
                  <a:pt x="656416" y="2233857"/>
                  <a:pt x="633227" y="2258036"/>
                </a:cubicBezTo>
                <a:cubicBezTo>
                  <a:pt x="626930" y="2262191"/>
                  <a:pt x="623498" y="2274069"/>
                  <a:pt x="625564" y="2284567"/>
                </a:cubicBezTo>
                <a:cubicBezTo>
                  <a:pt x="625918" y="2286374"/>
                  <a:pt x="626427" y="2288071"/>
                  <a:pt x="627074" y="2289605"/>
                </a:cubicBezTo>
                <a:cubicBezTo>
                  <a:pt x="619029" y="2296628"/>
                  <a:pt x="616453" y="2303188"/>
                  <a:pt x="614574" y="2308717"/>
                </a:cubicBezTo>
                <a:lnTo>
                  <a:pt x="606890" y="2320662"/>
                </a:lnTo>
                <a:lnTo>
                  <a:pt x="605558" y="2327897"/>
                </a:lnTo>
                <a:lnTo>
                  <a:pt x="602202" y="2357749"/>
                </a:lnTo>
                <a:lnTo>
                  <a:pt x="600213" y="2364905"/>
                </a:lnTo>
                <a:lnTo>
                  <a:pt x="597160" y="2388351"/>
                </a:lnTo>
                <a:lnTo>
                  <a:pt x="597982" y="2402296"/>
                </a:lnTo>
                <a:lnTo>
                  <a:pt x="593150" y="2420015"/>
                </a:lnTo>
                <a:cubicBezTo>
                  <a:pt x="593044" y="2420926"/>
                  <a:pt x="592939" y="2421838"/>
                  <a:pt x="592833" y="2422749"/>
                </a:cubicBezTo>
                <a:lnTo>
                  <a:pt x="594479" y="2426002"/>
                </a:lnTo>
                <a:cubicBezTo>
                  <a:pt x="594168" y="2427683"/>
                  <a:pt x="593118" y="2429721"/>
                  <a:pt x="591963" y="2431950"/>
                </a:cubicBezTo>
                <a:cubicBezTo>
                  <a:pt x="591823" y="2432599"/>
                  <a:pt x="591684" y="2433248"/>
                  <a:pt x="591544" y="2433897"/>
                </a:cubicBezTo>
                <a:lnTo>
                  <a:pt x="589519" y="2451398"/>
                </a:lnTo>
                <a:cubicBezTo>
                  <a:pt x="589692" y="2452777"/>
                  <a:pt x="589864" y="2454157"/>
                  <a:pt x="590037" y="2455536"/>
                </a:cubicBezTo>
                <a:lnTo>
                  <a:pt x="588179" y="2462981"/>
                </a:lnTo>
                <a:lnTo>
                  <a:pt x="583434" y="2503991"/>
                </a:lnTo>
                <a:cubicBezTo>
                  <a:pt x="576530" y="2566058"/>
                  <a:pt x="570433" y="2625224"/>
                  <a:pt x="567942" y="2652936"/>
                </a:cubicBezTo>
                <a:cubicBezTo>
                  <a:pt x="570864" y="2658290"/>
                  <a:pt x="572739" y="2664095"/>
                  <a:pt x="573869" y="2670188"/>
                </a:cubicBezTo>
                <a:lnTo>
                  <a:pt x="575243" y="2688114"/>
                </a:lnTo>
                <a:lnTo>
                  <a:pt x="573824" y="2689856"/>
                </a:lnTo>
                <a:cubicBezTo>
                  <a:pt x="569972" y="2698471"/>
                  <a:pt x="569572" y="2704494"/>
                  <a:pt x="570699" y="2709353"/>
                </a:cubicBezTo>
                <a:lnTo>
                  <a:pt x="573192" y="2714527"/>
                </a:lnTo>
                <a:cubicBezTo>
                  <a:pt x="572809" y="2719080"/>
                  <a:pt x="572427" y="2723634"/>
                  <a:pt x="572044" y="2728187"/>
                </a:cubicBezTo>
                <a:cubicBezTo>
                  <a:pt x="572184" y="2737412"/>
                  <a:pt x="572325" y="2746638"/>
                  <a:pt x="572465" y="2755863"/>
                </a:cubicBezTo>
                <a:lnTo>
                  <a:pt x="570028" y="2760324"/>
                </a:lnTo>
                <a:lnTo>
                  <a:pt x="566748" y="2800948"/>
                </a:lnTo>
                <a:lnTo>
                  <a:pt x="565509" y="2801167"/>
                </a:lnTo>
                <a:cubicBezTo>
                  <a:pt x="562655" y="2802587"/>
                  <a:pt x="560408" y="2805381"/>
                  <a:pt x="559367" y="2811129"/>
                </a:cubicBezTo>
                <a:cubicBezTo>
                  <a:pt x="543471" y="2797318"/>
                  <a:pt x="552020" y="2812773"/>
                  <a:pt x="550354" y="2830949"/>
                </a:cubicBezTo>
                <a:cubicBezTo>
                  <a:pt x="525292" y="2813553"/>
                  <a:pt x="531129" y="2868192"/>
                  <a:pt x="514795" y="2872433"/>
                </a:cubicBezTo>
                <a:lnTo>
                  <a:pt x="509875" y="2923099"/>
                </a:lnTo>
                <a:lnTo>
                  <a:pt x="509577" y="2923197"/>
                </a:lnTo>
                <a:cubicBezTo>
                  <a:pt x="508704" y="2924865"/>
                  <a:pt x="508038" y="2927556"/>
                  <a:pt x="507597" y="2931868"/>
                </a:cubicBezTo>
                <a:cubicBezTo>
                  <a:pt x="507524" y="2934019"/>
                  <a:pt x="507452" y="2936171"/>
                  <a:pt x="507379" y="2938322"/>
                </a:cubicBezTo>
                <a:lnTo>
                  <a:pt x="504725" y="2954519"/>
                </a:lnTo>
                <a:lnTo>
                  <a:pt x="502018" y="2959643"/>
                </a:lnTo>
                <a:lnTo>
                  <a:pt x="498360" y="2961019"/>
                </a:lnTo>
                <a:lnTo>
                  <a:pt x="498483" y="2962590"/>
                </a:lnTo>
                <a:cubicBezTo>
                  <a:pt x="502388" y="2975027"/>
                  <a:pt x="510202" y="2980016"/>
                  <a:pt x="484403" y="2990538"/>
                </a:cubicBezTo>
                <a:cubicBezTo>
                  <a:pt x="489425" y="3018352"/>
                  <a:pt x="474337" y="3021029"/>
                  <a:pt x="463075" y="3055956"/>
                </a:cubicBezTo>
                <a:cubicBezTo>
                  <a:pt x="469487" y="3072485"/>
                  <a:pt x="464165" y="3083955"/>
                  <a:pt x="455013" y="3094482"/>
                </a:cubicBezTo>
                <a:cubicBezTo>
                  <a:pt x="453131" y="3130054"/>
                  <a:pt x="437643" y="3160106"/>
                  <a:pt x="428391" y="3198850"/>
                </a:cubicBezTo>
                <a:lnTo>
                  <a:pt x="401440" y="3307560"/>
                </a:lnTo>
                <a:lnTo>
                  <a:pt x="386076" y="3373943"/>
                </a:lnTo>
                <a:cubicBezTo>
                  <a:pt x="386236" y="3376061"/>
                  <a:pt x="380537" y="3378856"/>
                  <a:pt x="374726" y="3381364"/>
                </a:cubicBezTo>
                <a:lnTo>
                  <a:pt x="369145" y="3383729"/>
                </a:lnTo>
                <a:lnTo>
                  <a:pt x="364294" y="3414159"/>
                </a:lnTo>
                <a:lnTo>
                  <a:pt x="366450" y="3436925"/>
                </a:lnTo>
                <a:lnTo>
                  <a:pt x="351743" y="3521619"/>
                </a:lnTo>
                <a:lnTo>
                  <a:pt x="345784" y="3603757"/>
                </a:lnTo>
                <a:cubicBezTo>
                  <a:pt x="345255" y="3619979"/>
                  <a:pt x="344727" y="3636202"/>
                  <a:pt x="344198" y="3652424"/>
                </a:cubicBezTo>
                <a:lnTo>
                  <a:pt x="352450" y="3665222"/>
                </a:lnTo>
                <a:lnTo>
                  <a:pt x="342621" y="3700804"/>
                </a:lnTo>
                <a:lnTo>
                  <a:pt x="341514" y="3734774"/>
                </a:lnTo>
                <a:cubicBezTo>
                  <a:pt x="341212" y="3751567"/>
                  <a:pt x="340909" y="3768360"/>
                  <a:pt x="340607" y="3785153"/>
                </a:cubicBezTo>
                <a:cubicBezTo>
                  <a:pt x="340640" y="3786161"/>
                  <a:pt x="340674" y="3787169"/>
                  <a:pt x="340707" y="3788177"/>
                </a:cubicBezTo>
                <a:cubicBezTo>
                  <a:pt x="340592" y="3791719"/>
                  <a:pt x="340476" y="3795261"/>
                  <a:pt x="340361" y="3798803"/>
                </a:cubicBezTo>
                <a:cubicBezTo>
                  <a:pt x="340121" y="3812119"/>
                  <a:pt x="339882" y="3825434"/>
                  <a:pt x="339642" y="3838750"/>
                </a:cubicBezTo>
                <a:cubicBezTo>
                  <a:pt x="337363" y="3949044"/>
                  <a:pt x="361794" y="3960437"/>
                  <a:pt x="360295" y="4015196"/>
                </a:cubicBezTo>
                <a:lnTo>
                  <a:pt x="339043" y="4052778"/>
                </a:lnTo>
                <a:lnTo>
                  <a:pt x="339343" y="4096257"/>
                </a:lnTo>
                <a:cubicBezTo>
                  <a:pt x="362058" y="4159145"/>
                  <a:pt x="332404" y="4250479"/>
                  <a:pt x="340786" y="4321136"/>
                </a:cubicBezTo>
                <a:cubicBezTo>
                  <a:pt x="341421" y="4376624"/>
                  <a:pt x="344189" y="4407708"/>
                  <a:pt x="343158" y="4429174"/>
                </a:cubicBezTo>
                <a:cubicBezTo>
                  <a:pt x="340948" y="4436304"/>
                  <a:pt x="337887" y="4443121"/>
                  <a:pt x="334599" y="4449938"/>
                </a:cubicBezTo>
                <a:lnTo>
                  <a:pt x="332890" y="4453515"/>
                </a:lnTo>
                <a:lnTo>
                  <a:pt x="331105" y="4467941"/>
                </a:lnTo>
                <a:lnTo>
                  <a:pt x="324289" y="4471861"/>
                </a:lnTo>
                <a:lnTo>
                  <a:pt x="317079" y="4493468"/>
                </a:lnTo>
                <a:cubicBezTo>
                  <a:pt x="315353" y="4501584"/>
                  <a:pt x="314639" y="4510343"/>
                  <a:pt x="315557" y="4520067"/>
                </a:cubicBezTo>
                <a:cubicBezTo>
                  <a:pt x="315451" y="4525669"/>
                  <a:pt x="315346" y="4531270"/>
                  <a:pt x="315240" y="4536872"/>
                </a:cubicBezTo>
                <a:lnTo>
                  <a:pt x="316200" y="4538297"/>
                </a:lnTo>
                <a:cubicBezTo>
                  <a:pt x="316738" y="4541182"/>
                  <a:pt x="316785" y="4544563"/>
                  <a:pt x="317507" y="4547582"/>
                </a:cubicBezTo>
                <a:cubicBezTo>
                  <a:pt x="322716" y="4552468"/>
                  <a:pt x="324912" y="4582137"/>
                  <a:pt x="323078" y="4592102"/>
                </a:cubicBezTo>
                <a:cubicBezTo>
                  <a:pt x="314597" y="4619728"/>
                  <a:pt x="334923" y="4645745"/>
                  <a:pt x="328722" y="4667914"/>
                </a:cubicBezTo>
                <a:cubicBezTo>
                  <a:pt x="330810" y="4685069"/>
                  <a:pt x="333803" y="4690356"/>
                  <a:pt x="335597" y="4695035"/>
                </a:cubicBezTo>
                <a:lnTo>
                  <a:pt x="339485" y="4695979"/>
                </a:lnTo>
                <a:lnTo>
                  <a:pt x="341089" y="4704268"/>
                </a:lnTo>
                <a:lnTo>
                  <a:pt x="342177" y="4706060"/>
                </a:lnTo>
                <a:cubicBezTo>
                  <a:pt x="344268" y="4709474"/>
                  <a:pt x="346234" y="4712931"/>
                  <a:pt x="347751" y="4716754"/>
                </a:cubicBezTo>
                <a:lnTo>
                  <a:pt x="344125" y="4764669"/>
                </a:lnTo>
                <a:lnTo>
                  <a:pt x="340188" y="4779386"/>
                </a:lnTo>
                <a:lnTo>
                  <a:pt x="335146" y="4787491"/>
                </a:lnTo>
                <a:lnTo>
                  <a:pt x="319124" y="4843514"/>
                </a:lnTo>
                <a:lnTo>
                  <a:pt x="305956" y="4881505"/>
                </a:lnTo>
                <a:lnTo>
                  <a:pt x="301062" y="4889332"/>
                </a:lnTo>
                <a:lnTo>
                  <a:pt x="302141" y="4899400"/>
                </a:lnTo>
                <a:cubicBezTo>
                  <a:pt x="302767" y="4900706"/>
                  <a:pt x="303536" y="4901803"/>
                  <a:pt x="304424" y="4902664"/>
                </a:cubicBezTo>
                <a:lnTo>
                  <a:pt x="293123" y="4932769"/>
                </a:lnTo>
                <a:lnTo>
                  <a:pt x="292275" y="4936482"/>
                </a:lnTo>
                <a:lnTo>
                  <a:pt x="288304" y="4962325"/>
                </a:lnTo>
                <a:cubicBezTo>
                  <a:pt x="288009" y="4988948"/>
                  <a:pt x="287715" y="5015570"/>
                  <a:pt x="287420" y="5042193"/>
                </a:cubicBezTo>
                <a:cubicBezTo>
                  <a:pt x="295373" y="5039737"/>
                  <a:pt x="281659" y="5060438"/>
                  <a:pt x="287020" y="5065655"/>
                </a:cubicBezTo>
                <a:cubicBezTo>
                  <a:pt x="291675" y="5068928"/>
                  <a:pt x="288601" y="5075970"/>
                  <a:pt x="288488" y="5082216"/>
                </a:cubicBezTo>
                <a:cubicBezTo>
                  <a:pt x="292282" y="5088207"/>
                  <a:pt x="287008" y="5117775"/>
                  <a:pt x="282763" y="5127114"/>
                </a:cubicBezTo>
                <a:cubicBezTo>
                  <a:pt x="267723" y="5152218"/>
                  <a:pt x="280799" y="5182399"/>
                  <a:pt x="269316" y="5202682"/>
                </a:cubicBezTo>
                <a:cubicBezTo>
                  <a:pt x="267050" y="5219969"/>
                  <a:pt x="268614" y="5225841"/>
                  <a:pt x="269174" y="5230835"/>
                </a:cubicBezTo>
                <a:lnTo>
                  <a:pt x="272679" y="5232660"/>
                </a:lnTo>
                <a:lnTo>
                  <a:pt x="272160" y="5241150"/>
                </a:lnTo>
                <a:lnTo>
                  <a:pt x="272760" y="5243156"/>
                </a:lnTo>
                <a:cubicBezTo>
                  <a:pt x="273922" y="5246984"/>
                  <a:pt x="274952" y="5250824"/>
                  <a:pt x="275462" y="5254919"/>
                </a:cubicBezTo>
                <a:cubicBezTo>
                  <a:pt x="258407" y="5258851"/>
                  <a:pt x="276976" y="5290392"/>
                  <a:pt x="262897" y="5286259"/>
                </a:cubicBezTo>
                <a:cubicBezTo>
                  <a:pt x="262724" y="5309439"/>
                  <a:pt x="239612" y="5337531"/>
                  <a:pt x="252761" y="5357801"/>
                </a:cubicBezTo>
                <a:cubicBezTo>
                  <a:pt x="248775" y="5392256"/>
                  <a:pt x="247799" y="5423412"/>
                  <a:pt x="242360" y="5460080"/>
                </a:cubicBezTo>
                <a:cubicBezTo>
                  <a:pt x="232632" y="5488478"/>
                  <a:pt x="242025" y="5519143"/>
                  <a:pt x="229880" y="5539714"/>
                </a:cubicBezTo>
                <a:cubicBezTo>
                  <a:pt x="230558" y="5572454"/>
                  <a:pt x="222150" y="5613340"/>
                  <a:pt x="204283" y="5639080"/>
                </a:cubicBezTo>
                <a:cubicBezTo>
                  <a:pt x="201596" y="5674226"/>
                  <a:pt x="191051" y="5680198"/>
                  <a:pt x="198948" y="5710958"/>
                </a:cubicBezTo>
                <a:cubicBezTo>
                  <a:pt x="196338" y="5713534"/>
                  <a:pt x="194185" y="5716550"/>
                  <a:pt x="192367" y="5719859"/>
                </a:cubicBezTo>
                <a:lnTo>
                  <a:pt x="188035" y="5729935"/>
                </a:lnTo>
                <a:lnTo>
                  <a:pt x="188428" y="5731182"/>
                </a:lnTo>
                <a:lnTo>
                  <a:pt x="181635" y="5753538"/>
                </a:lnTo>
                <a:lnTo>
                  <a:pt x="169744" y="5796307"/>
                </a:lnTo>
                <a:lnTo>
                  <a:pt x="170351" y="5796644"/>
                </a:lnTo>
                <a:cubicBezTo>
                  <a:pt x="171558" y="5797954"/>
                  <a:pt x="172173" y="5799948"/>
                  <a:pt x="171559" y="5803435"/>
                </a:cubicBezTo>
                <a:cubicBezTo>
                  <a:pt x="182664" y="5798231"/>
                  <a:pt x="175075" y="5805646"/>
                  <a:pt x="172284" y="5816391"/>
                </a:cubicBezTo>
                <a:cubicBezTo>
                  <a:pt x="188911" y="5810703"/>
                  <a:pt x="174844" y="5841128"/>
                  <a:pt x="182542" y="5846382"/>
                </a:cubicBezTo>
                <a:cubicBezTo>
                  <a:pt x="180118" y="5854404"/>
                  <a:pt x="177856" y="5862781"/>
                  <a:pt x="175877" y="5871336"/>
                </a:cubicBezTo>
                <a:lnTo>
                  <a:pt x="174910" y="5876376"/>
                </a:lnTo>
                <a:lnTo>
                  <a:pt x="175047" y="5876483"/>
                </a:lnTo>
                <a:cubicBezTo>
                  <a:pt x="175167" y="5877594"/>
                  <a:pt x="174973" y="5879257"/>
                  <a:pt x="174335" y="5881814"/>
                </a:cubicBezTo>
                <a:lnTo>
                  <a:pt x="171273" y="5895339"/>
                </a:lnTo>
                <a:cubicBezTo>
                  <a:pt x="171401" y="5896476"/>
                  <a:pt x="171530" y="5897612"/>
                  <a:pt x="171658" y="5898749"/>
                </a:cubicBezTo>
                <a:lnTo>
                  <a:pt x="174658" y="5919558"/>
                </a:lnTo>
                <a:cubicBezTo>
                  <a:pt x="173958" y="5933601"/>
                  <a:pt x="171208" y="5962838"/>
                  <a:pt x="169099" y="5984417"/>
                </a:cubicBezTo>
                <a:cubicBezTo>
                  <a:pt x="162916" y="6005205"/>
                  <a:pt x="164971" y="6025162"/>
                  <a:pt x="162007" y="6049043"/>
                </a:cubicBezTo>
                <a:cubicBezTo>
                  <a:pt x="150795" y="6073830"/>
                  <a:pt x="160091" y="6088483"/>
                  <a:pt x="156875" y="6114000"/>
                </a:cubicBezTo>
                <a:cubicBezTo>
                  <a:pt x="141597" y="6134477"/>
                  <a:pt x="163381" y="6133378"/>
                  <a:pt x="165441" y="6146938"/>
                </a:cubicBezTo>
                <a:lnTo>
                  <a:pt x="165177" y="6150658"/>
                </a:lnTo>
                <a:lnTo>
                  <a:pt x="161772" y="6160011"/>
                </a:lnTo>
                <a:lnTo>
                  <a:pt x="160051" y="6163393"/>
                </a:lnTo>
                <a:cubicBezTo>
                  <a:pt x="159032" y="6165775"/>
                  <a:pt x="158564" y="6167421"/>
                  <a:pt x="158473" y="6168628"/>
                </a:cubicBezTo>
                <a:cubicBezTo>
                  <a:pt x="158506" y="6168685"/>
                  <a:pt x="158540" y="6168742"/>
                  <a:pt x="158573" y="6168799"/>
                </a:cubicBezTo>
                <a:lnTo>
                  <a:pt x="146463" y="6196671"/>
                </a:lnTo>
                <a:cubicBezTo>
                  <a:pt x="152348" y="6205503"/>
                  <a:pt x="134460" y="6231012"/>
                  <a:pt x="150209" y="6232365"/>
                </a:cubicBezTo>
                <a:cubicBezTo>
                  <a:pt x="145821" y="6242321"/>
                  <a:pt x="137774" y="6246719"/>
                  <a:pt x="148544" y="6246162"/>
                </a:cubicBezTo>
                <a:cubicBezTo>
                  <a:pt x="147378" y="6249522"/>
                  <a:pt x="147566" y="6251866"/>
                  <a:pt x="148403" y="6253754"/>
                </a:cubicBezTo>
                <a:lnTo>
                  <a:pt x="138880" y="6276449"/>
                </a:lnTo>
                <a:cubicBezTo>
                  <a:pt x="138814" y="6277540"/>
                  <a:pt x="138749" y="6278630"/>
                  <a:pt x="138683" y="6279721"/>
                </a:cubicBezTo>
                <a:lnTo>
                  <a:pt x="130721" y="6293675"/>
                </a:lnTo>
                <a:lnTo>
                  <a:pt x="120717" y="6313967"/>
                </a:lnTo>
                <a:cubicBezTo>
                  <a:pt x="120758" y="6314457"/>
                  <a:pt x="120800" y="6314947"/>
                  <a:pt x="120841" y="6315437"/>
                </a:cubicBezTo>
                <a:lnTo>
                  <a:pt x="115208" y="6324024"/>
                </a:lnTo>
                <a:cubicBezTo>
                  <a:pt x="113007" y="6326672"/>
                  <a:pt x="103991" y="6364381"/>
                  <a:pt x="101217" y="6365923"/>
                </a:cubicBezTo>
                <a:lnTo>
                  <a:pt x="74946" y="6556817"/>
                </a:lnTo>
                <a:cubicBezTo>
                  <a:pt x="55357" y="6665926"/>
                  <a:pt x="35695" y="6744075"/>
                  <a:pt x="16001" y="6808678"/>
                </a:cubicBezTo>
                <a:lnTo>
                  <a:pt x="0" y="6858000"/>
                </a:lnTo>
                <a:lnTo>
                  <a:pt x="5734864" y="6858000"/>
                </a:lnTo>
                <a:lnTo>
                  <a:pt x="5734864" y="0"/>
                </a:lnTo>
                <a:close/>
              </a:path>
            </a:pathLst>
          </a:custGeom>
          <a:solidFill>
            <a:srgbClr val="82766A">
              <a:alpha val="15000"/>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2F53C965-EE0D-441D-96BF-AA4BFFC51461}"/>
              </a:ext>
            </a:extLst>
          </p:cNvPr>
          <p:cNvSpPr>
            <a:spLocks noGrp="1"/>
          </p:cNvSpPr>
          <p:nvPr>
            <p:ph type="title"/>
          </p:nvPr>
        </p:nvSpPr>
        <p:spPr>
          <a:xfrm>
            <a:off x="181114" y="381937"/>
            <a:ext cx="5010284" cy="5785102"/>
          </a:xfrm>
        </p:spPr>
        <p:txBody>
          <a:bodyPr vert="horz" lIns="91440" tIns="45720" rIns="91440" bIns="45720" rtlCol="0" anchor="b">
            <a:noAutofit/>
          </a:bodyPr>
          <a:lstStyle/>
          <a:p>
            <a:pPr algn="ctr">
              <a:lnSpc>
                <a:spcPct val="90000"/>
              </a:lnSpc>
            </a:pPr>
            <a:r>
              <a:rPr lang="en-US" sz="4000" kern="1200" dirty="0">
                <a:solidFill>
                  <a:schemeClr val="tx1"/>
                </a:solidFill>
                <a:latin typeface="+mj-lt"/>
                <a:ea typeface="+mj-ea"/>
                <a:cs typeface="+mj-cs"/>
              </a:rPr>
              <a:t>Respectful Care Breakfast</a:t>
            </a:r>
            <a:r>
              <a:rPr lang="en-US" sz="4000" dirty="0">
                <a:solidFill>
                  <a:schemeClr val="tx1"/>
                </a:solidFill>
                <a:ea typeface="+mj-ea"/>
                <a:cs typeface="+mj-cs"/>
              </a:rPr>
              <a:t>: A Celebration of Respectful Care and Patient Voices</a:t>
            </a:r>
            <a:br>
              <a:rPr lang="en-US" sz="4000" dirty="0">
                <a:ea typeface="Calibri"/>
                <a:cs typeface="Calibri"/>
              </a:rPr>
            </a:br>
            <a:br>
              <a:rPr lang="en-US" sz="4000" dirty="0">
                <a:ea typeface="Calibri"/>
                <a:cs typeface="Calibri"/>
              </a:rPr>
            </a:br>
            <a:r>
              <a:rPr lang="en-US" sz="2800" b="0" dirty="0">
                <a:solidFill>
                  <a:schemeClr val="tx1"/>
                </a:solidFill>
                <a:ea typeface="Calibri"/>
                <a:cs typeface="Calibri"/>
              </a:rPr>
              <a:t>Building connections over breakfast with postpartum patients, community members, and clinical staff for discussion and feedback on respectful care</a:t>
            </a:r>
            <a:endParaRPr lang="en-US" sz="2800" b="0" kern="1200" dirty="0">
              <a:solidFill>
                <a:schemeClr val="tx1"/>
              </a:solidFill>
              <a:latin typeface="+mj-lt"/>
              <a:ea typeface="Calibri"/>
              <a:cs typeface="Calibri"/>
            </a:endParaRPr>
          </a:p>
        </p:txBody>
      </p:sp>
      <p:sp>
        <p:nvSpPr>
          <p:cNvPr id="5" name="Footer Placeholder 4">
            <a:extLst>
              <a:ext uri="{FF2B5EF4-FFF2-40B4-BE49-F238E27FC236}">
                <a16:creationId xmlns:a16="http://schemas.microsoft.com/office/drawing/2014/main" id="{3E97C472-B7C4-432B-BE68-86FA3727418E}"/>
              </a:ext>
            </a:extLst>
          </p:cNvPr>
          <p:cNvSpPr>
            <a:spLocks noGrp="1"/>
          </p:cNvSpPr>
          <p:nvPr>
            <p:ph type="ftr" sz="quarter" idx="11"/>
          </p:nvPr>
        </p:nvSpPr>
        <p:spPr>
          <a:xfrm>
            <a:off x="509954" y="6309458"/>
            <a:ext cx="4114800" cy="365125"/>
          </a:xfrm>
        </p:spPr>
        <p:txBody>
          <a:bodyPr vert="horz" lIns="91440" tIns="45720" rIns="91440" bIns="45720" rtlCol="0" anchor="ctr">
            <a:normAutofit/>
          </a:bodyPr>
          <a:lstStyle/>
          <a:p>
            <a:pPr>
              <a:spcAft>
                <a:spcPts val="600"/>
              </a:spcAft>
            </a:pPr>
            <a:r>
              <a:rPr lang="en-US" sz="1000" kern="1200">
                <a:solidFill>
                  <a:schemeClr val="tx1">
                    <a:tint val="75000"/>
                  </a:schemeClr>
                </a:solidFill>
                <a:latin typeface="+mn-lt"/>
                <a:ea typeface="+mn-ea"/>
                <a:cs typeface="+mn-cs"/>
              </a:rPr>
              <a:t>Illinois Perinatal Quality Collaborative</a:t>
            </a:r>
          </a:p>
        </p:txBody>
      </p:sp>
      <p:sp>
        <p:nvSpPr>
          <p:cNvPr id="4" name="Slide Number Placeholder 3">
            <a:extLst>
              <a:ext uri="{FF2B5EF4-FFF2-40B4-BE49-F238E27FC236}">
                <a16:creationId xmlns:a16="http://schemas.microsoft.com/office/drawing/2014/main" id="{3C0BED1F-6F67-418F-8281-4E0D17E7419A}"/>
              </a:ext>
            </a:extLst>
          </p:cNvPr>
          <p:cNvSpPr>
            <a:spLocks noGrp="1"/>
          </p:cNvSpPr>
          <p:nvPr>
            <p:ph type="sldNum" sz="quarter" idx="10"/>
          </p:nvPr>
        </p:nvSpPr>
        <p:spPr>
          <a:xfrm>
            <a:off x="8610600" y="6356350"/>
            <a:ext cx="2743200" cy="365125"/>
          </a:xfrm>
        </p:spPr>
        <p:txBody>
          <a:bodyPr vert="horz" lIns="91440" tIns="45720" rIns="91440" bIns="45720" rtlCol="0" anchor="ctr">
            <a:normAutofit/>
          </a:bodyPr>
          <a:lstStyle/>
          <a:p>
            <a:pPr>
              <a:spcAft>
                <a:spcPts val="600"/>
              </a:spcAft>
            </a:pPr>
            <a:fld id="{97033E4B-E3EB-3D46-B2D8-3159663620FA}" type="slidenum">
              <a:rPr lang="en-US" sz="1000">
                <a:solidFill>
                  <a:schemeClr val="tx1">
                    <a:tint val="75000"/>
                  </a:schemeClr>
                </a:solidFill>
              </a:rPr>
              <a:pPr>
                <a:spcAft>
                  <a:spcPts val="600"/>
                </a:spcAft>
              </a:pPr>
              <a:t>10</a:t>
            </a:fld>
            <a:endParaRPr lang="en-US" sz="1000">
              <a:solidFill>
                <a:schemeClr val="tx1">
                  <a:tint val="75000"/>
                </a:schemeClr>
              </a:solidFill>
            </a:endParaRPr>
          </a:p>
        </p:txBody>
      </p:sp>
      <p:pic>
        <p:nvPicPr>
          <p:cNvPr id="6" name="Picture 6" descr="Text&#10;&#10;Description automatically generated">
            <a:extLst>
              <a:ext uri="{FF2B5EF4-FFF2-40B4-BE49-F238E27FC236}">
                <a16:creationId xmlns:a16="http://schemas.microsoft.com/office/drawing/2014/main" id="{41B853E7-DC83-C695-A9A7-763FA445DAE2}"/>
              </a:ext>
            </a:extLst>
          </p:cNvPr>
          <p:cNvPicPr>
            <a:picLocks noChangeAspect="1"/>
          </p:cNvPicPr>
          <p:nvPr/>
        </p:nvPicPr>
        <p:blipFill>
          <a:blip r:embed="rId3"/>
          <a:stretch>
            <a:fillRect/>
          </a:stretch>
        </p:blipFill>
        <p:spPr>
          <a:xfrm>
            <a:off x="6173273" y="-496"/>
            <a:ext cx="4878946" cy="6858990"/>
          </a:xfrm>
          <a:prstGeom prst="rect">
            <a:avLst/>
          </a:prstGeom>
        </p:spPr>
      </p:pic>
    </p:spTree>
    <p:extLst>
      <p:ext uri="{BB962C8B-B14F-4D97-AF65-F5344CB8AC3E}">
        <p14:creationId xmlns:p14="http://schemas.microsoft.com/office/powerpoint/2010/main" val="32601147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9" name="Rectangle 18">
            <a:extLst>
              <a:ext uri="{FF2B5EF4-FFF2-40B4-BE49-F238E27FC236}">
                <a16:creationId xmlns:a16="http://schemas.microsoft.com/office/drawing/2014/main" id="{3C54F4CE-85F0-46ED-80DA-9518C9251A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Shape 20">
            <a:extLst>
              <a:ext uri="{FF2B5EF4-FFF2-40B4-BE49-F238E27FC236}">
                <a16:creationId xmlns:a16="http://schemas.microsoft.com/office/drawing/2014/main" id="{DADD1FCA-8ACB-4958-81DD-4CDD6D3E192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0"/>
            <a:ext cx="5802086" cy="6858000"/>
          </a:xfrm>
          <a:custGeom>
            <a:avLst/>
            <a:gdLst>
              <a:gd name="connsiteX0" fmla="*/ 5734864 w 5734864"/>
              <a:gd name="connsiteY0" fmla="*/ 0 h 6858000"/>
              <a:gd name="connsiteX1" fmla="*/ 771611 w 5734864"/>
              <a:gd name="connsiteY1" fmla="*/ 0 h 6858000"/>
              <a:gd name="connsiteX2" fmla="*/ 771679 w 5734864"/>
              <a:gd name="connsiteY2" fmla="*/ 49108 h 6858000"/>
              <a:gd name="connsiteX3" fmla="*/ 794248 w 5734864"/>
              <a:gd name="connsiteY3" fmla="*/ 200968 h 6858000"/>
              <a:gd name="connsiteX4" fmla="*/ 801749 w 5734864"/>
              <a:gd name="connsiteY4" fmla="*/ 414071 h 6858000"/>
              <a:gd name="connsiteX5" fmla="*/ 818548 w 5734864"/>
              <a:gd name="connsiteY5" fmla="*/ 585467 h 6858000"/>
              <a:gd name="connsiteX6" fmla="*/ 857476 w 5734864"/>
              <a:gd name="connsiteY6" fmla="*/ 800623 h 6858000"/>
              <a:gd name="connsiteX7" fmla="*/ 851083 w 5734864"/>
              <a:gd name="connsiteY7" fmla="*/ 878903 h 6858000"/>
              <a:gd name="connsiteX8" fmla="*/ 873564 w 5734864"/>
              <a:gd name="connsiteY8" fmla="*/ 943826 h 6858000"/>
              <a:gd name="connsiteX9" fmla="*/ 864705 w 5734864"/>
              <a:gd name="connsiteY9" fmla="*/ 973328 h 6858000"/>
              <a:gd name="connsiteX10" fmla="*/ 862869 w 5734864"/>
              <a:gd name="connsiteY10" fmla="*/ 978457 h 6858000"/>
              <a:gd name="connsiteX11" fmla="*/ 862233 w 5734864"/>
              <a:gd name="connsiteY11" fmla="*/ 998041 h 6858000"/>
              <a:gd name="connsiteX12" fmla="*/ 853665 w 5734864"/>
              <a:gd name="connsiteY12" fmla="*/ 1004750 h 6858000"/>
              <a:gd name="connsiteX13" fmla="*/ 846695 w 5734864"/>
              <a:gd name="connsiteY13" fmla="*/ 1035077 h 6858000"/>
              <a:gd name="connsiteX14" fmla="*/ 847865 w 5734864"/>
              <a:gd name="connsiteY14" fmla="*/ 1070795 h 6858000"/>
              <a:gd name="connsiteX15" fmla="*/ 862786 w 5734864"/>
              <a:gd name="connsiteY15" fmla="*/ 1238994 h 6858000"/>
              <a:gd name="connsiteX16" fmla="*/ 859345 w 5734864"/>
              <a:gd name="connsiteY16" fmla="*/ 1380427 h 6858000"/>
              <a:gd name="connsiteX17" fmla="*/ 855172 w 5734864"/>
              <a:gd name="connsiteY17" fmla="*/ 1435262 h 6858000"/>
              <a:gd name="connsiteX18" fmla="*/ 860494 w 5734864"/>
              <a:gd name="connsiteY18" fmla="*/ 1453861 h 6858000"/>
              <a:gd name="connsiteX19" fmla="*/ 853731 w 5734864"/>
              <a:gd name="connsiteY19" fmla="*/ 1467047 h 6858000"/>
              <a:gd name="connsiteX20" fmla="*/ 845847 w 5734864"/>
              <a:gd name="connsiteY20" fmla="*/ 1502307 h 6858000"/>
              <a:gd name="connsiteX21" fmla="*/ 817613 w 5734864"/>
              <a:gd name="connsiteY21" fmla="*/ 1565166 h 6858000"/>
              <a:gd name="connsiteX22" fmla="*/ 804223 w 5734864"/>
              <a:gd name="connsiteY22" fmla="*/ 1601941 h 6858000"/>
              <a:gd name="connsiteX23" fmla="*/ 791773 w 5734864"/>
              <a:gd name="connsiteY23" fmla="*/ 1627005 h 6858000"/>
              <a:gd name="connsiteX24" fmla="*/ 774645 w 5734864"/>
              <a:gd name="connsiteY24" fmla="*/ 1699922 h 6858000"/>
              <a:gd name="connsiteX25" fmla="*/ 752343 w 5734864"/>
              <a:gd name="connsiteY25" fmla="*/ 1824604 h 6858000"/>
              <a:gd name="connsiteX26" fmla="*/ 746254 w 5734864"/>
              <a:gd name="connsiteY26" fmla="*/ 1850222 h 6858000"/>
              <a:gd name="connsiteX27" fmla="*/ 728600 w 5734864"/>
              <a:gd name="connsiteY27" fmla="*/ 1869603 h 6858000"/>
              <a:gd name="connsiteX28" fmla="*/ 724396 w 5734864"/>
              <a:gd name="connsiteY28" fmla="*/ 1883104 h 6858000"/>
              <a:gd name="connsiteX29" fmla="*/ 722165 w 5734864"/>
              <a:gd name="connsiteY29" fmla="*/ 1885924 h 6858000"/>
              <a:gd name="connsiteX30" fmla="*/ 721338 w 5734864"/>
              <a:gd name="connsiteY30" fmla="*/ 1887123 h 6858000"/>
              <a:gd name="connsiteX31" fmla="*/ 714840 w 5734864"/>
              <a:gd name="connsiteY31" fmla="*/ 1902274 h 6858000"/>
              <a:gd name="connsiteX32" fmla="*/ 722847 w 5734864"/>
              <a:gd name="connsiteY32" fmla="*/ 1929891 h 6858000"/>
              <a:gd name="connsiteX33" fmla="*/ 719647 w 5734864"/>
              <a:gd name="connsiteY33" fmla="*/ 1936120 h 6858000"/>
              <a:gd name="connsiteX34" fmla="*/ 714660 w 5734864"/>
              <a:gd name="connsiteY34" fmla="*/ 1982709 h 6858000"/>
              <a:gd name="connsiteX35" fmla="*/ 710759 w 5734864"/>
              <a:gd name="connsiteY35" fmla="*/ 2013010 h 6858000"/>
              <a:gd name="connsiteX36" fmla="*/ 697927 w 5734864"/>
              <a:gd name="connsiteY36" fmla="*/ 2069833 h 6858000"/>
              <a:gd name="connsiteX37" fmla="*/ 693594 w 5734864"/>
              <a:gd name="connsiteY37" fmla="*/ 2103731 h 6858000"/>
              <a:gd name="connsiteX38" fmla="*/ 691109 w 5734864"/>
              <a:gd name="connsiteY38" fmla="*/ 2124027 h 6858000"/>
              <a:gd name="connsiteX39" fmla="*/ 676593 w 5734864"/>
              <a:gd name="connsiteY39" fmla="*/ 2176182 h 6858000"/>
              <a:gd name="connsiteX40" fmla="*/ 633227 w 5734864"/>
              <a:gd name="connsiteY40" fmla="*/ 2258036 h 6858000"/>
              <a:gd name="connsiteX41" fmla="*/ 625564 w 5734864"/>
              <a:gd name="connsiteY41" fmla="*/ 2284567 h 6858000"/>
              <a:gd name="connsiteX42" fmla="*/ 627074 w 5734864"/>
              <a:gd name="connsiteY42" fmla="*/ 2289605 h 6858000"/>
              <a:gd name="connsiteX43" fmla="*/ 614574 w 5734864"/>
              <a:gd name="connsiteY43" fmla="*/ 2308717 h 6858000"/>
              <a:gd name="connsiteX44" fmla="*/ 606890 w 5734864"/>
              <a:gd name="connsiteY44" fmla="*/ 2320662 h 6858000"/>
              <a:gd name="connsiteX45" fmla="*/ 605558 w 5734864"/>
              <a:gd name="connsiteY45" fmla="*/ 2327897 h 6858000"/>
              <a:gd name="connsiteX46" fmla="*/ 602202 w 5734864"/>
              <a:gd name="connsiteY46" fmla="*/ 2357749 h 6858000"/>
              <a:gd name="connsiteX47" fmla="*/ 600213 w 5734864"/>
              <a:gd name="connsiteY47" fmla="*/ 2364905 h 6858000"/>
              <a:gd name="connsiteX48" fmla="*/ 597160 w 5734864"/>
              <a:gd name="connsiteY48" fmla="*/ 2388351 h 6858000"/>
              <a:gd name="connsiteX49" fmla="*/ 597982 w 5734864"/>
              <a:gd name="connsiteY49" fmla="*/ 2402296 h 6858000"/>
              <a:gd name="connsiteX50" fmla="*/ 593150 w 5734864"/>
              <a:gd name="connsiteY50" fmla="*/ 2420015 h 6858000"/>
              <a:gd name="connsiteX51" fmla="*/ 592833 w 5734864"/>
              <a:gd name="connsiteY51" fmla="*/ 2422749 h 6858000"/>
              <a:gd name="connsiteX52" fmla="*/ 594479 w 5734864"/>
              <a:gd name="connsiteY52" fmla="*/ 2426002 h 6858000"/>
              <a:gd name="connsiteX53" fmla="*/ 591963 w 5734864"/>
              <a:gd name="connsiteY53" fmla="*/ 2431950 h 6858000"/>
              <a:gd name="connsiteX54" fmla="*/ 591544 w 5734864"/>
              <a:gd name="connsiteY54" fmla="*/ 2433897 h 6858000"/>
              <a:gd name="connsiteX55" fmla="*/ 589519 w 5734864"/>
              <a:gd name="connsiteY55" fmla="*/ 2451398 h 6858000"/>
              <a:gd name="connsiteX56" fmla="*/ 590037 w 5734864"/>
              <a:gd name="connsiteY56" fmla="*/ 2455536 h 6858000"/>
              <a:gd name="connsiteX57" fmla="*/ 588179 w 5734864"/>
              <a:gd name="connsiteY57" fmla="*/ 2462981 h 6858000"/>
              <a:gd name="connsiteX58" fmla="*/ 583434 w 5734864"/>
              <a:gd name="connsiteY58" fmla="*/ 2503991 h 6858000"/>
              <a:gd name="connsiteX59" fmla="*/ 567942 w 5734864"/>
              <a:gd name="connsiteY59" fmla="*/ 2652936 h 6858000"/>
              <a:gd name="connsiteX60" fmla="*/ 573869 w 5734864"/>
              <a:gd name="connsiteY60" fmla="*/ 2670188 h 6858000"/>
              <a:gd name="connsiteX61" fmla="*/ 575243 w 5734864"/>
              <a:gd name="connsiteY61" fmla="*/ 2688114 h 6858000"/>
              <a:gd name="connsiteX62" fmla="*/ 573824 w 5734864"/>
              <a:gd name="connsiteY62" fmla="*/ 2689856 h 6858000"/>
              <a:gd name="connsiteX63" fmla="*/ 570699 w 5734864"/>
              <a:gd name="connsiteY63" fmla="*/ 2709353 h 6858000"/>
              <a:gd name="connsiteX64" fmla="*/ 573192 w 5734864"/>
              <a:gd name="connsiteY64" fmla="*/ 2714527 h 6858000"/>
              <a:gd name="connsiteX65" fmla="*/ 572044 w 5734864"/>
              <a:gd name="connsiteY65" fmla="*/ 2728187 h 6858000"/>
              <a:gd name="connsiteX66" fmla="*/ 572465 w 5734864"/>
              <a:gd name="connsiteY66" fmla="*/ 2755863 h 6858000"/>
              <a:gd name="connsiteX67" fmla="*/ 570028 w 5734864"/>
              <a:gd name="connsiteY67" fmla="*/ 2760324 h 6858000"/>
              <a:gd name="connsiteX68" fmla="*/ 566748 w 5734864"/>
              <a:gd name="connsiteY68" fmla="*/ 2800948 h 6858000"/>
              <a:gd name="connsiteX69" fmla="*/ 565509 w 5734864"/>
              <a:gd name="connsiteY69" fmla="*/ 2801167 h 6858000"/>
              <a:gd name="connsiteX70" fmla="*/ 559367 w 5734864"/>
              <a:gd name="connsiteY70" fmla="*/ 2811129 h 6858000"/>
              <a:gd name="connsiteX71" fmla="*/ 550354 w 5734864"/>
              <a:gd name="connsiteY71" fmla="*/ 2830949 h 6858000"/>
              <a:gd name="connsiteX72" fmla="*/ 514795 w 5734864"/>
              <a:gd name="connsiteY72" fmla="*/ 2872433 h 6858000"/>
              <a:gd name="connsiteX73" fmla="*/ 509875 w 5734864"/>
              <a:gd name="connsiteY73" fmla="*/ 2923099 h 6858000"/>
              <a:gd name="connsiteX74" fmla="*/ 509577 w 5734864"/>
              <a:gd name="connsiteY74" fmla="*/ 2923197 h 6858000"/>
              <a:gd name="connsiteX75" fmla="*/ 507597 w 5734864"/>
              <a:gd name="connsiteY75" fmla="*/ 2931868 h 6858000"/>
              <a:gd name="connsiteX76" fmla="*/ 507379 w 5734864"/>
              <a:gd name="connsiteY76" fmla="*/ 2938322 h 6858000"/>
              <a:gd name="connsiteX77" fmla="*/ 504725 w 5734864"/>
              <a:gd name="connsiteY77" fmla="*/ 2954519 h 6858000"/>
              <a:gd name="connsiteX78" fmla="*/ 502018 w 5734864"/>
              <a:gd name="connsiteY78" fmla="*/ 2959643 h 6858000"/>
              <a:gd name="connsiteX79" fmla="*/ 498360 w 5734864"/>
              <a:gd name="connsiteY79" fmla="*/ 2961019 h 6858000"/>
              <a:gd name="connsiteX80" fmla="*/ 498483 w 5734864"/>
              <a:gd name="connsiteY80" fmla="*/ 2962590 h 6858000"/>
              <a:gd name="connsiteX81" fmla="*/ 484403 w 5734864"/>
              <a:gd name="connsiteY81" fmla="*/ 2990538 h 6858000"/>
              <a:gd name="connsiteX82" fmla="*/ 463075 w 5734864"/>
              <a:gd name="connsiteY82" fmla="*/ 3055956 h 6858000"/>
              <a:gd name="connsiteX83" fmla="*/ 455013 w 5734864"/>
              <a:gd name="connsiteY83" fmla="*/ 3094482 h 6858000"/>
              <a:gd name="connsiteX84" fmla="*/ 428391 w 5734864"/>
              <a:gd name="connsiteY84" fmla="*/ 3198850 h 6858000"/>
              <a:gd name="connsiteX85" fmla="*/ 401440 w 5734864"/>
              <a:gd name="connsiteY85" fmla="*/ 3307560 h 6858000"/>
              <a:gd name="connsiteX86" fmla="*/ 386076 w 5734864"/>
              <a:gd name="connsiteY86" fmla="*/ 3373943 h 6858000"/>
              <a:gd name="connsiteX87" fmla="*/ 374726 w 5734864"/>
              <a:gd name="connsiteY87" fmla="*/ 3381364 h 6858000"/>
              <a:gd name="connsiteX88" fmla="*/ 369145 w 5734864"/>
              <a:gd name="connsiteY88" fmla="*/ 3383729 h 6858000"/>
              <a:gd name="connsiteX89" fmla="*/ 364294 w 5734864"/>
              <a:gd name="connsiteY89" fmla="*/ 3414159 h 6858000"/>
              <a:gd name="connsiteX90" fmla="*/ 366450 w 5734864"/>
              <a:gd name="connsiteY90" fmla="*/ 3436925 h 6858000"/>
              <a:gd name="connsiteX91" fmla="*/ 351743 w 5734864"/>
              <a:gd name="connsiteY91" fmla="*/ 3521619 h 6858000"/>
              <a:gd name="connsiteX92" fmla="*/ 345784 w 5734864"/>
              <a:gd name="connsiteY92" fmla="*/ 3603757 h 6858000"/>
              <a:gd name="connsiteX93" fmla="*/ 344198 w 5734864"/>
              <a:gd name="connsiteY93" fmla="*/ 3652424 h 6858000"/>
              <a:gd name="connsiteX94" fmla="*/ 352450 w 5734864"/>
              <a:gd name="connsiteY94" fmla="*/ 3665222 h 6858000"/>
              <a:gd name="connsiteX95" fmla="*/ 342621 w 5734864"/>
              <a:gd name="connsiteY95" fmla="*/ 3700804 h 6858000"/>
              <a:gd name="connsiteX96" fmla="*/ 341514 w 5734864"/>
              <a:gd name="connsiteY96" fmla="*/ 3734774 h 6858000"/>
              <a:gd name="connsiteX97" fmla="*/ 340607 w 5734864"/>
              <a:gd name="connsiteY97" fmla="*/ 3785153 h 6858000"/>
              <a:gd name="connsiteX98" fmla="*/ 340707 w 5734864"/>
              <a:gd name="connsiteY98" fmla="*/ 3788177 h 6858000"/>
              <a:gd name="connsiteX99" fmla="*/ 340361 w 5734864"/>
              <a:gd name="connsiteY99" fmla="*/ 3798803 h 6858000"/>
              <a:gd name="connsiteX100" fmla="*/ 339642 w 5734864"/>
              <a:gd name="connsiteY100" fmla="*/ 3838750 h 6858000"/>
              <a:gd name="connsiteX101" fmla="*/ 360295 w 5734864"/>
              <a:gd name="connsiteY101" fmla="*/ 4015196 h 6858000"/>
              <a:gd name="connsiteX102" fmla="*/ 339043 w 5734864"/>
              <a:gd name="connsiteY102" fmla="*/ 4052778 h 6858000"/>
              <a:gd name="connsiteX103" fmla="*/ 339343 w 5734864"/>
              <a:gd name="connsiteY103" fmla="*/ 4096257 h 6858000"/>
              <a:gd name="connsiteX104" fmla="*/ 340786 w 5734864"/>
              <a:gd name="connsiteY104" fmla="*/ 4321136 h 6858000"/>
              <a:gd name="connsiteX105" fmla="*/ 343158 w 5734864"/>
              <a:gd name="connsiteY105" fmla="*/ 4429174 h 6858000"/>
              <a:gd name="connsiteX106" fmla="*/ 334599 w 5734864"/>
              <a:gd name="connsiteY106" fmla="*/ 4449938 h 6858000"/>
              <a:gd name="connsiteX107" fmla="*/ 332890 w 5734864"/>
              <a:gd name="connsiteY107" fmla="*/ 4453515 h 6858000"/>
              <a:gd name="connsiteX108" fmla="*/ 331105 w 5734864"/>
              <a:gd name="connsiteY108" fmla="*/ 4467941 h 6858000"/>
              <a:gd name="connsiteX109" fmla="*/ 324289 w 5734864"/>
              <a:gd name="connsiteY109" fmla="*/ 4471861 h 6858000"/>
              <a:gd name="connsiteX110" fmla="*/ 317079 w 5734864"/>
              <a:gd name="connsiteY110" fmla="*/ 4493468 h 6858000"/>
              <a:gd name="connsiteX111" fmla="*/ 315557 w 5734864"/>
              <a:gd name="connsiteY111" fmla="*/ 4520067 h 6858000"/>
              <a:gd name="connsiteX112" fmla="*/ 315240 w 5734864"/>
              <a:gd name="connsiteY112" fmla="*/ 4536872 h 6858000"/>
              <a:gd name="connsiteX113" fmla="*/ 316200 w 5734864"/>
              <a:gd name="connsiteY113" fmla="*/ 4538297 h 6858000"/>
              <a:gd name="connsiteX114" fmla="*/ 317507 w 5734864"/>
              <a:gd name="connsiteY114" fmla="*/ 4547582 h 6858000"/>
              <a:gd name="connsiteX115" fmla="*/ 323078 w 5734864"/>
              <a:gd name="connsiteY115" fmla="*/ 4592102 h 6858000"/>
              <a:gd name="connsiteX116" fmla="*/ 328722 w 5734864"/>
              <a:gd name="connsiteY116" fmla="*/ 4667914 h 6858000"/>
              <a:gd name="connsiteX117" fmla="*/ 335597 w 5734864"/>
              <a:gd name="connsiteY117" fmla="*/ 4695035 h 6858000"/>
              <a:gd name="connsiteX118" fmla="*/ 339485 w 5734864"/>
              <a:gd name="connsiteY118" fmla="*/ 4695979 h 6858000"/>
              <a:gd name="connsiteX119" fmla="*/ 341089 w 5734864"/>
              <a:gd name="connsiteY119" fmla="*/ 4704268 h 6858000"/>
              <a:gd name="connsiteX120" fmla="*/ 342177 w 5734864"/>
              <a:gd name="connsiteY120" fmla="*/ 4706060 h 6858000"/>
              <a:gd name="connsiteX121" fmla="*/ 347751 w 5734864"/>
              <a:gd name="connsiteY121" fmla="*/ 4716754 h 6858000"/>
              <a:gd name="connsiteX122" fmla="*/ 344125 w 5734864"/>
              <a:gd name="connsiteY122" fmla="*/ 4764669 h 6858000"/>
              <a:gd name="connsiteX123" fmla="*/ 340188 w 5734864"/>
              <a:gd name="connsiteY123" fmla="*/ 4779386 h 6858000"/>
              <a:gd name="connsiteX124" fmla="*/ 335146 w 5734864"/>
              <a:gd name="connsiteY124" fmla="*/ 4787491 h 6858000"/>
              <a:gd name="connsiteX125" fmla="*/ 319124 w 5734864"/>
              <a:gd name="connsiteY125" fmla="*/ 4843514 h 6858000"/>
              <a:gd name="connsiteX126" fmla="*/ 305956 w 5734864"/>
              <a:gd name="connsiteY126" fmla="*/ 4881505 h 6858000"/>
              <a:gd name="connsiteX127" fmla="*/ 301062 w 5734864"/>
              <a:gd name="connsiteY127" fmla="*/ 4889332 h 6858000"/>
              <a:gd name="connsiteX128" fmla="*/ 302141 w 5734864"/>
              <a:gd name="connsiteY128" fmla="*/ 4899400 h 6858000"/>
              <a:gd name="connsiteX129" fmla="*/ 304424 w 5734864"/>
              <a:gd name="connsiteY129" fmla="*/ 4902664 h 6858000"/>
              <a:gd name="connsiteX130" fmla="*/ 293123 w 5734864"/>
              <a:gd name="connsiteY130" fmla="*/ 4932769 h 6858000"/>
              <a:gd name="connsiteX131" fmla="*/ 292275 w 5734864"/>
              <a:gd name="connsiteY131" fmla="*/ 4936482 h 6858000"/>
              <a:gd name="connsiteX132" fmla="*/ 288304 w 5734864"/>
              <a:gd name="connsiteY132" fmla="*/ 4962325 h 6858000"/>
              <a:gd name="connsiteX133" fmla="*/ 287420 w 5734864"/>
              <a:gd name="connsiteY133" fmla="*/ 5042193 h 6858000"/>
              <a:gd name="connsiteX134" fmla="*/ 287020 w 5734864"/>
              <a:gd name="connsiteY134" fmla="*/ 5065655 h 6858000"/>
              <a:gd name="connsiteX135" fmla="*/ 288488 w 5734864"/>
              <a:gd name="connsiteY135" fmla="*/ 5082216 h 6858000"/>
              <a:gd name="connsiteX136" fmla="*/ 282763 w 5734864"/>
              <a:gd name="connsiteY136" fmla="*/ 5127114 h 6858000"/>
              <a:gd name="connsiteX137" fmla="*/ 269316 w 5734864"/>
              <a:gd name="connsiteY137" fmla="*/ 5202682 h 6858000"/>
              <a:gd name="connsiteX138" fmla="*/ 269174 w 5734864"/>
              <a:gd name="connsiteY138" fmla="*/ 5230835 h 6858000"/>
              <a:gd name="connsiteX139" fmla="*/ 272679 w 5734864"/>
              <a:gd name="connsiteY139" fmla="*/ 5232660 h 6858000"/>
              <a:gd name="connsiteX140" fmla="*/ 272160 w 5734864"/>
              <a:gd name="connsiteY140" fmla="*/ 5241150 h 6858000"/>
              <a:gd name="connsiteX141" fmla="*/ 272760 w 5734864"/>
              <a:gd name="connsiteY141" fmla="*/ 5243156 h 6858000"/>
              <a:gd name="connsiteX142" fmla="*/ 275462 w 5734864"/>
              <a:gd name="connsiteY142" fmla="*/ 5254919 h 6858000"/>
              <a:gd name="connsiteX143" fmla="*/ 262897 w 5734864"/>
              <a:gd name="connsiteY143" fmla="*/ 5286259 h 6858000"/>
              <a:gd name="connsiteX144" fmla="*/ 252761 w 5734864"/>
              <a:gd name="connsiteY144" fmla="*/ 5357801 h 6858000"/>
              <a:gd name="connsiteX145" fmla="*/ 242360 w 5734864"/>
              <a:gd name="connsiteY145" fmla="*/ 5460080 h 6858000"/>
              <a:gd name="connsiteX146" fmla="*/ 229880 w 5734864"/>
              <a:gd name="connsiteY146" fmla="*/ 5539714 h 6858000"/>
              <a:gd name="connsiteX147" fmla="*/ 204283 w 5734864"/>
              <a:gd name="connsiteY147" fmla="*/ 5639080 h 6858000"/>
              <a:gd name="connsiteX148" fmla="*/ 198948 w 5734864"/>
              <a:gd name="connsiteY148" fmla="*/ 5710958 h 6858000"/>
              <a:gd name="connsiteX149" fmla="*/ 192367 w 5734864"/>
              <a:gd name="connsiteY149" fmla="*/ 5719859 h 6858000"/>
              <a:gd name="connsiteX150" fmla="*/ 188035 w 5734864"/>
              <a:gd name="connsiteY150" fmla="*/ 5729935 h 6858000"/>
              <a:gd name="connsiteX151" fmla="*/ 188428 w 5734864"/>
              <a:gd name="connsiteY151" fmla="*/ 5731182 h 6858000"/>
              <a:gd name="connsiteX152" fmla="*/ 181635 w 5734864"/>
              <a:gd name="connsiteY152" fmla="*/ 5753538 h 6858000"/>
              <a:gd name="connsiteX153" fmla="*/ 169744 w 5734864"/>
              <a:gd name="connsiteY153" fmla="*/ 5796307 h 6858000"/>
              <a:gd name="connsiteX154" fmla="*/ 170351 w 5734864"/>
              <a:gd name="connsiteY154" fmla="*/ 5796644 h 6858000"/>
              <a:gd name="connsiteX155" fmla="*/ 171559 w 5734864"/>
              <a:gd name="connsiteY155" fmla="*/ 5803435 h 6858000"/>
              <a:gd name="connsiteX156" fmla="*/ 172284 w 5734864"/>
              <a:gd name="connsiteY156" fmla="*/ 5816391 h 6858000"/>
              <a:gd name="connsiteX157" fmla="*/ 182542 w 5734864"/>
              <a:gd name="connsiteY157" fmla="*/ 5846382 h 6858000"/>
              <a:gd name="connsiteX158" fmla="*/ 175877 w 5734864"/>
              <a:gd name="connsiteY158" fmla="*/ 5871336 h 6858000"/>
              <a:gd name="connsiteX159" fmla="*/ 174910 w 5734864"/>
              <a:gd name="connsiteY159" fmla="*/ 5876376 h 6858000"/>
              <a:gd name="connsiteX160" fmla="*/ 175047 w 5734864"/>
              <a:gd name="connsiteY160" fmla="*/ 5876483 h 6858000"/>
              <a:gd name="connsiteX161" fmla="*/ 174335 w 5734864"/>
              <a:gd name="connsiteY161" fmla="*/ 5881814 h 6858000"/>
              <a:gd name="connsiteX162" fmla="*/ 171273 w 5734864"/>
              <a:gd name="connsiteY162" fmla="*/ 5895339 h 6858000"/>
              <a:gd name="connsiteX163" fmla="*/ 171658 w 5734864"/>
              <a:gd name="connsiteY163" fmla="*/ 5898749 h 6858000"/>
              <a:gd name="connsiteX164" fmla="*/ 174658 w 5734864"/>
              <a:gd name="connsiteY164" fmla="*/ 5919558 h 6858000"/>
              <a:gd name="connsiteX165" fmla="*/ 169099 w 5734864"/>
              <a:gd name="connsiteY165" fmla="*/ 5984417 h 6858000"/>
              <a:gd name="connsiteX166" fmla="*/ 162007 w 5734864"/>
              <a:gd name="connsiteY166" fmla="*/ 6049043 h 6858000"/>
              <a:gd name="connsiteX167" fmla="*/ 156875 w 5734864"/>
              <a:gd name="connsiteY167" fmla="*/ 6114000 h 6858000"/>
              <a:gd name="connsiteX168" fmla="*/ 165441 w 5734864"/>
              <a:gd name="connsiteY168" fmla="*/ 6146938 h 6858000"/>
              <a:gd name="connsiteX169" fmla="*/ 165177 w 5734864"/>
              <a:gd name="connsiteY169" fmla="*/ 6150658 h 6858000"/>
              <a:gd name="connsiteX170" fmla="*/ 161772 w 5734864"/>
              <a:gd name="connsiteY170" fmla="*/ 6160011 h 6858000"/>
              <a:gd name="connsiteX171" fmla="*/ 160051 w 5734864"/>
              <a:gd name="connsiteY171" fmla="*/ 6163393 h 6858000"/>
              <a:gd name="connsiteX172" fmla="*/ 158473 w 5734864"/>
              <a:gd name="connsiteY172" fmla="*/ 6168628 h 6858000"/>
              <a:gd name="connsiteX173" fmla="*/ 158573 w 5734864"/>
              <a:gd name="connsiteY173" fmla="*/ 6168799 h 6858000"/>
              <a:gd name="connsiteX174" fmla="*/ 146463 w 5734864"/>
              <a:gd name="connsiteY174" fmla="*/ 6196671 h 6858000"/>
              <a:gd name="connsiteX175" fmla="*/ 150209 w 5734864"/>
              <a:gd name="connsiteY175" fmla="*/ 6232365 h 6858000"/>
              <a:gd name="connsiteX176" fmla="*/ 148544 w 5734864"/>
              <a:gd name="connsiteY176" fmla="*/ 6246162 h 6858000"/>
              <a:gd name="connsiteX177" fmla="*/ 148403 w 5734864"/>
              <a:gd name="connsiteY177" fmla="*/ 6253754 h 6858000"/>
              <a:gd name="connsiteX178" fmla="*/ 138880 w 5734864"/>
              <a:gd name="connsiteY178" fmla="*/ 6276449 h 6858000"/>
              <a:gd name="connsiteX179" fmla="*/ 138683 w 5734864"/>
              <a:gd name="connsiteY179" fmla="*/ 6279721 h 6858000"/>
              <a:gd name="connsiteX180" fmla="*/ 130721 w 5734864"/>
              <a:gd name="connsiteY180" fmla="*/ 6293675 h 6858000"/>
              <a:gd name="connsiteX181" fmla="*/ 120717 w 5734864"/>
              <a:gd name="connsiteY181" fmla="*/ 6313967 h 6858000"/>
              <a:gd name="connsiteX182" fmla="*/ 120841 w 5734864"/>
              <a:gd name="connsiteY182" fmla="*/ 6315437 h 6858000"/>
              <a:gd name="connsiteX183" fmla="*/ 115208 w 5734864"/>
              <a:gd name="connsiteY183" fmla="*/ 6324024 h 6858000"/>
              <a:gd name="connsiteX184" fmla="*/ 101217 w 5734864"/>
              <a:gd name="connsiteY184" fmla="*/ 6365923 h 6858000"/>
              <a:gd name="connsiteX185" fmla="*/ 74946 w 5734864"/>
              <a:gd name="connsiteY185" fmla="*/ 6556817 h 6858000"/>
              <a:gd name="connsiteX186" fmla="*/ 16001 w 5734864"/>
              <a:gd name="connsiteY186" fmla="*/ 6808678 h 6858000"/>
              <a:gd name="connsiteX187" fmla="*/ 0 w 5734864"/>
              <a:gd name="connsiteY187" fmla="*/ 6858000 h 6858000"/>
              <a:gd name="connsiteX188" fmla="*/ 5734864 w 5734864"/>
              <a:gd name="connsiteY188" fmla="*/ 6858000 h 6858000"/>
              <a:gd name="connsiteX0" fmla="*/ 5734864 w 5734864"/>
              <a:gd name="connsiteY0" fmla="*/ 0 h 6858000"/>
              <a:gd name="connsiteX1" fmla="*/ 771611 w 5734864"/>
              <a:gd name="connsiteY1" fmla="*/ 0 h 6858000"/>
              <a:gd name="connsiteX2" fmla="*/ 771679 w 5734864"/>
              <a:gd name="connsiteY2" fmla="*/ 49108 h 6858000"/>
              <a:gd name="connsiteX3" fmla="*/ 794248 w 5734864"/>
              <a:gd name="connsiteY3" fmla="*/ 200968 h 6858000"/>
              <a:gd name="connsiteX4" fmla="*/ 801749 w 5734864"/>
              <a:gd name="connsiteY4" fmla="*/ 414071 h 6858000"/>
              <a:gd name="connsiteX5" fmla="*/ 818548 w 5734864"/>
              <a:gd name="connsiteY5" fmla="*/ 585467 h 6858000"/>
              <a:gd name="connsiteX6" fmla="*/ 857476 w 5734864"/>
              <a:gd name="connsiteY6" fmla="*/ 800623 h 6858000"/>
              <a:gd name="connsiteX7" fmla="*/ 851083 w 5734864"/>
              <a:gd name="connsiteY7" fmla="*/ 878903 h 6858000"/>
              <a:gd name="connsiteX8" fmla="*/ 873564 w 5734864"/>
              <a:gd name="connsiteY8" fmla="*/ 943826 h 6858000"/>
              <a:gd name="connsiteX9" fmla="*/ 864705 w 5734864"/>
              <a:gd name="connsiteY9" fmla="*/ 973328 h 6858000"/>
              <a:gd name="connsiteX10" fmla="*/ 862869 w 5734864"/>
              <a:gd name="connsiteY10" fmla="*/ 978457 h 6858000"/>
              <a:gd name="connsiteX11" fmla="*/ 862233 w 5734864"/>
              <a:gd name="connsiteY11" fmla="*/ 998041 h 6858000"/>
              <a:gd name="connsiteX12" fmla="*/ 853665 w 5734864"/>
              <a:gd name="connsiteY12" fmla="*/ 1004750 h 6858000"/>
              <a:gd name="connsiteX13" fmla="*/ 846695 w 5734864"/>
              <a:gd name="connsiteY13" fmla="*/ 1035077 h 6858000"/>
              <a:gd name="connsiteX14" fmla="*/ 847865 w 5734864"/>
              <a:gd name="connsiteY14" fmla="*/ 1070795 h 6858000"/>
              <a:gd name="connsiteX15" fmla="*/ 862786 w 5734864"/>
              <a:gd name="connsiteY15" fmla="*/ 1238994 h 6858000"/>
              <a:gd name="connsiteX16" fmla="*/ 859345 w 5734864"/>
              <a:gd name="connsiteY16" fmla="*/ 1380427 h 6858000"/>
              <a:gd name="connsiteX17" fmla="*/ 855172 w 5734864"/>
              <a:gd name="connsiteY17" fmla="*/ 1435262 h 6858000"/>
              <a:gd name="connsiteX18" fmla="*/ 860494 w 5734864"/>
              <a:gd name="connsiteY18" fmla="*/ 1453861 h 6858000"/>
              <a:gd name="connsiteX19" fmla="*/ 853731 w 5734864"/>
              <a:gd name="connsiteY19" fmla="*/ 1467047 h 6858000"/>
              <a:gd name="connsiteX20" fmla="*/ 845847 w 5734864"/>
              <a:gd name="connsiteY20" fmla="*/ 1502307 h 6858000"/>
              <a:gd name="connsiteX21" fmla="*/ 817613 w 5734864"/>
              <a:gd name="connsiteY21" fmla="*/ 1565166 h 6858000"/>
              <a:gd name="connsiteX22" fmla="*/ 804223 w 5734864"/>
              <a:gd name="connsiteY22" fmla="*/ 1601941 h 6858000"/>
              <a:gd name="connsiteX23" fmla="*/ 791773 w 5734864"/>
              <a:gd name="connsiteY23" fmla="*/ 1627005 h 6858000"/>
              <a:gd name="connsiteX24" fmla="*/ 774645 w 5734864"/>
              <a:gd name="connsiteY24" fmla="*/ 1699922 h 6858000"/>
              <a:gd name="connsiteX25" fmla="*/ 752343 w 5734864"/>
              <a:gd name="connsiteY25" fmla="*/ 1824604 h 6858000"/>
              <a:gd name="connsiteX26" fmla="*/ 746254 w 5734864"/>
              <a:gd name="connsiteY26" fmla="*/ 1850222 h 6858000"/>
              <a:gd name="connsiteX27" fmla="*/ 728600 w 5734864"/>
              <a:gd name="connsiteY27" fmla="*/ 1869603 h 6858000"/>
              <a:gd name="connsiteX28" fmla="*/ 724396 w 5734864"/>
              <a:gd name="connsiteY28" fmla="*/ 1883104 h 6858000"/>
              <a:gd name="connsiteX29" fmla="*/ 722165 w 5734864"/>
              <a:gd name="connsiteY29" fmla="*/ 1885924 h 6858000"/>
              <a:gd name="connsiteX30" fmla="*/ 721338 w 5734864"/>
              <a:gd name="connsiteY30" fmla="*/ 1887123 h 6858000"/>
              <a:gd name="connsiteX31" fmla="*/ 714840 w 5734864"/>
              <a:gd name="connsiteY31" fmla="*/ 1902274 h 6858000"/>
              <a:gd name="connsiteX32" fmla="*/ 722847 w 5734864"/>
              <a:gd name="connsiteY32" fmla="*/ 1929891 h 6858000"/>
              <a:gd name="connsiteX33" fmla="*/ 714660 w 5734864"/>
              <a:gd name="connsiteY33" fmla="*/ 1982709 h 6858000"/>
              <a:gd name="connsiteX34" fmla="*/ 710759 w 5734864"/>
              <a:gd name="connsiteY34" fmla="*/ 2013010 h 6858000"/>
              <a:gd name="connsiteX35" fmla="*/ 697927 w 5734864"/>
              <a:gd name="connsiteY35" fmla="*/ 2069833 h 6858000"/>
              <a:gd name="connsiteX36" fmla="*/ 693594 w 5734864"/>
              <a:gd name="connsiteY36" fmla="*/ 2103731 h 6858000"/>
              <a:gd name="connsiteX37" fmla="*/ 691109 w 5734864"/>
              <a:gd name="connsiteY37" fmla="*/ 2124027 h 6858000"/>
              <a:gd name="connsiteX38" fmla="*/ 676593 w 5734864"/>
              <a:gd name="connsiteY38" fmla="*/ 2176182 h 6858000"/>
              <a:gd name="connsiteX39" fmla="*/ 633227 w 5734864"/>
              <a:gd name="connsiteY39" fmla="*/ 2258036 h 6858000"/>
              <a:gd name="connsiteX40" fmla="*/ 625564 w 5734864"/>
              <a:gd name="connsiteY40" fmla="*/ 2284567 h 6858000"/>
              <a:gd name="connsiteX41" fmla="*/ 627074 w 5734864"/>
              <a:gd name="connsiteY41" fmla="*/ 2289605 h 6858000"/>
              <a:gd name="connsiteX42" fmla="*/ 614574 w 5734864"/>
              <a:gd name="connsiteY42" fmla="*/ 2308717 h 6858000"/>
              <a:gd name="connsiteX43" fmla="*/ 606890 w 5734864"/>
              <a:gd name="connsiteY43" fmla="*/ 2320662 h 6858000"/>
              <a:gd name="connsiteX44" fmla="*/ 605558 w 5734864"/>
              <a:gd name="connsiteY44" fmla="*/ 2327897 h 6858000"/>
              <a:gd name="connsiteX45" fmla="*/ 602202 w 5734864"/>
              <a:gd name="connsiteY45" fmla="*/ 2357749 h 6858000"/>
              <a:gd name="connsiteX46" fmla="*/ 600213 w 5734864"/>
              <a:gd name="connsiteY46" fmla="*/ 2364905 h 6858000"/>
              <a:gd name="connsiteX47" fmla="*/ 597160 w 5734864"/>
              <a:gd name="connsiteY47" fmla="*/ 2388351 h 6858000"/>
              <a:gd name="connsiteX48" fmla="*/ 597982 w 5734864"/>
              <a:gd name="connsiteY48" fmla="*/ 2402296 h 6858000"/>
              <a:gd name="connsiteX49" fmla="*/ 593150 w 5734864"/>
              <a:gd name="connsiteY49" fmla="*/ 2420015 h 6858000"/>
              <a:gd name="connsiteX50" fmla="*/ 592833 w 5734864"/>
              <a:gd name="connsiteY50" fmla="*/ 2422749 h 6858000"/>
              <a:gd name="connsiteX51" fmla="*/ 594479 w 5734864"/>
              <a:gd name="connsiteY51" fmla="*/ 2426002 h 6858000"/>
              <a:gd name="connsiteX52" fmla="*/ 591963 w 5734864"/>
              <a:gd name="connsiteY52" fmla="*/ 2431950 h 6858000"/>
              <a:gd name="connsiteX53" fmla="*/ 591544 w 5734864"/>
              <a:gd name="connsiteY53" fmla="*/ 2433897 h 6858000"/>
              <a:gd name="connsiteX54" fmla="*/ 589519 w 5734864"/>
              <a:gd name="connsiteY54" fmla="*/ 2451398 h 6858000"/>
              <a:gd name="connsiteX55" fmla="*/ 590037 w 5734864"/>
              <a:gd name="connsiteY55" fmla="*/ 2455536 h 6858000"/>
              <a:gd name="connsiteX56" fmla="*/ 588179 w 5734864"/>
              <a:gd name="connsiteY56" fmla="*/ 2462981 h 6858000"/>
              <a:gd name="connsiteX57" fmla="*/ 583434 w 5734864"/>
              <a:gd name="connsiteY57" fmla="*/ 2503991 h 6858000"/>
              <a:gd name="connsiteX58" fmla="*/ 567942 w 5734864"/>
              <a:gd name="connsiteY58" fmla="*/ 2652936 h 6858000"/>
              <a:gd name="connsiteX59" fmla="*/ 573869 w 5734864"/>
              <a:gd name="connsiteY59" fmla="*/ 2670188 h 6858000"/>
              <a:gd name="connsiteX60" fmla="*/ 575243 w 5734864"/>
              <a:gd name="connsiteY60" fmla="*/ 2688114 h 6858000"/>
              <a:gd name="connsiteX61" fmla="*/ 573824 w 5734864"/>
              <a:gd name="connsiteY61" fmla="*/ 2689856 h 6858000"/>
              <a:gd name="connsiteX62" fmla="*/ 570699 w 5734864"/>
              <a:gd name="connsiteY62" fmla="*/ 2709353 h 6858000"/>
              <a:gd name="connsiteX63" fmla="*/ 573192 w 5734864"/>
              <a:gd name="connsiteY63" fmla="*/ 2714527 h 6858000"/>
              <a:gd name="connsiteX64" fmla="*/ 572044 w 5734864"/>
              <a:gd name="connsiteY64" fmla="*/ 2728187 h 6858000"/>
              <a:gd name="connsiteX65" fmla="*/ 572465 w 5734864"/>
              <a:gd name="connsiteY65" fmla="*/ 2755863 h 6858000"/>
              <a:gd name="connsiteX66" fmla="*/ 570028 w 5734864"/>
              <a:gd name="connsiteY66" fmla="*/ 2760324 h 6858000"/>
              <a:gd name="connsiteX67" fmla="*/ 566748 w 5734864"/>
              <a:gd name="connsiteY67" fmla="*/ 2800948 h 6858000"/>
              <a:gd name="connsiteX68" fmla="*/ 565509 w 5734864"/>
              <a:gd name="connsiteY68" fmla="*/ 2801167 h 6858000"/>
              <a:gd name="connsiteX69" fmla="*/ 559367 w 5734864"/>
              <a:gd name="connsiteY69" fmla="*/ 2811129 h 6858000"/>
              <a:gd name="connsiteX70" fmla="*/ 550354 w 5734864"/>
              <a:gd name="connsiteY70" fmla="*/ 2830949 h 6858000"/>
              <a:gd name="connsiteX71" fmla="*/ 514795 w 5734864"/>
              <a:gd name="connsiteY71" fmla="*/ 2872433 h 6858000"/>
              <a:gd name="connsiteX72" fmla="*/ 509875 w 5734864"/>
              <a:gd name="connsiteY72" fmla="*/ 2923099 h 6858000"/>
              <a:gd name="connsiteX73" fmla="*/ 509577 w 5734864"/>
              <a:gd name="connsiteY73" fmla="*/ 2923197 h 6858000"/>
              <a:gd name="connsiteX74" fmla="*/ 507597 w 5734864"/>
              <a:gd name="connsiteY74" fmla="*/ 2931868 h 6858000"/>
              <a:gd name="connsiteX75" fmla="*/ 507379 w 5734864"/>
              <a:gd name="connsiteY75" fmla="*/ 2938322 h 6858000"/>
              <a:gd name="connsiteX76" fmla="*/ 504725 w 5734864"/>
              <a:gd name="connsiteY76" fmla="*/ 2954519 h 6858000"/>
              <a:gd name="connsiteX77" fmla="*/ 502018 w 5734864"/>
              <a:gd name="connsiteY77" fmla="*/ 2959643 h 6858000"/>
              <a:gd name="connsiteX78" fmla="*/ 498360 w 5734864"/>
              <a:gd name="connsiteY78" fmla="*/ 2961019 h 6858000"/>
              <a:gd name="connsiteX79" fmla="*/ 498483 w 5734864"/>
              <a:gd name="connsiteY79" fmla="*/ 2962590 h 6858000"/>
              <a:gd name="connsiteX80" fmla="*/ 484403 w 5734864"/>
              <a:gd name="connsiteY80" fmla="*/ 2990538 h 6858000"/>
              <a:gd name="connsiteX81" fmla="*/ 463075 w 5734864"/>
              <a:gd name="connsiteY81" fmla="*/ 3055956 h 6858000"/>
              <a:gd name="connsiteX82" fmla="*/ 455013 w 5734864"/>
              <a:gd name="connsiteY82" fmla="*/ 3094482 h 6858000"/>
              <a:gd name="connsiteX83" fmla="*/ 428391 w 5734864"/>
              <a:gd name="connsiteY83" fmla="*/ 3198850 h 6858000"/>
              <a:gd name="connsiteX84" fmla="*/ 401440 w 5734864"/>
              <a:gd name="connsiteY84" fmla="*/ 3307560 h 6858000"/>
              <a:gd name="connsiteX85" fmla="*/ 386076 w 5734864"/>
              <a:gd name="connsiteY85" fmla="*/ 3373943 h 6858000"/>
              <a:gd name="connsiteX86" fmla="*/ 374726 w 5734864"/>
              <a:gd name="connsiteY86" fmla="*/ 3381364 h 6858000"/>
              <a:gd name="connsiteX87" fmla="*/ 369145 w 5734864"/>
              <a:gd name="connsiteY87" fmla="*/ 3383729 h 6858000"/>
              <a:gd name="connsiteX88" fmla="*/ 364294 w 5734864"/>
              <a:gd name="connsiteY88" fmla="*/ 3414159 h 6858000"/>
              <a:gd name="connsiteX89" fmla="*/ 366450 w 5734864"/>
              <a:gd name="connsiteY89" fmla="*/ 3436925 h 6858000"/>
              <a:gd name="connsiteX90" fmla="*/ 351743 w 5734864"/>
              <a:gd name="connsiteY90" fmla="*/ 3521619 h 6858000"/>
              <a:gd name="connsiteX91" fmla="*/ 345784 w 5734864"/>
              <a:gd name="connsiteY91" fmla="*/ 3603757 h 6858000"/>
              <a:gd name="connsiteX92" fmla="*/ 344198 w 5734864"/>
              <a:gd name="connsiteY92" fmla="*/ 3652424 h 6858000"/>
              <a:gd name="connsiteX93" fmla="*/ 352450 w 5734864"/>
              <a:gd name="connsiteY93" fmla="*/ 3665222 h 6858000"/>
              <a:gd name="connsiteX94" fmla="*/ 342621 w 5734864"/>
              <a:gd name="connsiteY94" fmla="*/ 3700804 h 6858000"/>
              <a:gd name="connsiteX95" fmla="*/ 341514 w 5734864"/>
              <a:gd name="connsiteY95" fmla="*/ 3734774 h 6858000"/>
              <a:gd name="connsiteX96" fmla="*/ 340607 w 5734864"/>
              <a:gd name="connsiteY96" fmla="*/ 3785153 h 6858000"/>
              <a:gd name="connsiteX97" fmla="*/ 340707 w 5734864"/>
              <a:gd name="connsiteY97" fmla="*/ 3788177 h 6858000"/>
              <a:gd name="connsiteX98" fmla="*/ 340361 w 5734864"/>
              <a:gd name="connsiteY98" fmla="*/ 3798803 h 6858000"/>
              <a:gd name="connsiteX99" fmla="*/ 339642 w 5734864"/>
              <a:gd name="connsiteY99" fmla="*/ 3838750 h 6858000"/>
              <a:gd name="connsiteX100" fmla="*/ 360295 w 5734864"/>
              <a:gd name="connsiteY100" fmla="*/ 4015196 h 6858000"/>
              <a:gd name="connsiteX101" fmla="*/ 339043 w 5734864"/>
              <a:gd name="connsiteY101" fmla="*/ 4052778 h 6858000"/>
              <a:gd name="connsiteX102" fmla="*/ 339343 w 5734864"/>
              <a:gd name="connsiteY102" fmla="*/ 4096257 h 6858000"/>
              <a:gd name="connsiteX103" fmla="*/ 340786 w 5734864"/>
              <a:gd name="connsiteY103" fmla="*/ 4321136 h 6858000"/>
              <a:gd name="connsiteX104" fmla="*/ 343158 w 5734864"/>
              <a:gd name="connsiteY104" fmla="*/ 4429174 h 6858000"/>
              <a:gd name="connsiteX105" fmla="*/ 334599 w 5734864"/>
              <a:gd name="connsiteY105" fmla="*/ 4449938 h 6858000"/>
              <a:gd name="connsiteX106" fmla="*/ 332890 w 5734864"/>
              <a:gd name="connsiteY106" fmla="*/ 4453515 h 6858000"/>
              <a:gd name="connsiteX107" fmla="*/ 331105 w 5734864"/>
              <a:gd name="connsiteY107" fmla="*/ 4467941 h 6858000"/>
              <a:gd name="connsiteX108" fmla="*/ 324289 w 5734864"/>
              <a:gd name="connsiteY108" fmla="*/ 4471861 h 6858000"/>
              <a:gd name="connsiteX109" fmla="*/ 317079 w 5734864"/>
              <a:gd name="connsiteY109" fmla="*/ 4493468 h 6858000"/>
              <a:gd name="connsiteX110" fmla="*/ 315557 w 5734864"/>
              <a:gd name="connsiteY110" fmla="*/ 4520067 h 6858000"/>
              <a:gd name="connsiteX111" fmla="*/ 315240 w 5734864"/>
              <a:gd name="connsiteY111" fmla="*/ 4536872 h 6858000"/>
              <a:gd name="connsiteX112" fmla="*/ 316200 w 5734864"/>
              <a:gd name="connsiteY112" fmla="*/ 4538297 h 6858000"/>
              <a:gd name="connsiteX113" fmla="*/ 317507 w 5734864"/>
              <a:gd name="connsiteY113" fmla="*/ 4547582 h 6858000"/>
              <a:gd name="connsiteX114" fmla="*/ 323078 w 5734864"/>
              <a:gd name="connsiteY114" fmla="*/ 4592102 h 6858000"/>
              <a:gd name="connsiteX115" fmla="*/ 328722 w 5734864"/>
              <a:gd name="connsiteY115" fmla="*/ 4667914 h 6858000"/>
              <a:gd name="connsiteX116" fmla="*/ 335597 w 5734864"/>
              <a:gd name="connsiteY116" fmla="*/ 4695035 h 6858000"/>
              <a:gd name="connsiteX117" fmla="*/ 339485 w 5734864"/>
              <a:gd name="connsiteY117" fmla="*/ 4695979 h 6858000"/>
              <a:gd name="connsiteX118" fmla="*/ 341089 w 5734864"/>
              <a:gd name="connsiteY118" fmla="*/ 4704268 h 6858000"/>
              <a:gd name="connsiteX119" fmla="*/ 342177 w 5734864"/>
              <a:gd name="connsiteY119" fmla="*/ 4706060 h 6858000"/>
              <a:gd name="connsiteX120" fmla="*/ 347751 w 5734864"/>
              <a:gd name="connsiteY120" fmla="*/ 4716754 h 6858000"/>
              <a:gd name="connsiteX121" fmla="*/ 344125 w 5734864"/>
              <a:gd name="connsiteY121" fmla="*/ 4764669 h 6858000"/>
              <a:gd name="connsiteX122" fmla="*/ 340188 w 5734864"/>
              <a:gd name="connsiteY122" fmla="*/ 4779386 h 6858000"/>
              <a:gd name="connsiteX123" fmla="*/ 335146 w 5734864"/>
              <a:gd name="connsiteY123" fmla="*/ 4787491 h 6858000"/>
              <a:gd name="connsiteX124" fmla="*/ 319124 w 5734864"/>
              <a:gd name="connsiteY124" fmla="*/ 4843514 h 6858000"/>
              <a:gd name="connsiteX125" fmla="*/ 305956 w 5734864"/>
              <a:gd name="connsiteY125" fmla="*/ 4881505 h 6858000"/>
              <a:gd name="connsiteX126" fmla="*/ 301062 w 5734864"/>
              <a:gd name="connsiteY126" fmla="*/ 4889332 h 6858000"/>
              <a:gd name="connsiteX127" fmla="*/ 302141 w 5734864"/>
              <a:gd name="connsiteY127" fmla="*/ 4899400 h 6858000"/>
              <a:gd name="connsiteX128" fmla="*/ 304424 w 5734864"/>
              <a:gd name="connsiteY128" fmla="*/ 4902664 h 6858000"/>
              <a:gd name="connsiteX129" fmla="*/ 293123 w 5734864"/>
              <a:gd name="connsiteY129" fmla="*/ 4932769 h 6858000"/>
              <a:gd name="connsiteX130" fmla="*/ 292275 w 5734864"/>
              <a:gd name="connsiteY130" fmla="*/ 4936482 h 6858000"/>
              <a:gd name="connsiteX131" fmla="*/ 288304 w 5734864"/>
              <a:gd name="connsiteY131" fmla="*/ 4962325 h 6858000"/>
              <a:gd name="connsiteX132" fmla="*/ 287420 w 5734864"/>
              <a:gd name="connsiteY132" fmla="*/ 5042193 h 6858000"/>
              <a:gd name="connsiteX133" fmla="*/ 287020 w 5734864"/>
              <a:gd name="connsiteY133" fmla="*/ 5065655 h 6858000"/>
              <a:gd name="connsiteX134" fmla="*/ 288488 w 5734864"/>
              <a:gd name="connsiteY134" fmla="*/ 5082216 h 6858000"/>
              <a:gd name="connsiteX135" fmla="*/ 282763 w 5734864"/>
              <a:gd name="connsiteY135" fmla="*/ 5127114 h 6858000"/>
              <a:gd name="connsiteX136" fmla="*/ 269316 w 5734864"/>
              <a:gd name="connsiteY136" fmla="*/ 5202682 h 6858000"/>
              <a:gd name="connsiteX137" fmla="*/ 269174 w 5734864"/>
              <a:gd name="connsiteY137" fmla="*/ 5230835 h 6858000"/>
              <a:gd name="connsiteX138" fmla="*/ 272679 w 5734864"/>
              <a:gd name="connsiteY138" fmla="*/ 5232660 h 6858000"/>
              <a:gd name="connsiteX139" fmla="*/ 272160 w 5734864"/>
              <a:gd name="connsiteY139" fmla="*/ 5241150 h 6858000"/>
              <a:gd name="connsiteX140" fmla="*/ 272760 w 5734864"/>
              <a:gd name="connsiteY140" fmla="*/ 5243156 h 6858000"/>
              <a:gd name="connsiteX141" fmla="*/ 275462 w 5734864"/>
              <a:gd name="connsiteY141" fmla="*/ 5254919 h 6858000"/>
              <a:gd name="connsiteX142" fmla="*/ 262897 w 5734864"/>
              <a:gd name="connsiteY142" fmla="*/ 5286259 h 6858000"/>
              <a:gd name="connsiteX143" fmla="*/ 252761 w 5734864"/>
              <a:gd name="connsiteY143" fmla="*/ 5357801 h 6858000"/>
              <a:gd name="connsiteX144" fmla="*/ 242360 w 5734864"/>
              <a:gd name="connsiteY144" fmla="*/ 5460080 h 6858000"/>
              <a:gd name="connsiteX145" fmla="*/ 229880 w 5734864"/>
              <a:gd name="connsiteY145" fmla="*/ 5539714 h 6858000"/>
              <a:gd name="connsiteX146" fmla="*/ 204283 w 5734864"/>
              <a:gd name="connsiteY146" fmla="*/ 5639080 h 6858000"/>
              <a:gd name="connsiteX147" fmla="*/ 198948 w 5734864"/>
              <a:gd name="connsiteY147" fmla="*/ 5710958 h 6858000"/>
              <a:gd name="connsiteX148" fmla="*/ 192367 w 5734864"/>
              <a:gd name="connsiteY148" fmla="*/ 5719859 h 6858000"/>
              <a:gd name="connsiteX149" fmla="*/ 188035 w 5734864"/>
              <a:gd name="connsiteY149" fmla="*/ 5729935 h 6858000"/>
              <a:gd name="connsiteX150" fmla="*/ 188428 w 5734864"/>
              <a:gd name="connsiteY150" fmla="*/ 5731182 h 6858000"/>
              <a:gd name="connsiteX151" fmla="*/ 181635 w 5734864"/>
              <a:gd name="connsiteY151" fmla="*/ 5753538 h 6858000"/>
              <a:gd name="connsiteX152" fmla="*/ 169744 w 5734864"/>
              <a:gd name="connsiteY152" fmla="*/ 5796307 h 6858000"/>
              <a:gd name="connsiteX153" fmla="*/ 170351 w 5734864"/>
              <a:gd name="connsiteY153" fmla="*/ 5796644 h 6858000"/>
              <a:gd name="connsiteX154" fmla="*/ 171559 w 5734864"/>
              <a:gd name="connsiteY154" fmla="*/ 5803435 h 6858000"/>
              <a:gd name="connsiteX155" fmla="*/ 172284 w 5734864"/>
              <a:gd name="connsiteY155" fmla="*/ 5816391 h 6858000"/>
              <a:gd name="connsiteX156" fmla="*/ 182542 w 5734864"/>
              <a:gd name="connsiteY156" fmla="*/ 5846382 h 6858000"/>
              <a:gd name="connsiteX157" fmla="*/ 175877 w 5734864"/>
              <a:gd name="connsiteY157" fmla="*/ 5871336 h 6858000"/>
              <a:gd name="connsiteX158" fmla="*/ 174910 w 5734864"/>
              <a:gd name="connsiteY158" fmla="*/ 5876376 h 6858000"/>
              <a:gd name="connsiteX159" fmla="*/ 175047 w 5734864"/>
              <a:gd name="connsiteY159" fmla="*/ 5876483 h 6858000"/>
              <a:gd name="connsiteX160" fmla="*/ 174335 w 5734864"/>
              <a:gd name="connsiteY160" fmla="*/ 5881814 h 6858000"/>
              <a:gd name="connsiteX161" fmla="*/ 171273 w 5734864"/>
              <a:gd name="connsiteY161" fmla="*/ 5895339 h 6858000"/>
              <a:gd name="connsiteX162" fmla="*/ 171658 w 5734864"/>
              <a:gd name="connsiteY162" fmla="*/ 5898749 h 6858000"/>
              <a:gd name="connsiteX163" fmla="*/ 174658 w 5734864"/>
              <a:gd name="connsiteY163" fmla="*/ 5919558 h 6858000"/>
              <a:gd name="connsiteX164" fmla="*/ 169099 w 5734864"/>
              <a:gd name="connsiteY164" fmla="*/ 5984417 h 6858000"/>
              <a:gd name="connsiteX165" fmla="*/ 162007 w 5734864"/>
              <a:gd name="connsiteY165" fmla="*/ 6049043 h 6858000"/>
              <a:gd name="connsiteX166" fmla="*/ 156875 w 5734864"/>
              <a:gd name="connsiteY166" fmla="*/ 6114000 h 6858000"/>
              <a:gd name="connsiteX167" fmla="*/ 165441 w 5734864"/>
              <a:gd name="connsiteY167" fmla="*/ 6146938 h 6858000"/>
              <a:gd name="connsiteX168" fmla="*/ 165177 w 5734864"/>
              <a:gd name="connsiteY168" fmla="*/ 6150658 h 6858000"/>
              <a:gd name="connsiteX169" fmla="*/ 161772 w 5734864"/>
              <a:gd name="connsiteY169" fmla="*/ 6160011 h 6858000"/>
              <a:gd name="connsiteX170" fmla="*/ 160051 w 5734864"/>
              <a:gd name="connsiteY170" fmla="*/ 6163393 h 6858000"/>
              <a:gd name="connsiteX171" fmla="*/ 158473 w 5734864"/>
              <a:gd name="connsiteY171" fmla="*/ 6168628 h 6858000"/>
              <a:gd name="connsiteX172" fmla="*/ 158573 w 5734864"/>
              <a:gd name="connsiteY172" fmla="*/ 6168799 h 6858000"/>
              <a:gd name="connsiteX173" fmla="*/ 146463 w 5734864"/>
              <a:gd name="connsiteY173" fmla="*/ 6196671 h 6858000"/>
              <a:gd name="connsiteX174" fmla="*/ 150209 w 5734864"/>
              <a:gd name="connsiteY174" fmla="*/ 6232365 h 6858000"/>
              <a:gd name="connsiteX175" fmla="*/ 148544 w 5734864"/>
              <a:gd name="connsiteY175" fmla="*/ 6246162 h 6858000"/>
              <a:gd name="connsiteX176" fmla="*/ 148403 w 5734864"/>
              <a:gd name="connsiteY176" fmla="*/ 6253754 h 6858000"/>
              <a:gd name="connsiteX177" fmla="*/ 138880 w 5734864"/>
              <a:gd name="connsiteY177" fmla="*/ 6276449 h 6858000"/>
              <a:gd name="connsiteX178" fmla="*/ 138683 w 5734864"/>
              <a:gd name="connsiteY178" fmla="*/ 6279721 h 6858000"/>
              <a:gd name="connsiteX179" fmla="*/ 130721 w 5734864"/>
              <a:gd name="connsiteY179" fmla="*/ 6293675 h 6858000"/>
              <a:gd name="connsiteX180" fmla="*/ 120717 w 5734864"/>
              <a:gd name="connsiteY180" fmla="*/ 6313967 h 6858000"/>
              <a:gd name="connsiteX181" fmla="*/ 120841 w 5734864"/>
              <a:gd name="connsiteY181" fmla="*/ 6315437 h 6858000"/>
              <a:gd name="connsiteX182" fmla="*/ 115208 w 5734864"/>
              <a:gd name="connsiteY182" fmla="*/ 6324024 h 6858000"/>
              <a:gd name="connsiteX183" fmla="*/ 101217 w 5734864"/>
              <a:gd name="connsiteY183" fmla="*/ 6365923 h 6858000"/>
              <a:gd name="connsiteX184" fmla="*/ 74946 w 5734864"/>
              <a:gd name="connsiteY184" fmla="*/ 6556817 h 6858000"/>
              <a:gd name="connsiteX185" fmla="*/ 16001 w 5734864"/>
              <a:gd name="connsiteY185" fmla="*/ 6808678 h 6858000"/>
              <a:gd name="connsiteX186" fmla="*/ 0 w 5734864"/>
              <a:gd name="connsiteY186" fmla="*/ 6858000 h 6858000"/>
              <a:gd name="connsiteX187" fmla="*/ 5734864 w 5734864"/>
              <a:gd name="connsiteY187" fmla="*/ 6858000 h 6858000"/>
              <a:gd name="connsiteX188" fmla="*/ 5734864 w 5734864"/>
              <a:gd name="connsiteY188" fmla="*/ 0 h 6858000"/>
              <a:gd name="connsiteX0" fmla="*/ 5734864 w 5734864"/>
              <a:gd name="connsiteY0" fmla="*/ 0 h 6858000"/>
              <a:gd name="connsiteX1" fmla="*/ 771611 w 5734864"/>
              <a:gd name="connsiteY1" fmla="*/ 0 h 6858000"/>
              <a:gd name="connsiteX2" fmla="*/ 771679 w 5734864"/>
              <a:gd name="connsiteY2" fmla="*/ 49108 h 6858000"/>
              <a:gd name="connsiteX3" fmla="*/ 794248 w 5734864"/>
              <a:gd name="connsiteY3" fmla="*/ 200968 h 6858000"/>
              <a:gd name="connsiteX4" fmla="*/ 801749 w 5734864"/>
              <a:gd name="connsiteY4" fmla="*/ 414071 h 6858000"/>
              <a:gd name="connsiteX5" fmla="*/ 818548 w 5734864"/>
              <a:gd name="connsiteY5" fmla="*/ 585467 h 6858000"/>
              <a:gd name="connsiteX6" fmla="*/ 857476 w 5734864"/>
              <a:gd name="connsiteY6" fmla="*/ 800623 h 6858000"/>
              <a:gd name="connsiteX7" fmla="*/ 851083 w 5734864"/>
              <a:gd name="connsiteY7" fmla="*/ 878903 h 6858000"/>
              <a:gd name="connsiteX8" fmla="*/ 873564 w 5734864"/>
              <a:gd name="connsiteY8" fmla="*/ 943826 h 6858000"/>
              <a:gd name="connsiteX9" fmla="*/ 864705 w 5734864"/>
              <a:gd name="connsiteY9" fmla="*/ 973328 h 6858000"/>
              <a:gd name="connsiteX10" fmla="*/ 862869 w 5734864"/>
              <a:gd name="connsiteY10" fmla="*/ 978457 h 6858000"/>
              <a:gd name="connsiteX11" fmla="*/ 862233 w 5734864"/>
              <a:gd name="connsiteY11" fmla="*/ 998041 h 6858000"/>
              <a:gd name="connsiteX12" fmla="*/ 853665 w 5734864"/>
              <a:gd name="connsiteY12" fmla="*/ 1004750 h 6858000"/>
              <a:gd name="connsiteX13" fmla="*/ 847865 w 5734864"/>
              <a:gd name="connsiteY13" fmla="*/ 1070795 h 6858000"/>
              <a:gd name="connsiteX14" fmla="*/ 862786 w 5734864"/>
              <a:gd name="connsiteY14" fmla="*/ 1238994 h 6858000"/>
              <a:gd name="connsiteX15" fmla="*/ 859345 w 5734864"/>
              <a:gd name="connsiteY15" fmla="*/ 1380427 h 6858000"/>
              <a:gd name="connsiteX16" fmla="*/ 855172 w 5734864"/>
              <a:gd name="connsiteY16" fmla="*/ 1435262 h 6858000"/>
              <a:gd name="connsiteX17" fmla="*/ 860494 w 5734864"/>
              <a:gd name="connsiteY17" fmla="*/ 1453861 h 6858000"/>
              <a:gd name="connsiteX18" fmla="*/ 853731 w 5734864"/>
              <a:gd name="connsiteY18" fmla="*/ 1467047 h 6858000"/>
              <a:gd name="connsiteX19" fmla="*/ 845847 w 5734864"/>
              <a:gd name="connsiteY19" fmla="*/ 1502307 h 6858000"/>
              <a:gd name="connsiteX20" fmla="*/ 817613 w 5734864"/>
              <a:gd name="connsiteY20" fmla="*/ 1565166 h 6858000"/>
              <a:gd name="connsiteX21" fmla="*/ 804223 w 5734864"/>
              <a:gd name="connsiteY21" fmla="*/ 1601941 h 6858000"/>
              <a:gd name="connsiteX22" fmla="*/ 791773 w 5734864"/>
              <a:gd name="connsiteY22" fmla="*/ 1627005 h 6858000"/>
              <a:gd name="connsiteX23" fmla="*/ 774645 w 5734864"/>
              <a:gd name="connsiteY23" fmla="*/ 1699922 h 6858000"/>
              <a:gd name="connsiteX24" fmla="*/ 752343 w 5734864"/>
              <a:gd name="connsiteY24" fmla="*/ 1824604 h 6858000"/>
              <a:gd name="connsiteX25" fmla="*/ 746254 w 5734864"/>
              <a:gd name="connsiteY25" fmla="*/ 1850222 h 6858000"/>
              <a:gd name="connsiteX26" fmla="*/ 728600 w 5734864"/>
              <a:gd name="connsiteY26" fmla="*/ 1869603 h 6858000"/>
              <a:gd name="connsiteX27" fmla="*/ 724396 w 5734864"/>
              <a:gd name="connsiteY27" fmla="*/ 1883104 h 6858000"/>
              <a:gd name="connsiteX28" fmla="*/ 722165 w 5734864"/>
              <a:gd name="connsiteY28" fmla="*/ 1885924 h 6858000"/>
              <a:gd name="connsiteX29" fmla="*/ 721338 w 5734864"/>
              <a:gd name="connsiteY29" fmla="*/ 1887123 h 6858000"/>
              <a:gd name="connsiteX30" fmla="*/ 714840 w 5734864"/>
              <a:gd name="connsiteY30" fmla="*/ 1902274 h 6858000"/>
              <a:gd name="connsiteX31" fmla="*/ 722847 w 5734864"/>
              <a:gd name="connsiteY31" fmla="*/ 1929891 h 6858000"/>
              <a:gd name="connsiteX32" fmla="*/ 714660 w 5734864"/>
              <a:gd name="connsiteY32" fmla="*/ 1982709 h 6858000"/>
              <a:gd name="connsiteX33" fmla="*/ 710759 w 5734864"/>
              <a:gd name="connsiteY33" fmla="*/ 2013010 h 6858000"/>
              <a:gd name="connsiteX34" fmla="*/ 697927 w 5734864"/>
              <a:gd name="connsiteY34" fmla="*/ 2069833 h 6858000"/>
              <a:gd name="connsiteX35" fmla="*/ 693594 w 5734864"/>
              <a:gd name="connsiteY35" fmla="*/ 2103731 h 6858000"/>
              <a:gd name="connsiteX36" fmla="*/ 691109 w 5734864"/>
              <a:gd name="connsiteY36" fmla="*/ 2124027 h 6858000"/>
              <a:gd name="connsiteX37" fmla="*/ 676593 w 5734864"/>
              <a:gd name="connsiteY37" fmla="*/ 2176182 h 6858000"/>
              <a:gd name="connsiteX38" fmla="*/ 633227 w 5734864"/>
              <a:gd name="connsiteY38" fmla="*/ 2258036 h 6858000"/>
              <a:gd name="connsiteX39" fmla="*/ 625564 w 5734864"/>
              <a:gd name="connsiteY39" fmla="*/ 2284567 h 6858000"/>
              <a:gd name="connsiteX40" fmla="*/ 627074 w 5734864"/>
              <a:gd name="connsiteY40" fmla="*/ 2289605 h 6858000"/>
              <a:gd name="connsiteX41" fmla="*/ 614574 w 5734864"/>
              <a:gd name="connsiteY41" fmla="*/ 2308717 h 6858000"/>
              <a:gd name="connsiteX42" fmla="*/ 606890 w 5734864"/>
              <a:gd name="connsiteY42" fmla="*/ 2320662 h 6858000"/>
              <a:gd name="connsiteX43" fmla="*/ 605558 w 5734864"/>
              <a:gd name="connsiteY43" fmla="*/ 2327897 h 6858000"/>
              <a:gd name="connsiteX44" fmla="*/ 602202 w 5734864"/>
              <a:gd name="connsiteY44" fmla="*/ 2357749 h 6858000"/>
              <a:gd name="connsiteX45" fmla="*/ 600213 w 5734864"/>
              <a:gd name="connsiteY45" fmla="*/ 2364905 h 6858000"/>
              <a:gd name="connsiteX46" fmla="*/ 597160 w 5734864"/>
              <a:gd name="connsiteY46" fmla="*/ 2388351 h 6858000"/>
              <a:gd name="connsiteX47" fmla="*/ 597982 w 5734864"/>
              <a:gd name="connsiteY47" fmla="*/ 2402296 h 6858000"/>
              <a:gd name="connsiteX48" fmla="*/ 593150 w 5734864"/>
              <a:gd name="connsiteY48" fmla="*/ 2420015 h 6858000"/>
              <a:gd name="connsiteX49" fmla="*/ 592833 w 5734864"/>
              <a:gd name="connsiteY49" fmla="*/ 2422749 h 6858000"/>
              <a:gd name="connsiteX50" fmla="*/ 594479 w 5734864"/>
              <a:gd name="connsiteY50" fmla="*/ 2426002 h 6858000"/>
              <a:gd name="connsiteX51" fmla="*/ 591963 w 5734864"/>
              <a:gd name="connsiteY51" fmla="*/ 2431950 h 6858000"/>
              <a:gd name="connsiteX52" fmla="*/ 591544 w 5734864"/>
              <a:gd name="connsiteY52" fmla="*/ 2433897 h 6858000"/>
              <a:gd name="connsiteX53" fmla="*/ 589519 w 5734864"/>
              <a:gd name="connsiteY53" fmla="*/ 2451398 h 6858000"/>
              <a:gd name="connsiteX54" fmla="*/ 590037 w 5734864"/>
              <a:gd name="connsiteY54" fmla="*/ 2455536 h 6858000"/>
              <a:gd name="connsiteX55" fmla="*/ 588179 w 5734864"/>
              <a:gd name="connsiteY55" fmla="*/ 2462981 h 6858000"/>
              <a:gd name="connsiteX56" fmla="*/ 583434 w 5734864"/>
              <a:gd name="connsiteY56" fmla="*/ 2503991 h 6858000"/>
              <a:gd name="connsiteX57" fmla="*/ 567942 w 5734864"/>
              <a:gd name="connsiteY57" fmla="*/ 2652936 h 6858000"/>
              <a:gd name="connsiteX58" fmla="*/ 573869 w 5734864"/>
              <a:gd name="connsiteY58" fmla="*/ 2670188 h 6858000"/>
              <a:gd name="connsiteX59" fmla="*/ 575243 w 5734864"/>
              <a:gd name="connsiteY59" fmla="*/ 2688114 h 6858000"/>
              <a:gd name="connsiteX60" fmla="*/ 573824 w 5734864"/>
              <a:gd name="connsiteY60" fmla="*/ 2689856 h 6858000"/>
              <a:gd name="connsiteX61" fmla="*/ 570699 w 5734864"/>
              <a:gd name="connsiteY61" fmla="*/ 2709353 h 6858000"/>
              <a:gd name="connsiteX62" fmla="*/ 573192 w 5734864"/>
              <a:gd name="connsiteY62" fmla="*/ 2714527 h 6858000"/>
              <a:gd name="connsiteX63" fmla="*/ 572044 w 5734864"/>
              <a:gd name="connsiteY63" fmla="*/ 2728187 h 6858000"/>
              <a:gd name="connsiteX64" fmla="*/ 572465 w 5734864"/>
              <a:gd name="connsiteY64" fmla="*/ 2755863 h 6858000"/>
              <a:gd name="connsiteX65" fmla="*/ 570028 w 5734864"/>
              <a:gd name="connsiteY65" fmla="*/ 2760324 h 6858000"/>
              <a:gd name="connsiteX66" fmla="*/ 566748 w 5734864"/>
              <a:gd name="connsiteY66" fmla="*/ 2800948 h 6858000"/>
              <a:gd name="connsiteX67" fmla="*/ 565509 w 5734864"/>
              <a:gd name="connsiteY67" fmla="*/ 2801167 h 6858000"/>
              <a:gd name="connsiteX68" fmla="*/ 559367 w 5734864"/>
              <a:gd name="connsiteY68" fmla="*/ 2811129 h 6858000"/>
              <a:gd name="connsiteX69" fmla="*/ 550354 w 5734864"/>
              <a:gd name="connsiteY69" fmla="*/ 2830949 h 6858000"/>
              <a:gd name="connsiteX70" fmla="*/ 514795 w 5734864"/>
              <a:gd name="connsiteY70" fmla="*/ 2872433 h 6858000"/>
              <a:gd name="connsiteX71" fmla="*/ 509875 w 5734864"/>
              <a:gd name="connsiteY71" fmla="*/ 2923099 h 6858000"/>
              <a:gd name="connsiteX72" fmla="*/ 509577 w 5734864"/>
              <a:gd name="connsiteY72" fmla="*/ 2923197 h 6858000"/>
              <a:gd name="connsiteX73" fmla="*/ 507597 w 5734864"/>
              <a:gd name="connsiteY73" fmla="*/ 2931868 h 6858000"/>
              <a:gd name="connsiteX74" fmla="*/ 507379 w 5734864"/>
              <a:gd name="connsiteY74" fmla="*/ 2938322 h 6858000"/>
              <a:gd name="connsiteX75" fmla="*/ 504725 w 5734864"/>
              <a:gd name="connsiteY75" fmla="*/ 2954519 h 6858000"/>
              <a:gd name="connsiteX76" fmla="*/ 502018 w 5734864"/>
              <a:gd name="connsiteY76" fmla="*/ 2959643 h 6858000"/>
              <a:gd name="connsiteX77" fmla="*/ 498360 w 5734864"/>
              <a:gd name="connsiteY77" fmla="*/ 2961019 h 6858000"/>
              <a:gd name="connsiteX78" fmla="*/ 498483 w 5734864"/>
              <a:gd name="connsiteY78" fmla="*/ 2962590 h 6858000"/>
              <a:gd name="connsiteX79" fmla="*/ 484403 w 5734864"/>
              <a:gd name="connsiteY79" fmla="*/ 2990538 h 6858000"/>
              <a:gd name="connsiteX80" fmla="*/ 463075 w 5734864"/>
              <a:gd name="connsiteY80" fmla="*/ 3055956 h 6858000"/>
              <a:gd name="connsiteX81" fmla="*/ 455013 w 5734864"/>
              <a:gd name="connsiteY81" fmla="*/ 3094482 h 6858000"/>
              <a:gd name="connsiteX82" fmla="*/ 428391 w 5734864"/>
              <a:gd name="connsiteY82" fmla="*/ 3198850 h 6858000"/>
              <a:gd name="connsiteX83" fmla="*/ 401440 w 5734864"/>
              <a:gd name="connsiteY83" fmla="*/ 3307560 h 6858000"/>
              <a:gd name="connsiteX84" fmla="*/ 386076 w 5734864"/>
              <a:gd name="connsiteY84" fmla="*/ 3373943 h 6858000"/>
              <a:gd name="connsiteX85" fmla="*/ 374726 w 5734864"/>
              <a:gd name="connsiteY85" fmla="*/ 3381364 h 6858000"/>
              <a:gd name="connsiteX86" fmla="*/ 369145 w 5734864"/>
              <a:gd name="connsiteY86" fmla="*/ 3383729 h 6858000"/>
              <a:gd name="connsiteX87" fmla="*/ 364294 w 5734864"/>
              <a:gd name="connsiteY87" fmla="*/ 3414159 h 6858000"/>
              <a:gd name="connsiteX88" fmla="*/ 366450 w 5734864"/>
              <a:gd name="connsiteY88" fmla="*/ 3436925 h 6858000"/>
              <a:gd name="connsiteX89" fmla="*/ 351743 w 5734864"/>
              <a:gd name="connsiteY89" fmla="*/ 3521619 h 6858000"/>
              <a:gd name="connsiteX90" fmla="*/ 345784 w 5734864"/>
              <a:gd name="connsiteY90" fmla="*/ 3603757 h 6858000"/>
              <a:gd name="connsiteX91" fmla="*/ 344198 w 5734864"/>
              <a:gd name="connsiteY91" fmla="*/ 3652424 h 6858000"/>
              <a:gd name="connsiteX92" fmla="*/ 352450 w 5734864"/>
              <a:gd name="connsiteY92" fmla="*/ 3665222 h 6858000"/>
              <a:gd name="connsiteX93" fmla="*/ 342621 w 5734864"/>
              <a:gd name="connsiteY93" fmla="*/ 3700804 h 6858000"/>
              <a:gd name="connsiteX94" fmla="*/ 341514 w 5734864"/>
              <a:gd name="connsiteY94" fmla="*/ 3734774 h 6858000"/>
              <a:gd name="connsiteX95" fmla="*/ 340607 w 5734864"/>
              <a:gd name="connsiteY95" fmla="*/ 3785153 h 6858000"/>
              <a:gd name="connsiteX96" fmla="*/ 340707 w 5734864"/>
              <a:gd name="connsiteY96" fmla="*/ 3788177 h 6858000"/>
              <a:gd name="connsiteX97" fmla="*/ 340361 w 5734864"/>
              <a:gd name="connsiteY97" fmla="*/ 3798803 h 6858000"/>
              <a:gd name="connsiteX98" fmla="*/ 339642 w 5734864"/>
              <a:gd name="connsiteY98" fmla="*/ 3838750 h 6858000"/>
              <a:gd name="connsiteX99" fmla="*/ 360295 w 5734864"/>
              <a:gd name="connsiteY99" fmla="*/ 4015196 h 6858000"/>
              <a:gd name="connsiteX100" fmla="*/ 339043 w 5734864"/>
              <a:gd name="connsiteY100" fmla="*/ 4052778 h 6858000"/>
              <a:gd name="connsiteX101" fmla="*/ 339343 w 5734864"/>
              <a:gd name="connsiteY101" fmla="*/ 4096257 h 6858000"/>
              <a:gd name="connsiteX102" fmla="*/ 340786 w 5734864"/>
              <a:gd name="connsiteY102" fmla="*/ 4321136 h 6858000"/>
              <a:gd name="connsiteX103" fmla="*/ 343158 w 5734864"/>
              <a:gd name="connsiteY103" fmla="*/ 4429174 h 6858000"/>
              <a:gd name="connsiteX104" fmla="*/ 334599 w 5734864"/>
              <a:gd name="connsiteY104" fmla="*/ 4449938 h 6858000"/>
              <a:gd name="connsiteX105" fmla="*/ 332890 w 5734864"/>
              <a:gd name="connsiteY105" fmla="*/ 4453515 h 6858000"/>
              <a:gd name="connsiteX106" fmla="*/ 331105 w 5734864"/>
              <a:gd name="connsiteY106" fmla="*/ 4467941 h 6858000"/>
              <a:gd name="connsiteX107" fmla="*/ 324289 w 5734864"/>
              <a:gd name="connsiteY107" fmla="*/ 4471861 h 6858000"/>
              <a:gd name="connsiteX108" fmla="*/ 317079 w 5734864"/>
              <a:gd name="connsiteY108" fmla="*/ 4493468 h 6858000"/>
              <a:gd name="connsiteX109" fmla="*/ 315557 w 5734864"/>
              <a:gd name="connsiteY109" fmla="*/ 4520067 h 6858000"/>
              <a:gd name="connsiteX110" fmla="*/ 315240 w 5734864"/>
              <a:gd name="connsiteY110" fmla="*/ 4536872 h 6858000"/>
              <a:gd name="connsiteX111" fmla="*/ 316200 w 5734864"/>
              <a:gd name="connsiteY111" fmla="*/ 4538297 h 6858000"/>
              <a:gd name="connsiteX112" fmla="*/ 317507 w 5734864"/>
              <a:gd name="connsiteY112" fmla="*/ 4547582 h 6858000"/>
              <a:gd name="connsiteX113" fmla="*/ 323078 w 5734864"/>
              <a:gd name="connsiteY113" fmla="*/ 4592102 h 6858000"/>
              <a:gd name="connsiteX114" fmla="*/ 328722 w 5734864"/>
              <a:gd name="connsiteY114" fmla="*/ 4667914 h 6858000"/>
              <a:gd name="connsiteX115" fmla="*/ 335597 w 5734864"/>
              <a:gd name="connsiteY115" fmla="*/ 4695035 h 6858000"/>
              <a:gd name="connsiteX116" fmla="*/ 339485 w 5734864"/>
              <a:gd name="connsiteY116" fmla="*/ 4695979 h 6858000"/>
              <a:gd name="connsiteX117" fmla="*/ 341089 w 5734864"/>
              <a:gd name="connsiteY117" fmla="*/ 4704268 h 6858000"/>
              <a:gd name="connsiteX118" fmla="*/ 342177 w 5734864"/>
              <a:gd name="connsiteY118" fmla="*/ 4706060 h 6858000"/>
              <a:gd name="connsiteX119" fmla="*/ 347751 w 5734864"/>
              <a:gd name="connsiteY119" fmla="*/ 4716754 h 6858000"/>
              <a:gd name="connsiteX120" fmla="*/ 344125 w 5734864"/>
              <a:gd name="connsiteY120" fmla="*/ 4764669 h 6858000"/>
              <a:gd name="connsiteX121" fmla="*/ 340188 w 5734864"/>
              <a:gd name="connsiteY121" fmla="*/ 4779386 h 6858000"/>
              <a:gd name="connsiteX122" fmla="*/ 335146 w 5734864"/>
              <a:gd name="connsiteY122" fmla="*/ 4787491 h 6858000"/>
              <a:gd name="connsiteX123" fmla="*/ 319124 w 5734864"/>
              <a:gd name="connsiteY123" fmla="*/ 4843514 h 6858000"/>
              <a:gd name="connsiteX124" fmla="*/ 305956 w 5734864"/>
              <a:gd name="connsiteY124" fmla="*/ 4881505 h 6858000"/>
              <a:gd name="connsiteX125" fmla="*/ 301062 w 5734864"/>
              <a:gd name="connsiteY125" fmla="*/ 4889332 h 6858000"/>
              <a:gd name="connsiteX126" fmla="*/ 302141 w 5734864"/>
              <a:gd name="connsiteY126" fmla="*/ 4899400 h 6858000"/>
              <a:gd name="connsiteX127" fmla="*/ 304424 w 5734864"/>
              <a:gd name="connsiteY127" fmla="*/ 4902664 h 6858000"/>
              <a:gd name="connsiteX128" fmla="*/ 293123 w 5734864"/>
              <a:gd name="connsiteY128" fmla="*/ 4932769 h 6858000"/>
              <a:gd name="connsiteX129" fmla="*/ 292275 w 5734864"/>
              <a:gd name="connsiteY129" fmla="*/ 4936482 h 6858000"/>
              <a:gd name="connsiteX130" fmla="*/ 288304 w 5734864"/>
              <a:gd name="connsiteY130" fmla="*/ 4962325 h 6858000"/>
              <a:gd name="connsiteX131" fmla="*/ 287420 w 5734864"/>
              <a:gd name="connsiteY131" fmla="*/ 5042193 h 6858000"/>
              <a:gd name="connsiteX132" fmla="*/ 287020 w 5734864"/>
              <a:gd name="connsiteY132" fmla="*/ 5065655 h 6858000"/>
              <a:gd name="connsiteX133" fmla="*/ 288488 w 5734864"/>
              <a:gd name="connsiteY133" fmla="*/ 5082216 h 6858000"/>
              <a:gd name="connsiteX134" fmla="*/ 282763 w 5734864"/>
              <a:gd name="connsiteY134" fmla="*/ 5127114 h 6858000"/>
              <a:gd name="connsiteX135" fmla="*/ 269316 w 5734864"/>
              <a:gd name="connsiteY135" fmla="*/ 5202682 h 6858000"/>
              <a:gd name="connsiteX136" fmla="*/ 269174 w 5734864"/>
              <a:gd name="connsiteY136" fmla="*/ 5230835 h 6858000"/>
              <a:gd name="connsiteX137" fmla="*/ 272679 w 5734864"/>
              <a:gd name="connsiteY137" fmla="*/ 5232660 h 6858000"/>
              <a:gd name="connsiteX138" fmla="*/ 272160 w 5734864"/>
              <a:gd name="connsiteY138" fmla="*/ 5241150 h 6858000"/>
              <a:gd name="connsiteX139" fmla="*/ 272760 w 5734864"/>
              <a:gd name="connsiteY139" fmla="*/ 5243156 h 6858000"/>
              <a:gd name="connsiteX140" fmla="*/ 275462 w 5734864"/>
              <a:gd name="connsiteY140" fmla="*/ 5254919 h 6858000"/>
              <a:gd name="connsiteX141" fmla="*/ 262897 w 5734864"/>
              <a:gd name="connsiteY141" fmla="*/ 5286259 h 6858000"/>
              <a:gd name="connsiteX142" fmla="*/ 252761 w 5734864"/>
              <a:gd name="connsiteY142" fmla="*/ 5357801 h 6858000"/>
              <a:gd name="connsiteX143" fmla="*/ 242360 w 5734864"/>
              <a:gd name="connsiteY143" fmla="*/ 5460080 h 6858000"/>
              <a:gd name="connsiteX144" fmla="*/ 229880 w 5734864"/>
              <a:gd name="connsiteY144" fmla="*/ 5539714 h 6858000"/>
              <a:gd name="connsiteX145" fmla="*/ 204283 w 5734864"/>
              <a:gd name="connsiteY145" fmla="*/ 5639080 h 6858000"/>
              <a:gd name="connsiteX146" fmla="*/ 198948 w 5734864"/>
              <a:gd name="connsiteY146" fmla="*/ 5710958 h 6858000"/>
              <a:gd name="connsiteX147" fmla="*/ 192367 w 5734864"/>
              <a:gd name="connsiteY147" fmla="*/ 5719859 h 6858000"/>
              <a:gd name="connsiteX148" fmla="*/ 188035 w 5734864"/>
              <a:gd name="connsiteY148" fmla="*/ 5729935 h 6858000"/>
              <a:gd name="connsiteX149" fmla="*/ 188428 w 5734864"/>
              <a:gd name="connsiteY149" fmla="*/ 5731182 h 6858000"/>
              <a:gd name="connsiteX150" fmla="*/ 181635 w 5734864"/>
              <a:gd name="connsiteY150" fmla="*/ 5753538 h 6858000"/>
              <a:gd name="connsiteX151" fmla="*/ 169744 w 5734864"/>
              <a:gd name="connsiteY151" fmla="*/ 5796307 h 6858000"/>
              <a:gd name="connsiteX152" fmla="*/ 170351 w 5734864"/>
              <a:gd name="connsiteY152" fmla="*/ 5796644 h 6858000"/>
              <a:gd name="connsiteX153" fmla="*/ 171559 w 5734864"/>
              <a:gd name="connsiteY153" fmla="*/ 5803435 h 6858000"/>
              <a:gd name="connsiteX154" fmla="*/ 172284 w 5734864"/>
              <a:gd name="connsiteY154" fmla="*/ 5816391 h 6858000"/>
              <a:gd name="connsiteX155" fmla="*/ 182542 w 5734864"/>
              <a:gd name="connsiteY155" fmla="*/ 5846382 h 6858000"/>
              <a:gd name="connsiteX156" fmla="*/ 175877 w 5734864"/>
              <a:gd name="connsiteY156" fmla="*/ 5871336 h 6858000"/>
              <a:gd name="connsiteX157" fmla="*/ 174910 w 5734864"/>
              <a:gd name="connsiteY157" fmla="*/ 5876376 h 6858000"/>
              <a:gd name="connsiteX158" fmla="*/ 175047 w 5734864"/>
              <a:gd name="connsiteY158" fmla="*/ 5876483 h 6858000"/>
              <a:gd name="connsiteX159" fmla="*/ 174335 w 5734864"/>
              <a:gd name="connsiteY159" fmla="*/ 5881814 h 6858000"/>
              <a:gd name="connsiteX160" fmla="*/ 171273 w 5734864"/>
              <a:gd name="connsiteY160" fmla="*/ 5895339 h 6858000"/>
              <a:gd name="connsiteX161" fmla="*/ 171658 w 5734864"/>
              <a:gd name="connsiteY161" fmla="*/ 5898749 h 6858000"/>
              <a:gd name="connsiteX162" fmla="*/ 174658 w 5734864"/>
              <a:gd name="connsiteY162" fmla="*/ 5919558 h 6858000"/>
              <a:gd name="connsiteX163" fmla="*/ 169099 w 5734864"/>
              <a:gd name="connsiteY163" fmla="*/ 5984417 h 6858000"/>
              <a:gd name="connsiteX164" fmla="*/ 162007 w 5734864"/>
              <a:gd name="connsiteY164" fmla="*/ 6049043 h 6858000"/>
              <a:gd name="connsiteX165" fmla="*/ 156875 w 5734864"/>
              <a:gd name="connsiteY165" fmla="*/ 6114000 h 6858000"/>
              <a:gd name="connsiteX166" fmla="*/ 165441 w 5734864"/>
              <a:gd name="connsiteY166" fmla="*/ 6146938 h 6858000"/>
              <a:gd name="connsiteX167" fmla="*/ 165177 w 5734864"/>
              <a:gd name="connsiteY167" fmla="*/ 6150658 h 6858000"/>
              <a:gd name="connsiteX168" fmla="*/ 161772 w 5734864"/>
              <a:gd name="connsiteY168" fmla="*/ 6160011 h 6858000"/>
              <a:gd name="connsiteX169" fmla="*/ 160051 w 5734864"/>
              <a:gd name="connsiteY169" fmla="*/ 6163393 h 6858000"/>
              <a:gd name="connsiteX170" fmla="*/ 158473 w 5734864"/>
              <a:gd name="connsiteY170" fmla="*/ 6168628 h 6858000"/>
              <a:gd name="connsiteX171" fmla="*/ 158573 w 5734864"/>
              <a:gd name="connsiteY171" fmla="*/ 6168799 h 6858000"/>
              <a:gd name="connsiteX172" fmla="*/ 146463 w 5734864"/>
              <a:gd name="connsiteY172" fmla="*/ 6196671 h 6858000"/>
              <a:gd name="connsiteX173" fmla="*/ 150209 w 5734864"/>
              <a:gd name="connsiteY173" fmla="*/ 6232365 h 6858000"/>
              <a:gd name="connsiteX174" fmla="*/ 148544 w 5734864"/>
              <a:gd name="connsiteY174" fmla="*/ 6246162 h 6858000"/>
              <a:gd name="connsiteX175" fmla="*/ 148403 w 5734864"/>
              <a:gd name="connsiteY175" fmla="*/ 6253754 h 6858000"/>
              <a:gd name="connsiteX176" fmla="*/ 138880 w 5734864"/>
              <a:gd name="connsiteY176" fmla="*/ 6276449 h 6858000"/>
              <a:gd name="connsiteX177" fmla="*/ 138683 w 5734864"/>
              <a:gd name="connsiteY177" fmla="*/ 6279721 h 6858000"/>
              <a:gd name="connsiteX178" fmla="*/ 130721 w 5734864"/>
              <a:gd name="connsiteY178" fmla="*/ 6293675 h 6858000"/>
              <a:gd name="connsiteX179" fmla="*/ 120717 w 5734864"/>
              <a:gd name="connsiteY179" fmla="*/ 6313967 h 6858000"/>
              <a:gd name="connsiteX180" fmla="*/ 120841 w 5734864"/>
              <a:gd name="connsiteY180" fmla="*/ 6315437 h 6858000"/>
              <a:gd name="connsiteX181" fmla="*/ 115208 w 5734864"/>
              <a:gd name="connsiteY181" fmla="*/ 6324024 h 6858000"/>
              <a:gd name="connsiteX182" fmla="*/ 101217 w 5734864"/>
              <a:gd name="connsiteY182" fmla="*/ 6365923 h 6858000"/>
              <a:gd name="connsiteX183" fmla="*/ 74946 w 5734864"/>
              <a:gd name="connsiteY183" fmla="*/ 6556817 h 6858000"/>
              <a:gd name="connsiteX184" fmla="*/ 16001 w 5734864"/>
              <a:gd name="connsiteY184" fmla="*/ 6808678 h 6858000"/>
              <a:gd name="connsiteX185" fmla="*/ 0 w 5734864"/>
              <a:gd name="connsiteY185" fmla="*/ 6858000 h 6858000"/>
              <a:gd name="connsiteX186" fmla="*/ 5734864 w 5734864"/>
              <a:gd name="connsiteY186" fmla="*/ 6858000 h 6858000"/>
              <a:gd name="connsiteX187" fmla="*/ 5734864 w 5734864"/>
              <a:gd name="connsiteY18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Lst>
            <a:rect l="l" t="t" r="r" b="b"/>
            <a:pathLst>
              <a:path w="5734864" h="6858000">
                <a:moveTo>
                  <a:pt x="5734864" y="0"/>
                </a:moveTo>
                <a:lnTo>
                  <a:pt x="771611" y="0"/>
                </a:lnTo>
                <a:cubicBezTo>
                  <a:pt x="771634" y="16369"/>
                  <a:pt x="771656" y="32739"/>
                  <a:pt x="771679" y="49108"/>
                </a:cubicBezTo>
                <a:cubicBezTo>
                  <a:pt x="775201" y="55622"/>
                  <a:pt x="788724" y="196721"/>
                  <a:pt x="794248" y="200968"/>
                </a:cubicBezTo>
                <a:lnTo>
                  <a:pt x="801749" y="414071"/>
                </a:lnTo>
                <a:cubicBezTo>
                  <a:pt x="807329" y="440933"/>
                  <a:pt x="835107" y="598697"/>
                  <a:pt x="818548" y="585467"/>
                </a:cubicBezTo>
                <a:cubicBezTo>
                  <a:pt x="856197" y="664140"/>
                  <a:pt x="837895" y="708473"/>
                  <a:pt x="857476" y="800623"/>
                </a:cubicBezTo>
                <a:cubicBezTo>
                  <a:pt x="822401" y="857344"/>
                  <a:pt x="855723" y="824571"/>
                  <a:pt x="851083" y="878903"/>
                </a:cubicBezTo>
                <a:cubicBezTo>
                  <a:pt x="884811" y="859448"/>
                  <a:pt x="834648" y="946397"/>
                  <a:pt x="873564" y="943826"/>
                </a:cubicBezTo>
                <a:cubicBezTo>
                  <a:pt x="871487" y="953795"/>
                  <a:pt x="868248" y="963533"/>
                  <a:pt x="864705" y="973328"/>
                </a:cubicBezTo>
                <a:lnTo>
                  <a:pt x="862869" y="978457"/>
                </a:lnTo>
                <a:lnTo>
                  <a:pt x="862233" y="998041"/>
                </a:lnTo>
                <a:lnTo>
                  <a:pt x="853665" y="1004750"/>
                </a:lnTo>
                <a:lnTo>
                  <a:pt x="847865" y="1070795"/>
                </a:lnTo>
                <a:cubicBezTo>
                  <a:pt x="870234" y="1110486"/>
                  <a:pt x="833172" y="1190441"/>
                  <a:pt x="862786" y="1238994"/>
                </a:cubicBezTo>
                <a:cubicBezTo>
                  <a:pt x="864699" y="1290599"/>
                  <a:pt x="860615" y="1347716"/>
                  <a:pt x="859345" y="1380427"/>
                </a:cubicBezTo>
                <a:cubicBezTo>
                  <a:pt x="845703" y="1396391"/>
                  <a:pt x="873184" y="1435525"/>
                  <a:pt x="855172" y="1435262"/>
                </a:cubicBezTo>
                <a:lnTo>
                  <a:pt x="860494" y="1453861"/>
                </a:lnTo>
                <a:lnTo>
                  <a:pt x="853731" y="1467047"/>
                </a:lnTo>
                <a:cubicBezTo>
                  <a:pt x="846549" y="1480528"/>
                  <a:pt x="841728" y="1491093"/>
                  <a:pt x="845847" y="1502307"/>
                </a:cubicBezTo>
                <a:lnTo>
                  <a:pt x="817613" y="1565166"/>
                </a:lnTo>
                <a:cubicBezTo>
                  <a:pt x="805468" y="1557258"/>
                  <a:pt x="816534" y="1596564"/>
                  <a:pt x="804223" y="1601941"/>
                </a:cubicBezTo>
                <a:cubicBezTo>
                  <a:pt x="794287" y="1604654"/>
                  <a:pt x="795328" y="1617209"/>
                  <a:pt x="791773" y="1627005"/>
                </a:cubicBezTo>
                <a:cubicBezTo>
                  <a:pt x="781684" y="1634393"/>
                  <a:pt x="772978" y="1683187"/>
                  <a:pt x="774645" y="1699922"/>
                </a:cubicBezTo>
                <a:cubicBezTo>
                  <a:pt x="785341" y="1746767"/>
                  <a:pt x="744845" y="1787099"/>
                  <a:pt x="752343" y="1824604"/>
                </a:cubicBezTo>
                <a:cubicBezTo>
                  <a:pt x="751502" y="1834578"/>
                  <a:pt x="749297" y="1842929"/>
                  <a:pt x="746254" y="1850222"/>
                </a:cubicBezTo>
                <a:lnTo>
                  <a:pt x="728600" y="1869603"/>
                </a:lnTo>
                <a:lnTo>
                  <a:pt x="724396" y="1883104"/>
                </a:lnTo>
                <a:lnTo>
                  <a:pt x="722165" y="1885924"/>
                </a:lnTo>
                <a:lnTo>
                  <a:pt x="721338" y="1887123"/>
                </a:lnTo>
                <a:lnTo>
                  <a:pt x="714840" y="1902274"/>
                </a:lnTo>
                <a:lnTo>
                  <a:pt x="722847" y="1929891"/>
                </a:lnTo>
                <a:lnTo>
                  <a:pt x="714660" y="1982709"/>
                </a:lnTo>
                <a:cubicBezTo>
                  <a:pt x="727725" y="2006201"/>
                  <a:pt x="714739" y="1997091"/>
                  <a:pt x="710759" y="2013010"/>
                </a:cubicBezTo>
                <a:cubicBezTo>
                  <a:pt x="707970" y="2027531"/>
                  <a:pt x="700788" y="2054714"/>
                  <a:pt x="697927" y="2069833"/>
                </a:cubicBezTo>
                <a:cubicBezTo>
                  <a:pt x="685211" y="2080229"/>
                  <a:pt x="698762" y="2088241"/>
                  <a:pt x="693594" y="2103731"/>
                </a:cubicBezTo>
                <a:cubicBezTo>
                  <a:pt x="688481" y="2110649"/>
                  <a:pt x="687183" y="2115973"/>
                  <a:pt x="691109" y="2124027"/>
                </a:cubicBezTo>
                <a:cubicBezTo>
                  <a:pt x="666413" y="2155740"/>
                  <a:pt x="688031" y="2144874"/>
                  <a:pt x="676593" y="2176182"/>
                </a:cubicBezTo>
                <a:cubicBezTo>
                  <a:pt x="665190" y="2202944"/>
                  <a:pt x="656416" y="2233857"/>
                  <a:pt x="633227" y="2258036"/>
                </a:cubicBezTo>
                <a:cubicBezTo>
                  <a:pt x="626930" y="2262191"/>
                  <a:pt x="623498" y="2274069"/>
                  <a:pt x="625564" y="2284567"/>
                </a:cubicBezTo>
                <a:cubicBezTo>
                  <a:pt x="625918" y="2286374"/>
                  <a:pt x="626427" y="2288071"/>
                  <a:pt x="627074" y="2289605"/>
                </a:cubicBezTo>
                <a:cubicBezTo>
                  <a:pt x="619029" y="2296628"/>
                  <a:pt x="616453" y="2303188"/>
                  <a:pt x="614574" y="2308717"/>
                </a:cubicBezTo>
                <a:lnTo>
                  <a:pt x="606890" y="2320662"/>
                </a:lnTo>
                <a:lnTo>
                  <a:pt x="605558" y="2327897"/>
                </a:lnTo>
                <a:lnTo>
                  <a:pt x="602202" y="2357749"/>
                </a:lnTo>
                <a:lnTo>
                  <a:pt x="600213" y="2364905"/>
                </a:lnTo>
                <a:lnTo>
                  <a:pt x="597160" y="2388351"/>
                </a:lnTo>
                <a:lnTo>
                  <a:pt x="597982" y="2402296"/>
                </a:lnTo>
                <a:lnTo>
                  <a:pt x="593150" y="2420015"/>
                </a:lnTo>
                <a:cubicBezTo>
                  <a:pt x="593044" y="2420926"/>
                  <a:pt x="592939" y="2421838"/>
                  <a:pt x="592833" y="2422749"/>
                </a:cubicBezTo>
                <a:lnTo>
                  <a:pt x="594479" y="2426002"/>
                </a:lnTo>
                <a:cubicBezTo>
                  <a:pt x="594168" y="2427683"/>
                  <a:pt x="593118" y="2429721"/>
                  <a:pt x="591963" y="2431950"/>
                </a:cubicBezTo>
                <a:cubicBezTo>
                  <a:pt x="591823" y="2432599"/>
                  <a:pt x="591684" y="2433248"/>
                  <a:pt x="591544" y="2433897"/>
                </a:cubicBezTo>
                <a:lnTo>
                  <a:pt x="589519" y="2451398"/>
                </a:lnTo>
                <a:cubicBezTo>
                  <a:pt x="589692" y="2452777"/>
                  <a:pt x="589864" y="2454157"/>
                  <a:pt x="590037" y="2455536"/>
                </a:cubicBezTo>
                <a:lnTo>
                  <a:pt x="588179" y="2462981"/>
                </a:lnTo>
                <a:lnTo>
                  <a:pt x="583434" y="2503991"/>
                </a:lnTo>
                <a:cubicBezTo>
                  <a:pt x="576530" y="2566058"/>
                  <a:pt x="570433" y="2625224"/>
                  <a:pt x="567942" y="2652936"/>
                </a:cubicBezTo>
                <a:cubicBezTo>
                  <a:pt x="570864" y="2658290"/>
                  <a:pt x="572739" y="2664095"/>
                  <a:pt x="573869" y="2670188"/>
                </a:cubicBezTo>
                <a:lnTo>
                  <a:pt x="575243" y="2688114"/>
                </a:lnTo>
                <a:lnTo>
                  <a:pt x="573824" y="2689856"/>
                </a:lnTo>
                <a:cubicBezTo>
                  <a:pt x="569972" y="2698471"/>
                  <a:pt x="569572" y="2704494"/>
                  <a:pt x="570699" y="2709353"/>
                </a:cubicBezTo>
                <a:lnTo>
                  <a:pt x="573192" y="2714527"/>
                </a:lnTo>
                <a:cubicBezTo>
                  <a:pt x="572809" y="2719080"/>
                  <a:pt x="572427" y="2723634"/>
                  <a:pt x="572044" y="2728187"/>
                </a:cubicBezTo>
                <a:cubicBezTo>
                  <a:pt x="572184" y="2737412"/>
                  <a:pt x="572325" y="2746638"/>
                  <a:pt x="572465" y="2755863"/>
                </a:cubicBezTo>
                <a:lnTo>
                  <a:pt x="570028" y="2760324"/>
                </a:lnTo>
                <a:lnTo>
                  <a:pt x="566748" y="2800948"/>
                </a:lnTo>
                <a:lnTo>
                  <a:pt x="565509" y="2801167"/>
                </a:lnTo>
                <a:cubicBezTo>
                  <a:pt x="562655" y="2802587"/>
                  <a:pt x="560408" y="2805381"/>
                  <a:pt x="559367" y="2811129"/>
                </a:cubicBezTo>
                <a:cubicBezTo>
                  <a:pt x="543471" y="2797318"/>
                  <a:pt x="552020" y="2812773"/>
                  <a:pt x="550354" y="2830949"/>
                </a:cubicBezTo>
                <a:cubicBezTo>
                  <a:pt x="525292" y="2813553"/>
                  <a:pt x="531129" y="2868192"/>
                  <a:pt x="514795" y="2872433"/>
                </a:cubicBezTo>
                <a:lnTo>
                  <a:pt x="509875" y="2923099"/>
                </a:lnTo>
                <a:lnTo>
                  <a:pt x="509577" y="2923197"/>
                </a:lnTo>
                <a:cubicBezTo>
                  <a:pt x="508704" y="2924865"/>
                  <a:pt x="508038" y="2927556"/>
                  <a:pt x="507597" y="2931868"/>
                </a:cubicBezTo>
                <a:cubicBezTo>
                  <a:pt x="507524" y="2934019"/>
                  <a:pt x="507452" y="2936171"/>
                  <a:pt x="507379" y="2938322"/>
                </a:cubicBezTo>
                <a:lnTo>
                  <a:pt x="504725" y="2954519"/>
                </a:lnTo>
                <a:lnTo>
                  <a:pt x="502018" y="2959643"/>
                </a:lnTo>
                <a:lnTo>
                  <a:pt x="498360" y="2961019"/>
                </a:lnTo>
                <a:lnTo>
                  <a:pt x="498483" y="2962590"/>
                </a:lnTo>
                <a:cubicBezTo>
                  <a:pt x="502388" y="2975027"/>
                  <a:pt x="510202" y="2980016"/>
                  <a:pt x="484403" y="2990538"/>
                </a:cubicBezTo>
                <a:cubicBezTo>
                  <a:pt x="489425" y="3018352"/>
                  <a:pt x="474337" y="3021029"/>
                  <a:pt x="463075" y="3055956"/>
                </a:cubicBezTo>
                <a:cubicBezTo>
                  <a:pt x="469487" y="3072485"/>
                  <a:pt x="464165" y="3083955"/>
                  <a:pt x="455013" y="3094482"/>
                </a:cubicBezTo>
                <a:cubicBezTo>
                  <a:pt x="453131" y="3130054"/>
                  <a:pt x="437643" y="3160106"/>
                  <a:pt x="428391" y="3198850"/>
                </a:cubicBezTo>
                <a:lnTo>
                  <a:pt x="401440" y="3307560"/>
                </a:lnTo>
                <a:lnTo>
                  <a:pt x="386076" y="3373943"/>
                </a:lnTo>
                <a:cubicBezTo>
                  <a:pt x="386236" y="3376061"/>
                  <a:pt x="380537" y="3378856"/>
                  <a:pt x="374726" y="3381364"/>
                </a:cubicBezTo>
                <a:lnTo>
                  <a:pt x="369145" y="3383729"/>
                </a:lnTo>
                <a:lnTo>
                  <a:pt x="364294" y="3414159"/>
                </a:lnTo>
                <a:lnTo>
                  <a:pt x="366450" y="3436925"/>
                </a:lnTo>
                <a:lnTo>
                  <a:pt x="351743" y="3521619"/>
                </a:lnTo>
                <a:lnTo>
                  <a:pt x="345784" y="3603757"/>
                </a:lnTo>
                <a:cubicBezTo>
                  <a:pt x="345255" y="3619979"/>
                  <a:pt x="344727" y="3636202"/>
                  <a:pt x="344198" y="3652424"/>
                </a:cubicBezTo>
                <a:lnTo>
                  <a:pt x="352450" y="3665222"/>
                </a:lnTo>
                <a:lnTo>
                  <a:pt x="342621" y="3700804"/>
                </a:lnTo>
                <a:lnTo>
                  <a:pt x="341514" y="3734774"/>
                </a:lnTo>
                <a:cubicBezTo>
                  <a:pt x="341212" y="3751567"/>
                  <a:pt x="340909" y="3768360"/>
                  <a:pt x="340607" y="3785153"/>
                </a:cubicBezTo>
                <a:cubicBezTo>
                  <a:pt x="340640" y="3786161"/>
                  <a:pt x="340674" y="3787169"/>
                  <a:pt x="340707" y="3788177"/>
                </a:cubicBezTo>
                <a:cubicBezTo>
                  <a:pt x="340592" y="3791719"/>
                  <a:pt x="340476" y="3795261"/>
                  <a:pt x="340361" y="3798803"/>
                </a:cubicBezTo>
                <a:cubicBezTo>
                  <a:pt x="340121" y="3812119"/>
                  <a:pt x="339882" y="3825434"/>
                  <a:pt x="339642" y="3838750"/>
                </a:cubicBezTo>
                <a:cubicBezTo>
                  <a:pt x="337363" y="3949044"/>
                  <a:pt x="361794" y="3960437"/>
                  <a:pt x="360295" y="4015196"/>
                </a:cubicBezTo>
                <a:lnTo>
                  <a:pt x="339043" y="4052778"/>
                </a:lnTo>
                <a:lnTo>
                  <a:pt x="339343" y="4096257"/>
                </a:lnTo>
                <a:cubicBezTo>
                  <a:pt x="362058" y="4159145"/>
                  <a:pt x="332404" y="4250479"/>
                  <a:pt x="340786" y="4321136"/>
                </a:cubicBezTo>
                <a:cubicBezTo>
                  <a:pt x="341421" y="4376624"/>
                  <a:pt x="344189" y="4407708"/>
                  <a:pt x="343158" y="4429174"/>
                </a:cubicBezTo>
                <a:cubicBezTo>
                  <a:pt x="340948" y="4436304"/>
                  <a:pt x="337887" y="4443121"/>
                  <a:pt x="334599" y="4449938"/>
                </a:cubicBezTo>
                <a:lnTo>
                  <a:pt x="332890" y="4453515"/>
                </a:lnTo>
                <a:lnTo>
                  <a:pt x="331105" y="4467941"/>
                </a:lnTo>
                <a:lnTo>
                  <a:pt x="324289" y="4471861"/>
                </a:lnTo>
                <a:lnTo>
                  <a:pt x="317079" y="4493468"/>
                </a:lnTo>
                <a:cubicBezTo>
                  <a:pt x="315353" y="4501584"/>
                  <a:pt x="314639" y="4510343"/>
                  <a:pt x="315557" y="4520067"/>
                </a:cubicBezTo>
                <a:cubicBezTo>
                  <a:pt x="315451" y="4525669"/>
                  <a:pt x="315346" y="4531270"/>
                  <a:pt x="315240" y="4536872"/>
                </a:cubicBezTo>
                <a:lnTo>
                  <a:pt x="316200" y="4538297"/>
                </a:lnTo>
                <a:cubicBezTo>
                  <a:pt x="316738" y="4541182"/>
                  <a:pt x="316785" y="4544563"/>
                  <a:pt x="317507" y="4547582"/>
                </a:cubicBezTo>
                <a:cubicBezTo>
                  <a:pt x="322716" y="4552468"/>
                  <a:pt x="324912" y="4582137"/>
                  <a:pt x="323078" y="4592102"/>
                </a:cubicBezTo>
                <a:cubicBezTo>
                  <a:pt x="314597" y="4619728"/>
                  <a:pt x="334923" y="4645745"/>
                  <a:pt x="328722" y="4667914"/>
                </a:cubicBezTo>
                <a:cubicBezTo>
                  <a:pt x="330810" y="4685069"/>
                  <a:pt x="333803" y="4690356"/>
                  <a:pt x="335597" y="4695035"/>
                </a:cubicBezTo>
                <a:lnTo>
                  <a:pt x="339485" y="4695979"/>
                </a:lnTo>
                <a:lnTo>
                  <a:pt x="341089" y="4704268"/>
                </a:lnTo>
                <a:lnTo>
                  <a:pt x="342177" y="4706060"/>
                </a:lnTo>
                <a:cubicBezTo>
                  <a:pt x="344268" y="4709474"/>
                  <a:pt x="346234" y="4712931"/>
                  <a:pt x="347751" y="4716754"/>
                </a:cubicBezTo>
                <a:lnTo>
                  <a:pt x="344125" y="4764669"/>
                </a:lnTo>
                <a:lnTo>
                  <a:pt x="340188" y="4779386"/>
                </a:lnTo>
                <a:lnTo>
                  <a:pt x="335146" y="4787491"/>
                </a:lnTo>
                <a:lnTo>
                  <a:pt x="319124" y="4843514"/>
                </a:lnTo>
                <a:lnTo>
                  <a:pt x="305956" y="4881505"/>
                </a:lnTo>
                <a:lnTo>
                  <a:pt x="301062" y="4889332"/>
                </a:lnTo>
                <a:lnTo>
                  <a:pt x="302141" y="4899400"/>
                </a:lnTo>
                <a:cubicBezTo>
                  <a:pt x="302767" y="4900706"/>
                  <a:pt x="303536" y="4901803"/>
                  <a:pt x="304424" y="4902664"/>
                </a:cubicBezTo>
                <a:lnTo>
                  <a:pt x="293123" y="4932769"/>
                </a:lnTo>
                <a:lnTo>
                  <a:pt x="292275" y="4936482"/>
                </a:lnTo>
                <a:lnTo>
                  <a:pt x="288304" y="4962325"/>
                </a:lnTo>
                <a:cubicBezTo>
                  <a:pt x="288009" y="4988948"/>
                  <a:pt x="287715" y="5015570"/>
                  <a:pt x="287420" y="5042193"/>
                </a:cubicBezTo>
                <a:cubicBezTo>
                  <a:pt x="295373" y="5039737"/>
                  <a:pt x="281659" y="5060438"/>
                  <a:pt x="287020" y="5065655"/>
                </a:cubicBezTo>
                <a:cubicBezTo>
                  <a:pt x="291675" y="5068928"/>
                  <a:pt x="288601" y="5075970"/>
                  <a:pt x="288488" y="5082216"/>
                </a:cubicBezTo>
                <a:cubicBezTo>
                  <a:pt x="292282" y="5088207"/>
                  <a:pt x="287008" y="5117775"/>
                  <a:pt x="282763" y="5127114"/>
                </a:cubicBezTo>
                <a:cubicBezTo>
                  <a:pt x="267723" y="5152218"/>
                  <a:pt x="280799" y="5182399"/>
                  <a:pt x="269316" y="5202682"/>
                </a:cubicBezTo>
                <a:cubicBezTo>
                  <a:pt x="267050" y="5219969"/>
                  <a:pt x="268614" y="5225841"/>
                  <a:pt x="269174" y="5230835"/>
                </a:cubicBezTo>
                <a:lnTo>
                  <a:pt x="272679" y="5232660"/>
                </a:lnTo>
                <a:lnTo>
                  <a:pt x="272160" y="5241150"/>
                </a:lnTo>
                <a:lnTo>
                  <a:pt x="272760" y="5243156"/>
                </a:lnTo>
                <a:cubicBezTo>
                  <a:pt x="273922" y="5246984"/>
                  <a:pt x="274952" y="5250824"/>
                  <a:pt x="275462" y="5254919"/>
                </a:cubicBezTo>
                <a:cubicBezTo>
                  <a:pt x="258407" y="5258851"/>
                  <a:pt x="276976" y="5290392"/>
                  <a:pt x="262897" y="5286259"/>
                </a:cubicBezTo>
                <a:cubicBezTo>
                  <a:pt x="262724" y="5309439"/>
                  <a:pt x="239612" y="5337531"/>
                  <a:pt x="252761" y="5357801"/>
                </a:cubicBezTo>
                <a:cubicBezTo>
                  <a:pt x="248775" y="5392256"/>
                  <a:pt x="247799" y="5423412"/>
                  <a:pt x="242360" y="5460080"/>
                </a:cubicBezTo>
                <a:cubicBezTo>
                  <a:pt x="232632" y="5488478"/>
                  <a:pt x="242025" y="5519143"/>
                  <a:pt x="229880" y="5539714"/>
                </a:cubicBezTo>
                <a:cubicBezTo>
                  <a:pt x="230558" y="5572454"/>
                  <a:pt x="222150" y="5613340"/>
                  <a:pt x="204283" y="5639080"/>
                </a:cubicBezTo>
                <a:cubicBezTo>
                  <a:pt x="201596" y="5674226"/>
                  <a:pt x="191051" y="5680198"/>
                  <a:pt x="198948" y="5710958"/>
                </a:cubicBezTo>
                <a:cubicBezTo>
                  <a:pt x="196338" y="5713534"/>
                  <a:pt x="194185" y="5716550"/>
                  <a:pt x="192367" y="5719859"/>
                </a:cubicBezTo>
                <a:lnTo>
                  <a:pt x="188035" y="5729935"/>
                </a:lnTo>
                <a:lnTo>
                  <a:pt x="188428" y="5731182"/>
                </a:lnTo>
                <a:lnTo>
                  <a:pt x="181635" y="5753538"/>
                </a:lnTo>
                <a:lnTo>
                  <a:pt x="169744" y="5796307"/>
                </a:lnTo>
                <a:lnTo>
                  <a:pt x="170351" y="5796644"/>
                </a:lnTo>
                <a:cubicBezTo>
                  <a:pt x="171558" y="5797954"/>
                  <a:pt x="172173" y="5799948"/>
                  <a:pt x="171559" y="5803435"/>
                </a:cubicBezTo>
                <a:cubicBezTo>
                  <a:pt x="182664" y="5798231"/>
                  <a:pt x="175075" y="5805646"/>
                  <a:pt x="172284" y="5816391"/>
                </a:cubicBezTo>
                <a:cubicBezTo>
                  <a:pt x="188911" y="5810703"/>
                  <a:pt x="174844" y="5841128"/>
                  <a:pt x="182542" y="5846382"/>
                </a:cubicBezTo>
                <a:cubicBezTo>
                  <a:pt x="180118" y="5854404"/>
                  <a:pt x="177856" y="5862781"/>
                  <a:pt x="175877" y="5871336"/>
                </a:cubicBezTo>
                <a:lnTo>
                  <a:pt x="174910" y="5876376"/>
                </a:lnTo>
                <a:lnTo>
                  <a:pt x="175047" y="5876483"/>
                </a:lnTo>
                <a:cubicBezTo>
                  <a:pt x="175167" y="5877594"/>
                  <a:pt x="174973" y="5879257"/>
                  <a:pt x="174335" y="5881814"/>
                </a:cubicBezTo>
                <a:lnTo>
                  <a:pt x="171273" y="5895339"/>
                </a:lnTo>
                <a:cubicBezTo>
                  <a:pt x="171401" y="5896476"/>
                  <a:pt x="171530" y="5897612"/>
                  <a:pt x="171658" y="5898749"/>
                </a:cubicBezTo>
                <a:lnTo>
                  <a:pt x="174658" y="5919558"/>
                </a:lnTo>
                <a:cubicBezTo>
                  <a:pt x="173958" y="5933601"/>
                  <a:pt x="171208" y="5962838"/>
                  <a:pt x="169099" y="5984417"/>
                </a:cubicBezTo>
                <a:cubicBezTo>
                  <a:pt x="162916" y="6005205"/>
                  <a:pt x="164971" y="6025162"/>
                  <a:pt x="162007" y="6049043"/>
                </a:cubicBezTo>
                <a:cubicBezTo>
                  <a:pt x="150795" y="6073830"/>
                  <a:pt x="160091" y="6088483"/>
                  <a:pt x="156875" y="6114000"/>
                </a:cubicBezTo>
                <a:cubicBezTo>
                  <a:pt x="141597" y="6134477"/>
                  <a:pt x="163381" y="6133378"/>
                  <a:pt x="165441" y="6146938"/>
                </a:cubicBezTo>
                <a:lnTo>
                  <a:pt x="165177" y="6150658"/>
                </a:lnTo>
                <a:lnTo>
                  <a:pt x="161772" y="6160011"/>
                </a:lnTo>
                <a:lnTo>
                  <a:pt x="160051" y="6163393"/>
                </a:lnTo>
                <a:cubicBezTo>
                  <a:pt x="159032" y="6165775"/>
                  <a:pt x="158564" y="6167421"/>
                  <a:pt x="158473" y="6168628"/>
                </a:cubicBezTo>
                <a:cubicBezTo>
                  <a:pt x="158506" y="6168685"/>
                  <a:pt x="158540" y="6168742"/>
                  <a:pt x="158573" y="6168799"/>
                </a:cubicBezTo>
                <a:lnTo>
                  <a:pt x="146463" y="6196671"/>
                </a:lnTo>
                <a:cubicBezTo>
                  <a:pt x="152348" y="6205503"/>
                  <a:pt x="134460" y="6231012"/>
                  <a:pt x="150209" y="6232365"/>
                </a:cubicBezTo>
                <a:cubicBezTo>
                  <a:pt x="145821" y="6242321"/>
                  <a:pt x="137774" y="6246719"/>
                  <a:pt x="148544" y="6246162"/>
                </a:cubicBezTo>
                <a:cubicBezTo>
                  <a:pt x="147378" y="6249522"/>
                  <a:pt x="147566" y="6251866"/>
                  <a:pt x="148403" y="6253754"/>
                </a:cubicBezTo>
                <a:lnTo>
                  <a:pt x="138880" y="6276449"/>
                </a:lnTo>
                <a:cubicBezTo>
                  <a:pt x="138814" y="6277540"/>
                  <a:pt x="138749" y="6278630"/>
                  <a:pt x="138683" y="6279721"/>
                </a:cubicBezTo>
                <a:lnTo>
                  <a:pt x="130721" y="6293675"/>
                </a:lnTo>
                <a:lnTo>
                  <a:pt x="120717" y="6313967"/>
                </a:lnTo>
                <a:cubicBezTo>
                  <a:pt x="120758" y="6314457"/>
                  <a:pt x="120800" y="6314947"/>
                  <a:pt x="120841" y="6315437"/>
                </a:cubicBezTo>
                <a:lnTo>
                  <a:pt x="115208" y="6324024"/>
                </a:lnTo>
                <a:cubicBezTo>
                  <a:pt x="113007" y="6326672"/>
                  <a:pt x="103991" y="6364381"/>
                  <a:pt x="101217" y="6365923"/>
                </a:cubicBezTo>
                <a:lnTo>
                  <a:pt x="74946" y="6556817"/>
                </a:lnTo>
                <a:cubicBezTo>
                  <a:pt x="55357" y="6665926"/>
                  <a:pt x="35695" y="6744075"/>
                  <a:pt x="16001" y="6808678"/>
                </a:cubicBezTo>
                <a:lnTo>
                  <a:pt x="0" y="6858000"/>
                </a:lnTo>
                <a:lnTo>
                  <a:pt x="5734864" y="6858000"/>
                </a:lnTo>
                <a:lnTo>
                  <a:pt x="5734864" y="0"/>
                </a:lnTo>
                <a:close/>
              </a:path>
            </a:pathLst>
          </a:custGeom>
          <a:solidFill>
            <a:srgbClr val="82766A">
              <a:alpha val="15000"/>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2F53C965-EE0D-441D-96BF-AA4BFFC51461}"/>
              </a:ext>
            </a:extLst>
          </p:cNvPr>
          <p:cNvSpPr>
            <a:spLocks noGrp="1"/>
          </p:cNvSpPr>
          <p:nvPr>
            <p:ph type="title"/>
          </p:nvPr>
        </p:nvSpPr>
        <p:spPr>
          <a:xfrm>
            <a:off x="181114" y="381937"/>
            <a:ext cx="5010284" cy="5785102"/>
          </a:xfrm>
        </p:spPr>
        <p:txBody>
          <a:bodyPr vert="horz" lIns="91440" tIns="45720" rIns="91440" bIns="45720" rtlCol="0" anchor="b">
            <a:noAutofit/>
          </a:bodyPr>
          <a:lstStyle/>
          <a:p>
            <a:pPr algn="ctr">
              <a:lnSpc>
                <a:spcPct val="90000"/>
              </a:lnSpc>
            </a:pPr>
            <a:r>
              <a:rPr lang="en-US" sz="4000" kern="1200" dirty="0">
                <a:solidFill>
                  <a:schemeClr val="tx1"/>
                </a:solidFill>
                <a:latin typeface="+mj-lt"/>
                <a:ea typeface="+mj-ea"/>
                <a:cs typeface="+mj-cs"/>
              </a:rPr>
              <a:t>Respectful Care Breakfast</a:t>
            </a:r>
            <a:r>
              <a:rPr lang="en-US" sz="4000" dirty="0">
                <a:solidFill>
                  <a:schemeClr val="tx1"/>
                </a:solidFill>
                <a:ea typeface="+mj-ea"/>
                <a:cs typeface="+mj-cs"/>
              </a:rPr>
              <a:t>: A Celebration of Respectful Care and Patient Voices</a:t>
            </a:r>
            <a:br>
              <a:rPr lang="en-US" sz="4000" dirty="0">
                <a:ea typeface="Calibri"/>
                <a:cs typeface="Calibri"/>
              </a:rPr>
            </a:br>
            <a:br>
              <a:rPr lang="en-US" sz="4000" dirty="0">
                <a:ea typeface="Calibri"/>
                <a:cs typeface="Calibri"/>
              </a:rPr>
            </a:br>
            <a:r>
              <a:rPr lang="en-US" sz="2800" b="0" dirty="0">
                <a:solidFill>
                  <a:schemeClr val="tx1"/>
                </a:solidFill>
                <a:ea typeface="Calibri"/>
                <a:cs typeface="Calibri"/>
              </a:rPr>
              <a:t>Building connections over breakfast with postpartum patients, community members, and clinical staff for discussion and feedback on respectful care</a:t>
            </a:r>
            <a:endParaRPr lang="en-US" sz="2800" b="0" kern="1200" dirty="0">
              <a:solidFill>
                <a:schemeClr val="tx1"/>
              </a:solidFill>
              <a:latin typeface="+mj-lt"/>
              <a:ea typeface="Calibri"/>
              <a:cs typeface="Calibri"/>
            </a:endParaRPr>
          </a:p>
        </p:txBody>
      </p:sp>
      <p:sp>
        <p:nvSpPr>
          <p:cNvPr id="5" name="Footer Placeholder 4">
            <a:extLst>
              <a:ext uri="{FF2B5EF4-FFF2-40B4-BE49-F238E27FC236}">
                <a16:creationId xmlns:a16="http://schemas.microsoft.com/office/drawing/2014/main" id="{3E97C472-B7C4-432B-BE68-86FA3727418E}"/>
              </a:ext>
            </a:extLst>
          </p:cNvPr>
          <p:cNvSpPr>
            <a:spLocks noGrp="1"/>
          </p:cNvSpPr>
          <p:nvPr>
            <p:ph type="ftr" sz="quarter" idx="11"/>
          </p:nvPr>
        </p:nvSpPr>
        <p:spPr>
          <a:xfrm>
            <a:off x="509954" y="6309458"/>
            <a:ext cx="4114800" cy="365125"/>
          </a:xfrm>
        </p:spPr>
        <p:txBody>
          <a:bodyPr vert="horz" lIns="91440" tIns="45720" rIns="91440" bIns="45720" rtlCol="0" anchor="ctr">
            <a:normAutofit/>
          </a:bodyPr>
          <a:lstStyle/>
          <a:p>
            <a:pPr>
              <a:spcAft>
                <a:spcPts val="600"/>
              </a:spcAft>
            </a:pPr>
            <a:r>
              <a:rPr lang="en-US" sz="1000" kern="1200">
                <a:solidFill>
                  <a:schemeClr val="tx1">
                    <a:tint val="75000"/>
                  </a:schemeClr>
                </a:solidFill>
                <a:latin typeface="+mn-lt"/>
                <a:ea typeface="+mn-ea"/>
                <a:cs typeface="+mn-cs"/>
              </a:rPr>
              <a:t>Illinois Perinatal Quality Collaborative</a:t>
            </a:r>
          </a:p>
        </p:txBody>
      </p:sp>
      <p:sp>
        <p:nvSpPr>
          <p:cNvPr id="4" name="Slide Number Placeholder 3">
            <a:extLst>
              <a:ext uri="{FF2B5EF4-FFF2-40B4-BE49-F238E27FC236}">
                <a16:creationId xmlns:a16="http://schemas.microsoft.com/office/drawing/2014/main" id="{3C0BED1F-6F67-418F-8281-4E0D17E7419A}"/>
              </a:ext>
            </a:extLst>
          </p:cNvPr>
          <p:cNvSpPr>
            <a:spLocks noGrp="1"/>
          </p:cNvSpPr>
          <p:nvPr>
            <p:ph type="sldNum" sz="quarter" idx="10"/>
          </p:nvPr>
        </p:nvSpPr>
        <p:spPr>
          <a:xfrm>
            <a:off x="8610600" y="6356350"/>
            <a:ext cx="2743200" cy="365125"/>
          </a:xfrm>
        </p:spPr>
        <p:txBody>
          <a:bodyPr vert="horz" lIns="91440" tIns="45720" rIns="91440" bIns="45720" rtlCol="0" anchor="ctr">
            <a:normAutofit/>
          </a:bodyPr>
          <a:lstStyle/>
          <a:p>
            <a:pPr>
              <a:spcAft>
                <a:spcPts val="600"/>
              </a:spcAft>
            </a:pPr>
            <a:fld id="{97033E4B-E3EB-3D46-B2D8-3159663620FA}" type="slidenum">
              <a:rPr lang="en-US" sz="1000">
                <a:solidFill>
                  <a:schemeClr val="tx1">
                    <a:tint val="75000"/>
                  </a:schemeClr>
                </a:solidFill>
              </a:rPr>
              <a:pPr>
                <a:spcAft>
                  <a:spcPts val="600"/>
                </a:spcAft>
              </a:pPr>
              <a:t>11</a:t>
            </a:fld>
            <a:endParaRPr lang="en-US" sz="1000">
              <a:solidFill>
                <a:schemeClr val="tx1">
                  <a:tint val="75000"/>
                </a:schemeClr>
              </a:solidFill>
            </a:endParaRPr>
          </a:p>
        </p:txBody>
      </p:sp>
      <p:pic>
        <p:nvPicPr>
          <p:cNvPr id="6" name="Picture 6" descr="Text&#10;&#10;Description automatically generated">
            <a:extLst>
              <a:ext uri="{FF2B5EF4-FFF2-40B4-BE49-F238E27FC236}">
                <a16:creationId xmlns:a16="http://schemas.microsoft.com/office/drawing/2014/main" id="{41B853E7-DC83-C695-A9A7-763FA445DAE2}"/>
              </a:ext>
            </a:extLst>
          </p:cNvPr>
          <p:cNvPicPr>
            <a:picLocks noChangeAspect="1"/>
          </p:cNvPicPr>
          <p:nvPr/>
        </p:nvPicPr>
        <p:blipFill>
          <a:blip r:embed="rId3"/>
          <a:stretch>
            <a:fillRect/>
          </a:stretch>
        </p:blipFill>
        <p:spPr>
          <a:xfrm>
            <a:off x="6173273" y="-496"/>
            <a:ext cx="4878946" cy="6858990"/>
          </a:xfrm>
          <a:prstGeom prst="rect">
            <a:avLst/>
          </a:prstGeom>
        </p:spPr>
      </p:pic>
    </p:spTree>
    <p:extLst>
      <p:ext uri="{BB962C8B-B14F-4D97-AF65-F5344CB8AC3E}">
        <p14:creationId xmlns:p14="http://schemas.microsoft.com/office/powerpoint/2010/main" val="26385996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7" name="Picture 16" descr="A group of people posing for a photo&#10;&#10;Description automatically generated">
            <a:extLst>
              <a:ext uri="{FF2B5EF4-FFF2-40B4-BE49-F238E27FC236}">
                <a16:creationId xmlns:a16="http://schemas.microsoft.com/office/drawing/2014/main" id="{054FBB4A-2FF3-56BA-A995-B8B6668E2159}"/>
              </a:ext>
            </a:extLst>
          </p:cNvPr>
          <p:cNvPicPr>
            <a:picLocks noChangeAspect="1"/>
          </p:cNvPicPr>
          <p:nvPr/>
        </p:nvPicPr>
        <p:blipFill rotWithShape="1">
          <a:blip r:embed="rId3"/>
          <a:srcRect l="-473" t="11091" r="-166" b="35853"/>
          <a:stretch/>
        </p:blipFill>
        <p:spPr>
          <a:xfrm>
            <a:off x="4199667" y="2807949"/>
            <a:ext cx="3832204" cy="1569653"/>
          </a:xfrm>
          <a:prstGeom prst="rect">
            <a:avLst/>
          </a:prstGeom>
        </p:spPr>
      </p:pic>
      <p:pic>
        <p:nvPicPr>
          <p:cNvPr id="7" name="Picture 6" descr="A group of people sitting in a room&#10;&#10;Description automatically generated">
            <a:extLst>
              <a:ext uri="{FF2B5EF4-FFF2-40B4-BE49-F238E27FC236}">
                <a16:creationId xmlns:a16="http://schemas.microsoft.com/office/drawing/2014/main" id="{514B6EB5-E538-1921-0634-0C72F3E27B30}"/>
              </a:ext>
            </a:extLst>
          </p:cNvPr>
          <p:cNvPicPr>
            <a:picLocks noChangeAspect="1"/>
          </p:cNvPicPr>
          <p:nvPr/>
        </p:nvPicPr>
        <p:blipFill rotWithShape="1">
          <a:blip r:embed="rId4"/>
          <a:srcRect t="28000" r="146" b="250"/>
          <a:stretch/>
        </p:blipFill>
        <p:spPr>
          <a:xfrm>
            <a:off x="294979" y="4527992"/>
            <a:ext cx="3835672" cy="2084740"/>
          </a:xfrm>
          <a:prstGeom prst="rect">
            <a:avLst/>
          </a:prstGeom>
        </p:spPr>
      </p:pic>
      <p:sp>
        <p:nvSpPr>
          <p:cNvPr id="31" name="Rectangle 30">
            <a:extLst>
              <a:ext uri="{FF2B5EF4-FFF2-40B4-BE49-F238E27FC236}">
                <a16:creationId xmlns:a16="http://schemas.microsoft.com/office/drawing/2014/main" id="{928F64C6-FE22-4FC1-A763-DFCC514811B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4261224" y="4577975"/>
            <a:ext cx="7539349" cy="1899827"/>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C0FE9512-60DD-4A8E-9043-5E88B8876B1D}"/>
              </a:ext>
            </a:extLst>
          </p:cNvPr>
          <p:cNvSpPr>
            <a:spLocks noGrp="1"/>
          </p:cNvSpPr>
          <p:nvPr>
            <p:ph type="title"/>
          </p:nvPr>
        </p:nvSpPr>
        <p:spPr>
          <a:xfrm>
            <a:off x="7738553" y="4741948"/>
            <a:ext cx="3846835" cy="829374"/>
          </a:xfrm>
        </p:spPr>
        <p:txBody>
          <a:bodyPr vert="horz" lIns="91440" tIns="45720" rIns="91440" bIns="45720" rtlCol="0" anchor="b">
            <a:noAutofit/>
          </a:bodyPr>
          <a:lstStyle/>
          <a:p>
            <a:pPr algn="ctr">
              <a:lnSpc>
                <a:spcPct val="90000"/>
              </a:lnSpc>
            </a:pPr>
            <a:r>
              <a:rPr lang="en-US" sz="3200">
                <a:solidFill>
                  <a:srgbClr val="FFFFFF"/>
                </a:solidFill>
                <a:ea typeface="+mj-ea"/>
                <a:cs typeface="Calibri"/>
              </a:rPr>
              <a:t>Respectful Care Breakfasts Across IL</a:t>
            </a:r>
            <a:endParaRPr lang="en-US" sz="3200" kern="1200">
              <a:solidFill>
                <a:srgbClr val="FFFFFF"/>
              </a:solidFill>
              <a:latin typeface="+mj-lt"/>
              <a:ea typeface="+mj-ea"/>
              <a:cs typeface="Calibri"/>
            </a:endParaRPr>
          </a:p>
        </p:txBody>
      </p:sp>
      <p:pic>
        <p:nvPicPr>
          <p:cNvPr id="10" name="Picture 9" descr="A group of people sitting around a table&#10;&#10;Description automatically generated">
            <a:extLst>
              <a:ext uri="{FF2B5EF4-FFF2-40B4-BE49-F238E27FC236}">
                <a16:creationId xmlns:a16="http://schemas.microsoft.com/office/drawing/2014/main" id="{F450D2FF-2A12-C24E-757B-C22927A4F8D6}"/>
              </a:ext>
            </a:extLst>
          </p:cNvPr>
          <p:cNvPicPr>
            <a:picLocks noChangeAspect="1"/>
          </p:cNvPicPr>
          <p:nvPr/>
        </p:nvPicPr>
        <p:blipFill rotWithShape="1">
          <a:blip r:embed="rId5"/>
          <a:srcRect t="21022" r="1" b="8388"/>
          <a:stretch/>
        </p:blipFill>
        <p:spPr>
          <a:xfrm>
            <a:off x="317636" y="321734"/>
            <a:ext cx="3797570" cy="2010551"/>
          </a:xfrm>
          <a:prstGeom prst="rect">
            <a:avLst/>
          </a:prstGeom>
        </p:spPr>
      </p:pic>
      <p:pic>
        <p:nvPicPr>
          <p:cNvPr id="11" name="Picture 10" descr="A group of women posing for a photo&#10;&#10;Description automatically generated">
            <a:extLst>
              <a:ext uri="{FF2B5EF4-FFF2-40B4-BE49-F238E27FC236}">
                <a16:creationId xmlns:a16="http://schemas.microsoft.com/office/drawing/2014/main" id="{F72533A0-8306-CE47-40B7-30F3BD26CAA0}"/>
              </a:ext>
            </a:extLst>
          </p:cNvPr>
          <p:cNvPicPr>
            <a:picLocks noChangeAspect="1"/>
          </p:cNvPicPr>
          <p:nvPr/>
        </p:nvPicPr>
        <p:blipFill rotWithShape="1">
          <a:blip r:embed="rId6"/>
          <a:srcRect r="-3" b="21734"/>
          <a:stretch/>
        </p:blipFill>
        <p:spPr>
          <a:xfrm>
            <a:off x="317634" y="2422097"/>
            <a:ext cx="3794760" cy="2013804"/>
          </a:xfrm>
          <a:prstGeom prst="rect">
            <a:avLst/>
          </a:prstGeom>
        </p:spPr>
      </p:pic>
      <p:pic>
        <p:nvPicPr>
          <p:cNvPr id="8" name="Picture 7" descr="A person and person sitting at a picnic table with a baby in a stroller&#10;&#10;Description automatically generated">
            <a:extLst>
              <a:ext uri="{FF2B5EF4-FFF2-40B4-BE49-F238E27FC236}">
                <a16:creationId xmlns:a16="http://schemas.microsoft.com/office/drawing/2014/main" id="{A979C5EA-1C80-8E96-1FE8-39F84C02F26F}"/>
              </a:ext>
            </a:extLst>
          </p:cNvPr>
          <p:cNvPicPr>
            <a:picLocks noChangeAspect="1"/>
          </p:cNvPicPr>
          <p:nvPr/>
        </p:nvPicPr>
        <p:blipFill rotWithShape="1">
          <a:blip r:embed="rId7"/>
          <a:srcRect l="-52" t="19569" r="-663" b="29685"/>
          <a:stretch/>
        </p:blipFill>
        <p:spPr>
          <a:xfrm>
            <a:off x="4200589" y="171007"/>
            <a:ext cx="3820621" cy="2566788"/>
          </a:xfrm>
          <a:prstGeom prst="rect">
            <a:avLst/>
          </a:prstGeom>
        </p:spPr>
      </p:pic>
      <p:pic>
        <p:nvPicPr>
          <p:cNvPr id="6" name="Content Placeholder 5" descr="A person holding a baby&#10;&#10;Description automatically generated">
            <a:extLst>
              <a:ext uri="{FF2B5EF4-FFF2-40B4-BE49-F238E27FC236}">
                <a16:creationId xmlns:a16="http://schemas.microsoft.com/office/drawing/2014/main" id="{E6557D6C-ECE5-6588-4B8B-FFD83938FF6F}"/>
              </a:ext>
            </a:extLst>
          </p:cNvPr>
          <p:cNvPicPr>
            <a:picLocks noGrp="1" noChangeAspect="1"/>
          </p:cNvPicPr>
          <p:nvPr>
            <p:ph idx="1"/>
          </p:nvPr>
        </p:nvPicPr>
        <p:blipFill rotWithShape="1">
          <a:blip r:embed="rId8"/>
          <a:srcRect t="13554" r="220" b="41322"/>
          <a:stretch/>
        </p:blipFill>
        <p:spPr>
          <a:xfrm>
            <a:off x="8102923" y="2155556"/>
            <a:ext cx="3789621" cy="2285087"/>
          </a:xfrm>
          <a:prstGeom prst="rect">
            <a:avLst/>
          </a:prstGeom>
        </p:spPr>
      </p:pic>
      <p:cxnSp>
        <p:nvCxnSpPr>
          <p:cNvPr id="33" name="Straight Connector 32">
            <a:extLst>
              <a:ext uri="{FF2B5EF4-FFF2-40B4-BE49-F238E27FC236}">
                <a16:creationId xmlns:a16="http://schemas.microsoft.com/office/drawing/2014/main" id="{5C34627B-48E6-4F4D-B843-97717A86B49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719934" y="5694097"/>
            <a:ext cx="54864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18A6EEE-06F5-70A7-5878-12985303D5EE}"/>
              </a:ext>
            </a:extLst>
          </p:cNvPr>
          <p:cNvSpPr>
            <a:spLocks noGrp="1"/>
          </p:cNvSpPr>
          <p:nvPr>
            <p:ph type="ftr" sz="quarter" idx="11"/>
          </p:nvPr>
        </p:nvSpPr>
        <p:spPr>
          <a:xfrm>
            <a:off x="7546665" y="6536267"/>
            <a:ext cx="4892842" cy="306928"/>
          </a:xfrm>
        </p:spPr>
        <p:txBody>
          <a:bodyPr vert="horz" lIns="91440" tIns="45720" rIns="91440" bIns="45720" rtlCol="0" anchor="ctr">
            <a:normAutofit/>
          </a:bodyPr>
          <a:lstStyle/>
          <a:p>
            <a:pPr>
              <a:spcAft>
                <a:spcPts val="600"/>
              </a:spcAft>
            </a:pPr>
            <a:r>
              <a:rPr lang="en-US" kern="1200">
                <a:solidFill>
                  <a:schemeClr val="tx1">
                    <a:lumMod val="75000"/>
                    <a:lumOff val="25000"/>
                  </a:schemeClr>
                </a:solidFill>
                <a:latin typeface="+mn-lt"/>
                <a:ea typeface="+mn-ea"/>
                <a:cs typeface="+mn-cs"/>
              </a:rPr>
              <a:t>Illinois Perinatal Quality Collaborative</a:t>
            </a:r>
          </a:p>
        </p:txBody>
      </p:sp>
      <p:sp>
        <p:nvSpPr>
          <p:cNvPr id="4" name="Slide Number Placeholder 3">
            <a:extLst>
              <a:ext uri="{FF2B5EF4-FFF2-40B4-BE49-F238E27FC236}">
                <a16:creationId xmlns:a16="http://schemas.microsoft.com/office/drawing/2014/main" id="{A5A4ED70-0183-5724-8F1A-CD092A1FAFD0}"/>
              </a:ext>
            </a:extLst>
          </p:cNvPr>
          <p:cNvSpPr>
            <a:spLocks noGrp="1"/>
          </p:cNvSpPr>
          <p:nvPr>
            <p:ph type="sldNum" sz="quarter" idx="10"/>
          </p:nvPr>
        </p:nvSpPr>
        <p:spPr>
          <a:xfrm>
            <a:off x="9057372" y="6536267"/>
            <a:ext cx="2743200" cy="306928"/>
          </a:xfrm>
        </p:spPr>
        <p:txBody>
          <a:bodyPr vert="horz" lIns="91440" tIns="45720" rIns="91440" bIns="45720" rtlCol="0" anchor="ctr">
            <a:normAutofit/>
          </a:bodyPr>
          <a:lstStyle/>
          <a:p>
            <a:pPr>
              <a:spcAft>
                <a:spcPts val="600"/>
              </a:spcAft>
            </a:pPr>
            <a:fld id="{97033E4B-E3EB-3D46-B2D8-3159663620FA}" type="slidenum">
              <a:rPr lang="en-US" dirty="0">
                <a:solidFill>
                  <a:schemeClr val="tx1">
                    <a:lumMod val="75000"/>
                    <a:lumOff val="25000"/>
                  </a:schemeClr>
                </a:solidFill>
              </a:rPr>
              <a:pPr>
                <a:spcAft>
                  <a:spcPts val="600"/>
                </a:spcAft>
              </a:pPr>
              <a:t>12</a:t>
            </a:fld>
            <a:endParaRPr lang="en-US">
              <a:solidFill>
                <a:schemeClr val="tx1">
                  <a:lumMod val="75000"/>
                  <a:lumOff val="25000"/>
                </a:schemeClr>
              </a:solidFill>
            </a:endParaRPr>
          </a:p>
        </p:txBody>
      </p:sp>
      <p:sp>
        <p:nvSpPr>
          <p:cNvPr id="15" name="TextBox 14">
            <a:extLst>
              <a:ext uri="{FF2B5EF4-FFF2-40B4-BE49-F238E27FC236}">
                <a16:creationId xmlns:a16="http://schemas.microsoft.com/office/drawing/2014/main" id="{D479F5EF-B34D-3E48-9038-CCD71B0FCF2B}"/>
              </a:ext>
            </a:extLst>
          </p:cNvPr>
          <p:cNvSpPr txBox="1"/>
          <p:nvPr/>
        </p:nvSpPr>
        <p:spPr>
          <a:xfrm>
            <a:off x="705152" y="2465142"/>
            <a:ext cx="3029050" cy="338554"/>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a:ea typeface="Calibri"/>
                <a:cs typeface="Calibri"/>
              </a:rPr>
              <a:t>Memorial Hospital of Carbondale</a:t>
            </a:r>
          </a:p>
        </p:txBody>
      </p:sp>
      <p:sp>
        <p:nvSpPr>
          <p:cNvPr id="24" name="TextBox 23">
            <a:extLst>
              <a:ext uri="{FF2B5EF4-FFF2-40B4-BE49-F238E27FC236}">
                <a16:creationId xmlns:a16="http://schemas.microsoft.com/office/drawing/2014/main" id="{82BCFBA6-13B9-12BE-9DF9-4CF5057733EF}"/>
              </a:ext>
            </a:extLst>
          </p:cNvPr>
          <p:cNvSpPr txBox="1"/>
          <p:nvPr/>
        </p:nvSpPr>
        <p:spPr>
          <a:xfrm>
            <a:off x="735929" y="411104"/>
            <a:ext cx="2977175" cy="338554"/>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a:ea typeface="Calibri"/>
                <a:cs typeface="Calibri"/>
              </a:rPr>
              <a:t>Roseland Community Hospital</a:t>
            </a:r>
            <a:endParaRPr lang="en-US" sz="1600">
              <a:cs typeface="Calibri"/>
            </a:endParaRPr>
          </a:p>
        </p:txBody>
      </p:sp>
      <p:sp>
        <p:nvSpPr>
          <p:cNvPr id="29" name="TextBox 28">
            <a:extLst>
              <a:ext uri="{FF2B5EF4-FFF2-40B4-BE49-F238E27FC236}">
                <a16:creationId xmlns:a16="http://schemas.microsoft.com/office/drawing/2014/main" id="{FAEB9339-93C5-1701-70EE-EDC7CD3E87BE}"/>
              </a:ext>
            </a:extLst>
          </p:cNvPr>
          <p:cNvSpPr txBox="1"/>
          <p:nvPr/>
        </p:nvSpPr>
        <p:spPr>
          <a:xfrm>
            <a:off x="364741" y="6124598"/>
            <a:ext cx="2822896" cy="338554"/>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a:cs typeface="Calibri"/>
              </a:rPr>
              <a:t>Barnes-Jewish/SSM St. Mary's</a:t>
            </a:r>
            <a:endParaRPr lang="en-US"/>
          </a:p>
        </p:txBody>
      </p:sp>
      <p:sp>
        <p:nvSpPr>
          <p:cNvPr id="30" name="TextBox 29">
            <a:extLst>
              <a:ext uri="{FF2B5EF4-FFF2-40B4-BE49-F238E27FC236}">
                <a16:creationId xmlns:a16="http://schemas.microsoft.com/office/drawing/2014/main" id="{C1D7A83F-D968-B993-D57C-204C5D85E4E4}"/>
              </a:ext>
            </a:extLst>
          </p:cNvPr>
          <p:cNvSpPr txBox="1"/>
          <p:nvPr/>
        </p:nvSpPr>
        <p:spPr>
          <a:xfrm>
            <a:off x="4257243" y="236082"/>
            <a:ext cx="2325666" cy="338554"/>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a:cs typeface="Calibri"/>
              </a:rPr>
              <a:t>Carle Foundation Hospital</a:t>
            </a:r>
            <a:endParaRPr lang="en-US"/>
          </a:p>
        </p:txBody>
      </p:sp>
      <p:sp>
        <p:nvSpPr>
          <p:cNvPr id="9" name="TextBox 8">
            <a:extLst>
              <a:ext uri="{FF2B5EF4-FFF2-40B4-BE49-F238E27FC236}">
                <a16:creationId xmlns:a16="http://schemas.microsoft.com/office/drawing/2014/main" id="{1D9D9CB1-DDCD-F417-6EE0-9EB057EC8EB6}"/>
              </a:ext>
            </a:extLst>
          </p:cNvPr>
          <p:cNvSpPr txBox="1"/>
          <p:nvPr/>
        </p:nvSpPr>
        <p:spPr>
          <a:xfrm>
            <a:off x="6058350" y="2883482"/>
            <a:ext cx="1888604" cy="338554"/>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a:ea typeface="Calibri"/>
                <a:cs typeface="Calibri"/>
              </a:rPr>
              <a:t>MacNeal Hospital</a:t>
            </a:r>
          </a:p>
        </p:txBody>
      </p:sp>
      <p:pic>
        <p:nvPicPr>
          <p:cNvPr id="12" name="Picture 11" descr="A group of people sitting in chairs in front of a projection screen&#10;&#10;Description automatically generated">
            <a:extLst>
              <a:ext uri="{FF2B5EF4-FFF2-40B4-BE49-F238E27FC236}">
                <a16:creationId xmlns:a16="http://schemas.microsoft.com/office/drawing/2014/main" id="{52EF9B08-D94F-4C43-D3DF-88D079DAB53A}"/>
              </a:ext>
            </a:extLst>
          </p:cNvPr>
          <p:cNvPicPr>
            <a:picLocks noChangeAspect="1"/>
          </p:cNvPicPr>
          <p:nvPr/>
        </p:nvPicPr>
        <p:blipFill rotWithShape="1">
          <a:blip r:embed="rId9"/>
          <a:srcRect l="-441" t="42418" r="881" b="20100"/>
          <a:stretch/>
        </p:blipFill>
        <p:spPr>
          <a:xfrm>
            <a:off x="8109563" y="170186"/>
            <a:ext cx="3783042" cy="1892304"/>
          </a:xfrm>
          <a:prstGeom prst="rect">
            <a:avLst/>
          </a:prstGeom>
        </p:spPr>
      </p:pic>
      <p:sp>
        <p:nvSpPr>
          <p:cNvPr id="13" name="TextBox 12">
            <a:extLst>
              <a:ext uri="{FF2B5EF4-FFF2-40B4-BE49-F238E27FC236}">
                <a16:creationId xmlns:a16="http://schemas.microsoft.com/office/drawing/2014/main" id="{BF4B0793-36F2-0D68-57DF-2BD3A6A14582}"/>
              </a:ext>
            </a:extLst>
          </p:cNvPr>
          <p:cNvSpPr txBox="1"/>
          <p:nvPr/>
        </p:nvSpPr>
        <p:spPr>
          <a:xfrm>
            <a:off x="8251462" y="2254125"/>
            <a:ext cx="1605535" cy="598136"/>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a:cs typeface="Calibri"/>
              </a:rPr>
              <a:t>Carle Foundation Hospital</a:t>
            </a:r>
            <a:endParaRPr lang="en-US"/>
          </a:p>
        </p:txBody>
      </p:sp>
      <p:sp>
        <p:nvSpPr>
          <p:cNvPr id="14" name="TextBox 13">
            <a:extLst>
              <a:ext uri="{FF2B5EF4-FFF2-40B4-BE49-F238E27FC236}">
                <a16:creationId xmlns:a16="http://schemas.microsoft.com/office/drawing/2014/main" id="{47DD168A-EFA8-3F10-C016-A0703E750A1F}"/>
              </a:ext>
            </a:extLst>
          </p:cNvPr>
          <p:cNvSpPr txBox="1"/>
          <p:nvPr/>
        </p:nvSpPr>
        <p:spPr>
          <a:xfrm>
            <a:off x="8953173" y="321492"/>
            <a:ext cx="2074457" cy="338554"/>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a:cs typeface="Calibri"/>
              </a:rPr>
              <a:t>UI Health</a:t>
            </a:r>
            <a:endParaRPr lang="en-US"/>
          </a:p>
        </p:txBody>
      </p:sp>
      <p:pic>
        <p:nvPicPr>
          <p:cNvPr id="3" name="Picture 2" descr="A group of people standing in front of a projector screen&#10;&#10;Description automatically generated">
            <a:extLst>
              <a:ext uri="{FF2B5EF4-FFF2-40B4-BE49-F238E27FC236}">
                <a16:creationId xmlns:a16="http://schemas.microsoft.com/office/drawing/2014/main" id="{6D348CD1-994D-90D5-3DD0-D478F08787F8}"/>
              </a:ext>
            </a:extLst>
          </p:cNvPr>
          <p:cNvPicPr>
            <a:picLocks noChangeAspect="1"/>
          </p:cNvPicPr>
          <p:nvPr/>
        </p:nvPicPr>
        <p:blipFill rotWithShape="1">
          <a:blip r:embed="rId10"/>
          <a:srcRect t="-684" b="34437"/>
          <a:stretch/>
        </p:blipFill>
        <p:spPr>
          <a:xfrm>
            <a:off x="4194071" y="4470364"/>
            <a:ext cx="3352107" cy="2138135"/>
          </a:xfrm>
          <a:prstGeom prst="rect">
            <a:avLst/>
          </a:prstGeom>
        </p:spPr>
      </p:pic>
      <p:sp>
        <p:nvSpPr>
          <p:cNvPr id="16" name="TextBox 15">
            <a:extLst>
              <a:ext uri="{FF2B5EF4-FFF2-40B4-BE49-F238E27FC236}">
                <a16:creationId xmlns:a16="http://schemas.microsoft.com/office/drawing/2014/main" id="{BF562975-8F8C-1423-0B61-1FD877101592}"/>
              </a:ext>
            </a:extLst>
          </p:cNvPr>
          <p:cNvSpPr txBox="1"/>
          <p:nvPr/>
        </p:nvSpPr>
        <p:spPr>
          <a:xfrm>
            <a:off x="6145435" y="4581654"/>
            <a:ext cx="1322547" cy="584775"/>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a:cs typeface="Calibri"/>
              </a:rPr>
              <a:t>Vista Medical Center</a:t>
            </a:r>
            <a:endParaRPr lang="en-US"/>
          </a:p>
        </p:txBody>
      </p:sp>
    </p:spTree>
    <p:extLst>
      <p:ext uri="{BB962C8B-B14F-4D97-AF65-F5344CB8AC3E}">
        <p14:creationId xmlns:p14="http://schemas.microsoft.com/office/powerpoint/2010/main" val="7984598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441" y="209156"/>
            <a:ext cx="10972800" cy="1325563"/>
          </a:xfrm>
          <a:noFill/>
        </p:spPr>
        <p:txBody>
          <a:bodyPr/>
          <a:lstStyle/>
          <a:p>
            <a:r>
              <a:rPr lang="en-US" dirty="0">
                <a:latin typeface="Arial"/>
                <a:ea typeface="Lato Medium"/>
                <a:cs typeface="Arial"/>
              </a:rPr>
              <a:t>Respectful Care Breakfast –</a:t>
            </a:r>
            <a:br>
              <a:rPr lang="en-US" dirty="0">
                <a:latin typeface="Arial"/>
                <a:ea typeface="Lato Medium"/>
                <a:cs typeface="Arial"/>
              </a:rPr>
            </a:br>
            <a:r>
              <a:rPr lang="en-US" dirty="0">
                <a:latin typeface="Arial"/>
                <a:ea typeface="Lato Medium"/>
                <a:cs typeface="Arial"/>
              </a:rPr>
              <a:t>Completed by 20 Hospitals</a:t>
            </a:r>
            <a:br>
              <a:rPr lang="en-US" dirty="0">
                <a:latin typeface="Arial"/>
                <a:ea typeface="Lato Medium"/>
                <a:cs typeface="Arial"/>
              </a:rPr>
            </a:br>
            <a:r>
              <a:rPr lang="en-US" sz="2800" i="1" dirty="0">
                <a:latin typeface="Arial"/>
                <a:ea typeface="Lato Medium"/>
                <a:cs typeface="Arial"/>
              </a:rPr>
              <a:t>Focused on listening to patients</a:t>
            </a:r>
            <a:endParaRPr lang="en-US" sz="2800" i="1" dirty="0"/>
          </a:p>
        </p:txBody>
      </p:sp>
      <p:sp>
        <p:nvSpPr>
          <p:cNvPr id="4" name="Slide Number Placeholder 3"/>
          <p:cNvSpPr>
            <a:spLocks noGrp="1"/>
          </p:cNvSpPr>
          <p:nvPr>
            <p:ph type="sldNum" sz="quarter" idx="10"/>
          </p:nvPr>
        </p:nvSpPr>
        <p:spPr/>
        <p:txBody>
          <a:bodyPr/>
          <a:lstStyle/>
          <a:p>
            <a:fld id="{97033E4B-E3EB-3D46-B2D8-3159663620FA}" type="slidenum">
              <a:rPr lang="en-US" smtClean="0"/>
              <a:pPr/>
              <a:t>13</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sp>
        <p:nvSpPr>
          <p:cNvPr id="7" name="Wave 6">
            <a:extLst>
              <a:ext uri="{FF2B5EF4-FFF2-40B4-BE49-F238E27FC236}">
                <a16:creationId xmlns:a16="http://schemas.microsoft.com/office/drawing/2014/main" id="{4CE24098-08C1-6C74-C687-837523C65133}"/>
              </a:ext>
            </a:extLst>
          </p:cNvPr>
          <p:cNvSpPr/>
          <p:nvPr/>
        </p:nvSpPr>
        <p:spPr>
          <a:xfrm>
            <a:off x="6479414" y="141768"/>
            <a:ext cx="1947557" cy="1644797"/>
          </a:xfrm>
          <a:prstGeom prst="wave">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a:cs typeface="Calibri"/>
              </a:rPr>
              <a:t>2023 Teams Survey</a:t>
            </a:r>
          </a:p>
        </p:txBody>
      </p:sp>
      <p:pic>
        <p:nvPicPr>
          <p:cNvPr id="58" name="Picture 57" descr="A group of people posing for a photo&#10;&#10;Description automatically generated">
            <a:extLst>
              <a:ext uri="{FF2B5EF4-FFF2-40B4-BE49-F238E27FC236}">
                <a16:creationId xmlns:a16="http://schemas.microsoft.com/office/drawing/2014/main" id="{EC6F044F-FA91-582C-E3B7-2B952A24750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3706596" y="3979273"/>
            <a:ext cx="4069620" cy="2373240"/>
          </a:xfrm>
          <a:prstGeom prst="rect">
            <a:avLst/>
          </a:prstGeom>
        </p:spPr>
      </p:pic>
      <p:sp>
        <p:nvSpPr>
          <p:cNvPr id="59" name="Speech Bubble: Oval 58">
            <a:extLst>
              <a:ext uri="{FF2B5EF4-FFF2-40B4-BE49-F238E27FC236}">
                <a16:creationId xmlns:a16="http://schemas.microsoft.com/office/drawing/2014/main" id="{62BA35FE-5273-1323-16F1-1EA73D65F955}"/>
              </a:ext>
            </a:extLst>
          </p:cNvPr>
          <p:cNvSpPr/>
          <p:nvPr/>
        </p:nvSpPr>
        <p:spPr>
          <a:xfrm>
            <a:off x="7877312" y="1597178"/>
            <a:ext cx="3950645" cy="2096817"/>
          </a:xfrm>
          <a:prstGeom prst="wedgeEllipseCallout">
            <a:avLst>
              <a:gd name="adj1" fmla="val -48537"/>
              <a:gd name="adj2" fmla="val 69325"/>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dirty="0">
                <a:solidFill>
                  <a:schemeClr val="bg1"/>
                </a:solidFill>
                <a:latin typeface="Arial"/>
                <a:cs typeface="Arial"/>
              </a:rPr>
              <a:t>Listening to community questions and suggestions and shared how we are working towards more respectful care</a:t>
            </a:r>
            <a:endParaRPr lang="en-US" dirty="0">
              <a:solidFill>
                <a:schemeClr val="bg1"/>
              </a:solidFill>
              <a:cs typeface="Calibri"/>
            </a:endParaRPr>
          </a:p>
        </p:txBody>
      </p:sp>
      <p:sp>
        <p:nvSpPr>
          <p:cNvPr id="61" name="Speech Bubble: Oval 60">
            <a:extLst>
              <a:ext uri="{FF2B5EF4-FFF2-40B4-BE49-F238E27FC236}">
                <a16:creationId xmlns:a16="http://schemas.microsoft.com/office/drawing/2014/main" id="{B9BD806E-9A21-63A1-F179-359AB09029D1}"/>
              </a:ext>
            </a:extLst>
          </p:cNvPr>
          <p:cNvSpPr/>
          <p:nvPr/>
        </p:nvSpPr>
        <p:spPr>
          <a:xfrm rot="21540000">
            <a:off x="92812" y="1744359"/>
            <a:ext cx="3624375" cy="2212830"/>
          </a:xfrm>
          <a:prstGeom prst="wedgeEllipseCallout">
            <a:avLst>
              <a:gd name="adj1" fmla="val 47534"/>
              <a:gd name="adj2" fmla="val 59863"/>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solidFill>
                  <a:schemeClr val="bg1"/>
                </a:solidFill>
                <a:latin typeface="Arial"/>
                <a:cs typeface="Arial"/>
              </a:rPr>
              <a:t>Hearing from community members allowed clinical staff to have a better understanding of what respectful care means</a:t>
            </a:r>
            <a:endParaRPr lang="en-US">
              <a:solidFill>
                <a:schemeClr val="bg1"/>
              </a:solidFill>
              <a:cs typeface="Calibri" panose="020F0502020204030204"/>
            </a:endParaRPr>
          </a:p>
        </p:txBody>
      </p:sp>
      <p:sp>
        <p:nvSpPr>
          <p:cNvPr id="62" name="Speech Bubble: Rectangle with Corners Rounded 61">
            <a:extLst>
              <a:ext uri="{FF2B5EF4-FFF2-40B4-BE49-F238E27FC236}">
                <a16:creationId xmlns:a16="http://schemas.microsoft.com/office/drawing/2014/main" id="{4442D49C-F902-A1D9-87A6-FBF3F564A2E0}"/>
              </a:ext>
            </a:extLst>
          </p:cNvPr>
          <p:cNvSpPr/>
          <p:nvPr/>
        </p:nvSpPr>
        <p:spPr>
          <a:xfrm>
            <a:off x="3877902" y="1712613"/>
            <a:ext cx="3727008" cy="1780513"/>
          </a:xfrm>
          <a:prstGeom prst="wedgeRoundRectCallout">
            <a:avLst>
              <a:gd name="adj1" fmla="val -20833"/>
              <a:gd name="adj2" fmla="val 72486"/>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a:solidFill>
                  <a:schemeClr val="bg1"/>
                </a:solidFill>
                <a:latin typeface="Arial"/>
                <a:cs typeface="Arial"/>
              </a:rPr>
              <a:t>Open conversations about experiences, positive feedback and constructive criticism</a:t>
            </a:r>
            <a:endParaRPr lang="en-US" sz="2000">
              <a:solidFill>
                <a:schemeClr val="bg1"/>
              </a:solidFill>
              <a:cs typeface="Calibri"/>
            </a:endParaRPr>
          </a:p>
        </p:txBody>
      </p:sp>
      <p:sp>
        <p:nvSpPr>
          <p:cNvPr id="63" name="Speech Bubble: Rectangle 62">
            <a:extLst>
              <a:ext uri="{FF2B5EF4-FFF2-40B4-BE49-F238E27FC236}">
                <a16:creationId xmlns:a16="http://schemas.microsoft.com/office/drawing/2014/main" id="{10DE7FD9-66B6-ADA7-6ED8-3A658F93FEA8}"/>
              </a:ext>
            </a:extLst>
          </p:cNvPr>
          <p:cNvSpPr/>
          <p:nvPr/>
        </p:nvSpPr>
        <p:spPr>
          <a:xfrm>
            <a:off x="467762" y="4360752"/>
            <a:ext cx="3093267" cy="1810693"/>
          </a:xfrm>
          <a:prstGeom prst="wedgeRectCallout">
            <a:avLst>
              <a:gd name="adj1" fmla="val 51427"/>
              <a:gd name="adj2" fmla="val 63201"/>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1"/>
                </a:solidFill>
                <a:latin typeface="Arial"/>
                <a:cs typeface="Arial"/>
              </a:rPr>
              <a:t>Able to share what team had accomplished and hear feedback from patients</a:t>
            </a:r>
            <a:endParaRPr lang="en-US" sz="2000" dirty="0">
              <a:solidFill>
                <a:schemeClr val="bg1"/>
              </a:solidFill>
              <a:cs typeface="Calibri"/>
            </a:endParaRPr>
          </a:p>
          <a:p>
            <a:pPr algn="ctr"/>
            <a:endParaRPr lang="en-US" sz="1600" dirty="0">
              <a:solidFill>
                <a:schemeClr val="bg1"/>
              </a:solidFill>
              <a:cs typeface="Calibri"/>
            </a:endParaRPr>
          </a:p>
        </p:txBody>
      </p:sp>
      <p:sp>
        <p:nvSpPr>
          <p:cNvPr id="66" name="Speech Bubble: Rectangle with Corners Rounded 65">
            <a:extLst>
              <a:ext uri="{FF2B5EF4-FFF2-40B4-BE49-F238E27FC236}">
                <a16:creationId xmlns:a16="http://schemas.microsoft.com/office/drawing/2014/main" id="{62802117-D8AD-E357-55AC-6D77217A0893}"/>
              </a:ext>
            </a:extLst>
          </p:cNvPr>
          <p:cNvSpPr/>
          <p:nvPr/>
        </p:nvSpPr>
        <p:spPr>
          <a:xfrm>
            <a:off x="7921783" y="4097070"/>
            <a:ext cx="3591207" cy="2044573"/>
          </a:xfrm>
          <a:prstGeom prst="wedgeRoundRectCallout">
            <a:avLst>
              <a:gd name="adj1" fmla="val -50892"/>
              <a:gd name="adj2" fmla="val 65606"/>
              <a:gd name="adj3" fmla="val 1666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800">
                <a:solidFill>
                  <a:schemeClr val="bg1"/>
                </a:solidFill>
                <a:latin typeface="Arial"/>
                <a:cs typeface="Arial"/>
              </a:rPr>
              <a:t>Hearing directly from patients about their care</a:t>
            </a:r>
            <a:endParaRPr lang="en-US" sz="2800">
              <a:solidFill>
                <a:schemeClr val="bg1"/>
              </a:solidFill>
              <a:cs typeface="Calibri"/>
            </a:endParaRPr>
          </a:p>
          <a:p>
            <a:pPr algn="ctr"/>
            <a:endParaRPr lang="en-US" sz="1600">
              <a:solidFill>
                <a:schemeClr val="bg1"/>
              </a:solidFill>
              <a:cs typeface="Calibri"/>
            </a:endParaRPr>
          </a:p>
        </p:txBody>
      </p:sp>
    </p:spTree>
    <p:extLst>
      <p:ext uri="{BB962C8B-B14F-4D97-AF65-F5344CB8AC3E}">
        <p14:creationId xmlns:p14="http://schemas.microsoft.com/office/powerpoint/2010/main" val="31345272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1571134" y="955812"/>
            <a:ext cx="9049732" cy="4946377"/>
            <a:chOff x="0" y="0"/>
            <a:chExt cx="3575203" cy="1954124"/>
          </a:xfrm>
        </p:grpSpPr>
        <p:sp>
          <p:nvSpPr>
            <p:cNvPr id="3" name="Freeform 3"/>
            <p:cNvSpPr/>
            <p:nvPr/>
          </p:nvSpPr>
          <p:spPr>
            <a:xfrm>
              <a:off x="0" y="0"/>
              <a:ext cx="3575203" cy="1954124"/>
            </a:xfrm>
            <a:custGeom>
              <a:avLst/>
              <a:gdLst/>
              <a:ahLst/>
              <a:cxnLst/>
              <a:rect l="l" t="t" r="r" b="b"/>
              <a:pathLst>
                <a:path w="3575203" h="1954124">
                  <a:moveTo>
                    <a:pt x="29087" y="0"/>
                  </a:moveTo>
                  <a:lnTo>
                    <a:pt x="3546116" y="0"/>
                  </a:lnTo>
                  <a:cubicBezTo>
                    <a:pt x="3553830" y="0"/>
                    <a:pt x="3561229" y="3064"/>
                    <a:pt x="3566683" y="8519"/>
                  </a:cubicBezTo>
                  <a:cubicBezTo>
                    <a:pt x="3572138" y="13974"/>
                    <a:pt x="3575203" y="21372"/>
                    <a:pt x="3575203" y="29087"/>
                  </a:cubicBezTo>
                  <a:lnTo>
                    <a:pt x="3575203" y="1925038"/>
                  </a:lnTo>
                  <a:cubicBezTo>
                    <a:pt x="3575203" y="1941102"/>
                    <a:pt x="3562180" y="1954124"/>
                    <a:pt x="3546116" y="1954124"/>
                  </a:cubicBezTo>
                  <a:lnTo>
                    <a:pt x="29087" y="1954124"/>
                  </a:lnTo>
                  <a:cubicBezTo>
                    <a:pt x="13022" y="1954124"/>
                    <a:pt x="0" y="1941102"/>
                    <a:pt x="0" y="1925038"/>
                  </a:cubicBezTo>
                  <a:lnTo>
                    <a:pt x="0" y="29087"/>
                  </a:lnTo>
                  <a:cubicBezTo>
                    <a:pt x="0" y="13022"/>
                    <a:pt x="13022" y="0"/>
                    <a:pt x="29087" y="0"/>
                  </a:cubicBezTo>
                  <a:close/>
                </a:path>
              </a:pathLst>
            </a:custGeom>
            <a:solidFill>
              <a:srgbClr val="FFE3A2">
                <a:alpha val="30980"/>
              </a:srgbClr>
            </a:solidFill>
          </p:spPr>
        </p:sp>
        <p:sp>
          <p:nvSpPr>
            <p:cNvPr id="4" name="TextBox 4"/>
            <p:cNvSpPr txBox="1"/>
            <p:nvPr/>
          </p:nvSpPr>
          <p:spPr>
            <a:xfrm>
              <a:off x="0" y="-47625"/>
              <a:ext cx="812800" cy="860425"/>
            </a:xfrm>
            <a:prstGeom prst="rect">
              <a:avLst/>
            </a:prstGeom>
          </p:spPr>
          <p:txBody>
            <a:bodyPr lIns="33867" tIns="33867" rIns="33867" bIns="33867" rtlCol="0" anchor="ctr"/>
            <a:lstStyle/>
            <a:p>
              <a:pPr algn="ctr">
                <a:lnSpc>
                  <a:spcPts val="1773"/>
                </a:lnSpc>
              </a:pPr>
              <a:endParaRPr sz="800"/>
            </a:p>
          </p:txBody>
        </p:sp>
      </p:grpSp>
      <p:sp>
        <p:nvSpPr>
          <p:cNvPr id="5" name="TextBox 5"/>
          <p:cNvSpPr txBox="1"/>
          <p:nvPr/>
        </p:nvSpPr>
        <p:spPr>
          <a:xfrm>
            <a:off x="377334" y="995168"/>
            <a:ext cx="11419227" cy="1206741"/>
          </a:xfrm>
          <a:prstGeom prst="rect">
            <a:avLst/>
          </a:prstGeom>
        </p:spPr>
        <p:txBody>
          <a:bodyPr wrap="square" lIns="0" tIns="0" rIns="0" bIns="0" rtlCol="0" anchor="t">
            <a:spAutoFit/>
          </a:bodyPr>
          <a:lstStyle/>
          <a:p>
            <a:pPr algn="ctr">
              <a:lnSpc>
                <a:spcPts val="4666"/>
              </a:lnSpc>
            </a:pPr>
            <a:r>
              <a:rPr lang="en-US" sz="4650" spc="233">
                <a:solidFill>
                  <a:srgbClr val="004AAD"/>
                </a:solidFill>
                <a:latin typeface="Hammersmith One"/>
              </a:rPr>
              <a:t>Birth Equity</a:t>
            </a:r>
            <a:endParaRPr lang="en-US" sz="4666" spc="233">
              <a:solidFill>
                <a:srgbClr val="004AAD"/>
              </a:solidFill>
              <a:latin typeface="Hammersmith One"/>
            </a:endParaRPr>
          </a:p>
          <a:p>
            <a:pPr algn="ctr">
              <a:lnSpc>
                <a:spcPts val="4467"/>
              </a:lnSpc>
            </a:pPr>
            <a:r>
              <a:rPr lang="en-US" sz="3600" spc="223">
                <a:solidFill>
                  <a:srgbClr val="004AAD"/>
                </a:solidFill>
                <a:latin typeface="Hammersmith One"/>
              </a:rPr>
              <a:t>Respectful Care Breakfast Recognition</a:t>
            </a:r>
            <a:endParaRPr lang="en-US" sz="3600"/>
          </a:p>
        </p:txBody>
      </p:sp>
      <p:sp>
        <p:nvSpPr>
          <p:cNvPr id="6" name="Freeform 6"/>
          <p:cNvSpPr/>
          <p:nvPr/>
        </p:nvSpPr>
        <p:spPr>
          <a:xfrm>
            <a:off x="5226060" y="94071"/>
            <a:ext cx="1715856" cy="861741"/>
          </a:xfrm>
          <a:custGeom>
            <a:avLst/>
            <a:gdLst/>
            <a:ahLst/>
            <a:cxnLst/>
            <a:rect l="l" t="t" r="r" b="b"/>
            <a:pathLst>
              <a:path w="2573784" h="1292611">
                <a:moveTo>
                  <a:pt x="0" y="0"/>
                </a:moveTo>
                <a:lnTo>
                  <a:pt x="2573783" y="0"/>
                </a:lnTo>
                <a:lnTo>
                  <a:pt x="2573783" y="1292611"/>
                </a:lnTo>
                <a:lnTo>
                  <a:pt x="0" y="1292611"/>
                </a:lnTo>
                <a:lnTo>
                  <a:pt x="0" y="0"/>
                </a:lnTo>
                <a:close/>
              </a:path>
            </a:pathLst>
          </a:custGeom>
          <a:blipFill>
            <a:blip r:embed="rId2"/>
            <a:stretch>
              <a:fillRect/>
            </a:stretch>
          </a:blipFill>
        </p:spPr>
      </p:sp>
      <p:sp>
        <p:nvSpPr>
          <p:cNvPr id="7" name="Freeform 7"/>
          <p:cNvSpPr/>
          <p:nvPr/>
        </p:nvSpPr>
        <p:spPr>
          <a:xfrm rot="20970386">
            <a:off x="-151947" y="216792"/>
            <a:ext cx="5480877" cy="1305445"/>
          </a:xfrm>
          <a:custGeom>
            <a:avLst/>
            <a:gdLst/>
            <a:ahLst/>
            <a:cxnLst/>
            <a:rect l="l" t="t" r="r" b="b"/>
            <a:pathLst>
              <a:path w="8221315" h="1958168">
                <a:moveTo>
                  <a:pt x="0" y="0"/>
                </a:moveTo>
                <a:lnTo>
                  <a:pt x="8221315" y="0"/>
                </a:lnTo>
                <a:lnTo>
                  <a:pt x="8221315" y="1958167"/>
                </a:lnTo>
                <a:lnTo>
                  <a:pt x="0" y="1958167"/>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8" name="Freeform 8"/>
          <p:cNvSpPr/>
          <p:nvPr/>
        </p:nvSpPr>
        <p:spPr>
          <a:xfrm rot="713378" flipH="1">
            <a:off x="6738206" y="216792"/>
            <a:ext cx="5480877" cy="1305445"/>
          </a:xfrm>
          <a:custGeom>
            <a:avLst/>
            <a:gdLst/>
            <a:ahLst/>
            <a:cxnLst/>
            <a:rect l="l" t="t" r="r" b="b"/>
            <a:pathLst>
              <a:path w="8221315" h="1958168">
                <a:moveTo>
                  <a:pt x="8221315" y="0"/>
                </a:moveTo>
                <a:lnTo>
                  <a:pt x="0" y="0"/>
                </a:lnTo>
                <a:lnTo>
                  <a:pt x="0" y="1958167"/>
                </a:lnTo>
                <a:lnTo>
                  <a:pt x="8221315" y="1958167"/>
                </a:lnTo>
                <a:lnTo>
                  <a:pt x="8221315"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9" name="Freeform 9"/>
          <p:cNvSpPr/>
          <p:nvPr/>
        </p:nvSpPr>
        <p:spPr>
          <a:xfrm>
            <a:off x="10778006" y="2072839"/>
            <a:ext cx="1051138" cy="888689"/>
          </a:xfrm>
          <a:custGeom>
            <a:avLst/>
            <a:gdLst/>
            <a:ahLst/>
            <a:cxnLst/>
            <a:rect l="l" t="t" r="r" b="b"/>
            <a:pathLst>
              <a:path w="1576707" h="1333034">
                <a:moveTo>
                  <a:pt x="0" y="0"/>
                </a:moveTo>
                <a:lnTo>
                  <a:pt x="1576707" y="0"/>
                </a:lnTo>
                <a:lnTo>
                  <a:pt x="1576707" y="1333035"/>
                </a:lnTo>
                <a:lnTo>
                  <a:pt x="0" y="1333035"/>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sp>
      <p:sp>
        <p:nvSpPr>
          <p:cNvPr id="10" name="Freeform 10"/>
          <p:cNvSpPr/>
          <p:nvPr/>
        </p:nvSpPr>
        <p:spPr>
          <a:xfrm rot="18149423">
            <a:off x="7503050" y="5555494"/>
            <a:ext cx="1139262" cy="963194"/>
          </a:xfrm>
          <a:custGeom>
            <a:avLst/>
            <a:gdLst/>
            <a:ahLst/>
            <a:cxnLst/>
            <a:rect l="l" t="t" r="r" b="b"/>
            <a:pathLst>
              <a:path w="1708893" h="1444791">
                <a:moveTo>
                  <a:pt x="0" y="0"/>
                </a:moveTo>
                <a:lnTo>
                  <a:pt x="1708893" y="0"/>
                </a:lnTo>
                <a:lnTo>
                  <a:pt x="1708893" y="1444791"/>
                </a:lnTo>
                <a:lnTo>
                  <a:pt x="0" y="1444791"/>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sp>
      <p:sp>
        <p:nvSpPr>
          <p:cNvPr id="11" name="Freeform 11"/>
          <p:cNvSpPr/>
          <p:nvPr/>
        </p:nvSpPr>
        <p:spPr>
          <a:xfrm rot="13622187">
            <a:off x="80120" y="2254531"/>
            <a:ext cx="1296407" cy="1096053"/>
          </a:xfrm>
          <a:custGeom>
            <a:avLst/>
            <a:gdLst/>
            <a:ahLst/>
            <a:cxnLst/>
            <a:rect l="l" t="t" r="r" b="b"/>
            <a:pathLst>
              <a:path w="1944611" h="1644080">
                <a:moveTo>
                  <a:pt x="0" y="0"/>
                </a:moveTo>
                <a:lnTo>
                  <a:pt x="1944611" y="0"/>
                </a:lnTo>
                <a:lnTo>
                  <a:pt x="1944611" y="1644080"/>
                </a:lnTo>
                <a:lnTo>
                  <a:pt x="0" y="1644080"/>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sp>
      <p:sp>
        <p:nvSpPr>
          <p:cNvPr id="12" name="Freeform 12"/>
          <p:cNvSpPr/>
          <p:nvPr/>
        </p:nvSpPr>
        <p:spPr>
          <a:xfrm rot="10549370">
            <a:off x="2919875" y="5643770"/>
            <a:ext cx="863108" cy="729719"/>
          </a:xfrm>
          <a:custGeom>
            <a:avLst/>
            <a:gdLst/>
            <a:ahLst/>
            <a:cxnLst/>
            <a:rect l="l" t="t" r="r" b="b"/>
            <a:pathLst>
              <a:path w="1294662" h="1094578">
                <a:moveTo>
                  <a:pt x="0" y="0"/>
                </a:moveTo>
                <a:lnTo>
                  <a:pt x="1294662" y="0"/>
                </a:lnTo>
                <a:lnTo>
                  <a:pt x="1294662" y="1094578"/>
                </a:lnTo>
                <a:lnTo>
                  <a:pt x="0" y="1094578"/>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sp>
      <p:sp>
        <p:nvSpPr>
          <p:cNvPr id="13" name="Freeform 13"/>
          <p:cNvSpPr/>
          <p:nvPr/>
        </p:nvSpPr>
        <p:spPr>
          <a:xfrm rot="17672419">
            <a:off x="212649" y="3568811"/>
            <a:ext cx="1883803" cy="1678297"/>
          </a:xfrm>
          <a:custGeom>
            <a:avLst/>
            <a:gdLst/>
            <a:ahLst/>
            <a:cxnLst/>
            <a:rect l="l" t="t" r="r" b="b"/>
            <a:pathLst>
              <a:path w="2825704" h="2517445">
                <a:moveTo>
                  <a:pt x="0" y="0"/>
                </a:moveTo>
                <a:lnTo>
                  <a:pt x="2825704" y="0"/>
                </a:lnTo>
                <a:lnTo>
                  <a:pt x="2825704" y="2517446"/>
                </a:lnTo>
                <a:lnTo>
                  <a:pt x="0" y="2517446"/>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sp>
      <p:sp>
        <p:nvSpPr>
          <p:cNvPr id="14" name="Freeform 14"/>
          <p:cNvSpPr/>
          <p:nvPr/>
        </p:nvSpPr>
        <p:spPr>
          <a:xfrm rot="17672419">
            <a:off x="10095548" y="3568811"/>
            <a:ext cx="1883803" cy="1678297"/>
          </a:xfrm>
          <a:custGeom>
            <a:avLst/>
            <a:gdLst/>
            <a:ahLst/>
            <a:cxnLst/>
            <a:rect l="l" t="t" r="r" b="b"/>
            <a:pathLst>
              <a:path w="2825704" h="2517445">
                <a:moveTo>
                  <a:pt x="0" y="0"/>
                </a:moveTo>
                <a:lnTo>
                  <a:pt x="2825704" y="0"/>
                </a:lnTo>
                <a:lnTo>
                  <a:pt x="2825704" y="2517446"/>
                </a:lnTo>
                <a:lnTo>
                  <a:pt x="0" y="2517446"/>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sp>
      <p:sp>
        <p:nvSpPr>
          <p:cNvPr id="15" name="Freeform 15"/>
          <p:cNvSpPr/>
          <p:nvPr/>
        </p:nvSpPr>
        <p:spPr>
          <a:xfrm rot="1207093">
            <a:off x="5367594" y="5581678"/>
            <a:ext cx="1153393" cy="1027569"/>
          </a:xfrm>
          <a:custGeom>
            <a:avLst/>
            <a:gdLst/>
            <a:ahLst/>
            <a:cxnLst/>
            <a:rect l="l" t="t" r="r" b="b"/>
            <a:pathLst>
              <a:path w="1730090" h="1541353">
                <a:moveTo>
                  <a:pt x="0" y="0"/>
                </a:moveTo>
                <a:lnTo>
                  <a:pt x="1730089" y="0"/>
                </a:lnTo>
                <a:lnTo>
                  <a:pt x="1730089" y="1541353"/>
                </a:lnTo>
                <a:lnTo>
                  <a:pt x="0" y="1541353"/>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sp>
      <p:sp>
        <p:nvSpPr>
          <p:cNvPr id="17" name="TextBox 16">
            <a:extLst>
              <a:ext uri="{FF2B5EF4-FFF2-40B4-BE49-F238E27FC236}">
                <a16:creationId xmlns:a16="http://schemas.microsoft.com/office/drawing/2014/main" id="{AF5DAE25-C72F-2DE7-7651-0AA0F5802197}"/>
              </a:ext>
            </a:extLst>
          </p:cNvPr>
          <p:cNvSpPr txBox="1"/>
          <p:nvPr/>
        </p:nvSpPr>
        <p:spPr>
          <a:xfrm>
            <a:off x="807380" y="2206999"/>
            <a:ext cx="6180318" cy="378565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endParaRPr lang="en-US" sz="2000">
              <a:solidFill>
                <a:schemeClr val="tx2"/>
              </a:solidFill>
              <a:ea typeface="Calibri"/>
              <a:cs typeface="Arial"/>
            </a:endParaRPr>
          </a:p>
          <a:p>
            <a:pPr algn="ctr"/>
            <a:r>
              <a:rPr lang="en-US" sz="2000">
                <a:solidFill>
                  <a:schemeClr val="tx2"/>
                </a:solidFill>
                <a:ea typeface="Calibri"/>
                <a:cs typeface="Arial"/>
              </a:rPr>
              <a:t>Advocate Aurora Sherman Hospital</a:t>
            </a:r>
            <a:endParaRPr lang="en-US">
              <a:solidFill>
                <a:schemeClr val="tx2"/>
              </a:solidFill>
              <a:cs typeface="Calibri"/>
            </a:endParaRPr>
          </a:p>
          <a:p>
            <a:pPr algn="ctr"/>
            <a:r>
              <a:rPr lang="en-US" sz="2000">
                <a:solidFill>
                  <a:schemeClr val="tx2"/>
                </a:solidFill>
                <a:ea typeface="Calibri"/>
                <a:cs typeface="Arial"/>
              </a:rPr>
              <a:t>Barnes-Jewish Hospital</a:t>
            </a:r>
            <a:endParaRPr lang="en-US">
              <a:solidFill>
                <a:schemeClr val="tx2"/>
              </a:solidFill>
            </a:endParaRPr>
          </a:p>
          <a:p>
            <a:pPr algn="ctr"/>
            <a:r>
              <a:rPr lang="en-US" sz="2000">
                <a:solidFill>
                  <a:schemeClr val="tx2"/>
                </a:solidFill>
                <a:ea typeface="Calibri"/>
                <a:cs typeface="Arial"/>
              </a:rPr>
              <a:t>Carle Foundation Hospital</a:t>
            </a:r>
          </a:p>
          <a:p>
            <a:pPr algn="ctr"/>
            <a:r>
              <a:rPr lang="en-US" sz="2000">
                <a:solidFill>
                  <a:schemeClr val="tx2"/>
                </a:solidFill>
                <a:ea typeface="Calibri"/>
                <a:cs typeface="Arial"/>
              </a:rPr>
              <a:t>Elmhurst Hospital</a:t>
            </a:r>
          </a:p>
          <a:p>
            <a:pPr algn="ctr"/>
            <a:r>
              <a:rPr lang="en-US" sz="2000">
                <a:solidFill>
                  <a:schemeClr val="tx2"/>
                </a:solidFill>
                <a:ea typeface="Calibri"/>
                <a:cs typeface="Arial"/>
              </a:rPr>
              <a:t>FHN Memorial Hospital</a:t>
            </a:r>
          </a:p>
          <a:p>
            <a:pPr algn="ctr"/>
            <a:r>
              <a:rPr lang="en-US" sz="2000">
                <a:solidFill>
                  <a:schemeClr val="tx2"/>
                </a:solidFill>
                <a:ea typeface="Calibri"/>
                <a:cs typeface="Arial"/>
              </a:rPr>
              <a:t>MacNeal Hospital</a:t>
            </a:r>
          </a:p>
          <a:p>
            <a:pPr algn="ctr"/>
            <a:r>
              <a:rPr lang="en-US" sz="2000">
                <a:solidFill>
                  <a:schemeClr val="tx2"/>
                </a:solidFill>
                <a:ea typeface="Calibri"/>
                <a:cs typeface="Arial"/>
              </a:rPr>
              <a:t>Memorial Hospital of Carbondale</a:t>
            </a:r>
          </a:p>
          <a:p>
            <a:pPr algn="ctr"/>
            <a:r>
              <a:rPr lang="en-US" sz="2000">
                <a:solidFill>
                  <a:schemeClr val="tx2"/>
                </a:solidFill>
                <a:ea typeface="Calibri"/>
                <a:cs typeface="Arial"/>
              </a:rPr>
              <a:t>Memorial Medical Center</a:t>
            </a:r>
          </a:p>
          <a:p>
            <a:pPr algn="ctr"/>
            <a:r>
              <a:rPr lang="en-US" sz="2000">
                <a:solidFill>
                  <a:schemeClr val="tx2"/>
                </a:solidFill>
                <a:ea typeface="Calibri"/>
                <a:cs typeface="Arial"/>
              </a:rPr>
              <a:t>NM </a:t>
            </a:r>
            <a:r>
              <a:rPr lang="en-US" sz="2000" err="1">
                <a:solidFill>
                  <a:schemeClr val="tx2"/>
                </a:solidFill>
                <a:ea typeface="Calibri"/>
                <a:cs typeface="Arial"/>
              </a:rPr>
              <a:t>Delnor</a:t>
            </a:r>
            <a:r>
              <a:rPr lang="en-US" sz="2000">
                <a:solidFill>
                  <a:schemeClr val="tx2"/>
                </a:solidFill>
                <a:ea typeface="Calibri"/>
                <a:cs typeface="Arial"/>
              </a:rPr>
              <a:t> Hospital</a:t>
            </a:r>
          </a:p>
          <a:p>
            <a:pPr algn="ctr"/>
            <a:r>
              <a:rPr lang="en-US" sz="2000">
                <a:solidFill>
                  <a:schemeClr val="tx2"/>
                </a:solidFill>
                <a:ea typeface="Calibri"/>
                <a:cs typeface="Arial"/>
              </a:rPr>
              <a:t>NM Lake Forest Hospital</a:t>
            </a:r>
          </a:p>
          <a:p>
            <a:pPr algn="ctr"/>
            <a:endParaRPr lang="en-US" sz="2000">
              <a:solidFill>
                <a:schemeClr val="tx2"/>
              </a:solidFill>
              <a:ea typeface="Calibri"/>
              <a:cs typeface="Arial"/>
            </a:endParaRPr>
          </a:p>
        </p:txBody>
      </p:sp>
      <p:sp>
        <p:nvSpPr>
          <p:cNvPr id="16" name="TextBox 15">
            <a:extLst>
              <a:ext uri="{FF2B5EF4-FFF2-40B4-BE49-F238E27FC236}">
                <a16:creationId xmlns:a16="http://schemas.microsoft.com/office/drawing/2014/main" id="{14E4DBB5-83FD-91D9-3E72-7E461736F10D}"/>
              </a:ext>
            </a:extLst>
          </p:cNvPr>
          <p:cNvSpPr txBox="1"/>
          <p:nvPr/>
        </p:nvSpPr>
        <p:spPr>
          <a:xfrm>
            <a:off x="5118123" y="2171557"/>
            <a:ext cx="6180318" cy="409342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endParaRPr lang="en-US" sz="2000">
              <a:solidFill>
                <a:schemeClr val="tx2"/>
              </a:solidFill>
              <a:ea typeface="+mn-lt"/>
              <a:cs typeface="+mn-lt"/>
            </a:endParaRPr>
          </a:p>
          <a:p>
            <a:pPr algn="ctr"/>
            <a:r>
              <a:rPr lang="en-US" sz="2000">
                <a:solidFill>
                  <a:schemeClr val="tx2"/>
                </a:solidFill>
                <a:ea typeface="+mn-lt"/>
                <a:cs typeface="+mn-lt"/>
              </a:rPr>
              <a:t>NM Palos Hospital</a:t>
            </a:r>
            <a:endParaRPr lang="en-US">
              <a:solidFill>
                <a:schemeClr val="tx2"/>
              </a:solidFill>
              <a:cs typeface="Calibri"/>
            </a:endParaRPr>
          </a:p>
          <a:p>
            <a:pPr algn="ctr"/>
            <a:r>
              <a:rPr lang="en-US" sz="2000">
                <a:solidFill>
                  <a:schemeClr val="tx2"/>
                </a:solidFill>
                <a:ea typeface="+mn-lt"/>
                <a:cs typeface="+mn-lt"/>
              </a:rPr>
              <a:t>Northwest Community Hospital</a:t>
            </a:r>
          </a:p>
          <a:p>
            <a:pPr algn="ctr"/>
            <a:r>
              <a:rPr lang="en-US" sz="2000">
                <a:solidFill>
                  <a:schemeClr val="tx2"/>
                </a:solidFill>
                <a:ea typeface="+mn-lt"/>
                <a:cs typeface="+mn-lt"/>
              </a:rPr>
              <a:t>OSF St. Francis Medical Center</a:t>
            </a:r>
          </a:p>
          <a:p>
            <a:pPr algn="ctr"/>
            <a:r>
              <a:rPr lang="en-US" sz="2000">
                <a:solidFill>
                  <a:schemeClr val="tx2"/>
                </a:solidFill>
                <a:ea typeface="+mn-lt"/>
                <a:cs typeface="+mn-lt"/>
              </a:rPr>
              <a:t>Roseland Community Hospital</a:t>
            </a:r>
          </a:p>
          <a:p>
            <a:pPr algn="ctr"/>
            <a:r>
              <a:rPr lang="en-US" sz="2000">
                <a:solidFill>
                  <a:schemeClr val="tx2"/>
                </a:solidFill>
                <a:ea typeface="+mn-lt"/>
                <a:cs typeface="+mn-lt"/>
              </a:rPr>
              <a:t>Rush University Medical Center</a:t>
            </a:r>
          </a:p>
          <a:p>
            <a:pPr algn="ctr"/>
            <a:r>
              <a:rPr lang="en-US" sz="2000">
                <a:solidFill>
                  <a:schemeClr val="tx2"/>
                </a:solidFill>
                <a:ea typeface="+mn-lt"/>
                <a:cs typeface="+mn-lt"/>
              </a:rPr>
              <a:t>SSM St. Mary's Hospital</a:t>
            </a:r>
          </a:p>
          <a:p>
            <a:pPr algn="ctr"/>
            <a:r>
              <a:rPr lang="en-US" sz="2000">
                <a:solidFill>
                  <a:schemeClr val="tx2"/>
                </a:solidFill>
                <a:ea typeface="+mn-lt"/>
                <a:cs typeface="+mn-lt"/>
              </a:rPr>
              <a:t>SwedishAmerican Hospital</a:t>
            </a:r>
          </a:p>
          <a:p>
            <a:pPr algn="ctr"/>
            <a:r>
              <a:rPr lang="en-US" sz="2000">
                <a:solidFill>
                  <a:schemeClr val="tx2"/>
                </a:solidFill>
                <a:ea typeface="+mn-lt"/>
                <a:cs typeface="+mn-lt"/>
              </a:rPr>
              <a:t>UI Health</a:t>
            </a:r>
          </a:p>
          <a:p>
            <a:pPr algn="ctr"/>
            <a:r>
              <a:rPr lang="en-US" sz="2000">
                <a:solidFill>
                  <a:schemeClr val="tx2"/>
                </a:solidFill>
                <a:ea typeface="+mn-lt"/>
                <a:cs typeface="+mn-lt"/>
              </a:rPr>
              <a:t>University of Chicago</a:t>
            </a:r>
          </a:p>
          <a:p>
            <a:pPr algn="ctr"/>
            <a:r>
              <a:rPr lang="en-US" sz="2000">
                <a:solidFill>
                  <a:schemeClr val="tx2"/>
                </a:solidFill>
                <a:ea typeface="+mn-lt"/>
                <a:cs typeface="+mn-lt"/>
              </a:rPr>
              <a:t>Vista Medical Center</a:t>
            </a:r>
          </a:p>
          <a:p>
            <a:pPr algn="ctr"/>
            <a:endParaRPr lang="en-US" sz="2000">
              <a:solidFill>
                <a:schemeClr val="tx2"/>
              </a:solidFill>
              <a:ea typeface="Calibri"/>
              <a:cs typeface="Arial"/>
            </a:endParaRPr>
          </a:p>
          <a:p>
            <a:pPr marL="342900" indent="-342900">
              <a:buFont typeface="Wingdings"/>
              <a:buChar char="ü"/>
            </a:pPr>
            <a:endParaRPr lang="en-US" sz="2000">
              <a:solidFill>
                <a:schemeClr val="tx2"/>
              </a:solidFill>
              <a:ea typeface="Calibri"/>
              <a:cs typeface="Arial"/>
            </a:endParaRPr>
          </a:p>
        </p:txBody>
      </p:sp>
      <p:sp>
        <p:nvSpPr>
          <p:cNvPr id="18" name="TextBox 17">
            <a:extLst>
              <a:ext uri="{FF2B5EF4-FFF2-40B4-BE49-F238E27FC236}">
                <a16:creationId xmlns:a16="http://schemas.microsoft.com/office/drawing/2014/main" id="{AACFCCA6-14C9-76B2-6A9D-6122A4F817EE}"/>
              </a:ext>
            </a:extLst>
          </p:cNvPr>
          <p:cNvSpPr txBox="1"/>
          <p:nvPr/>
        </p:nvSpPr>
        <p:spPr>
          <a:xfrm>
            <a:off x="3709580" y="2061535"/>
            <a:ext cx="4749209" cy="7386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400" b="1">
                <a:solidFill>
                  <a:schemeClr val="tx2"/>
                </a:solidFill>
                <a:ea typeface="+mn-lt"/>
                <a:cs typeface="+mn-lt"/>
              </a:rPr>
              <a:t>Congrats to the following teams! </a:t>
            </a:r>
            <a:r>
              <a:rPr lang="en-US" sz="2400">
                <a:solidFill>
                  <a:schemeClr val="tx2"/>
                </a:solidFill>
                <a:ea typeface="+mn-lt"/>
                <a:cs typeface="+mn-lt"/>
              </a:rPr>
              <a:t> </a:t>
            </a:r>
          </a:p>
          <a:p>
            <a:pPr algn="l"/>
            <a:endParaRPr lang="en-US">
              <a:cs typeface="Calibri"/>
            </a:endParaRPr>
          </a:p>
        </p:txBody>
      </p:sp>
    </p:spTree>
    <p:extLst>
      <p:ext uri="{BB962C8B-B14F-4D97-AF65-F5344CB8AC3E}">
        <p14:creationId xmlns:p14="http://schemas.microsoft.com/office/powerpoint/2010/main" val="28794719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10EB215C-7839-4CEA-AA02-B8F7755F9CE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Freeform: Shape 12">
            <a:extLst>
              <a:ext uri="{FF2B5EF4-FFF2-40B4-BE49-F238E27FC236}">
                <a16:creationId xmlns:a16="http://schemas.microsoft.com/office/drawing/2014/main" id="{91011C6D-05BE-4D99-8C11-A0E478B1299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0915134" cy="2251389"/>
          </a:xfrm>
          <a:custGeom>
            <a:avLst/>
            <a:gdLst>
              <a:gd name="connsiteX0" fmla="*/ 0 w 10915134"/>
              <a:gd name="connsiteY0" fmla="*/ 0 h 2251389"/>
              <a:gd name="connsiteX1" fmla="*/ 10915134 w 10915134"/>
              <a:gd name="connsiteY1" fmla="*/ 0 h 2251389"/>
              <a:gd name="connsiteX2" fmla="*/ 10882980 w 10915134"/>
              <a:gd name="connsiteY2" fmla="*/ 49990 h 2251389"/>
              <a:gd name="connsiteX3" fmla="*/ 10834795 w 10915134"/>
              <a:gd name="connsiteY3" fmla="*/ 110024 h 2251389"/>
              <a:gd name="connsiteX4" fmla="*/ 10738392 w 10915134"/>
              <a:gd name="connsiteY4" fmla="*/ 165813 h 2251389"/>
              <a:gd name="connsiteX5" fmla="*/ 10633692 w 10915134"/>
              <a:gd name="connsiteY5" fmla="*/ 209264 h 2251389"/>
              <a:gd name="connsiteX6" fmla="*/ 10586800 w 10915134"/>
              <a:gd name="connsiteY6" fmla="*/ 239716 h 2251389"/>
              <a:gd name="connsiteX7" fmla="*/ 10501658 w 10915134"/>
              <a:gd name="connsiteY7" fmla="*/ 307174 h 2251389"/>
              <a:gd name="connsiteX8" fmla="*/ 10404067 w 10915134"/>
              <a:gd name="connsiteY8" fmla="*/ 412395 h 2251389"/>
              <a:gd name="connsiteX9" fmla="*/ 10380953 w 10915134"/>
              <a:gd name="connsiteY9" fmla="*/ 472334 h 2251389"/>
              <a:gd name="connsiteX10" fmla="*/ 10341416 w 10915134"/>
              <a:gd name="connsiteY10" fmla="*/ 504774 h 2251389"/>
              <a:gd name="connsiteX11" fmla="*/ 10326329 w 10915134"/>
              <a:gd name="connsiteY11" fmla="*/ 523459 h 2251389"/>
              <a:gd name="connsiteX12" fmla="*/ 10298289 w 10915134"/>
              <a:gd name="connsiteY12" fmla="*/ 532173 h 2251389"/>
              <a:gd name="connsiteX13" fmla="*/ 10243127 w 10915134"/>
              <a:gd name="connsiteY13" fmla="*/ 540715 h 2251389"/>
              <a:gd name="connsiteX14" fmla="*/ 10141243 w 10915134"/>
              <a:gd name="connsiteY14" fmla="*/ 592343 h 2251389"/>
              <a:gd name="connsiteX15" fmla="*/ 9940352 w 10915134"/>
              <a:gd name="connsiteY15" fmla="*/ 631518 h 2251389"/>
              <a:gd name="connsiteX16" fmla="*/ 9836226 w 10915134"/>
              <a:gd name="connsiteY16" fmla="*/ 660496 h 2251389"/>
              <a:gd name="connsiteX17" fmla="*/ 9686899 w 10915134"/>
              <a:gd name="connsiteY17" fmla="*/ 683782 h 2251389"/>
              <a:gd name="connsiteX18" fmla="*/ 9578209 w 10915134"/>
              <a:gd name="connsiteY18" fmla="*/ 709781 h 2251389"/>
              <a:gd name="connsiteX19" fmla="*/ 9437298 w 10915134"/>
              <a:gd name="connsiteY19" fmla="*/ 757337 h 2251389"/>
              <a:gd name="connsiteX20" fmla="*/ 9435498 w 10915134"/>
              <a:gd name="connsiteY20" fmla="*/ 759689 h 2251389"/>
              <a:gd name="connsiteX21" fmla="*/ 9413910 w 10915134"/>
              <a:gd name="connsiteY21" fmla="*/ 764531 h 2251389"/>
              <a:gd name="connsiteX22" fmla="*/ 9361370 w 10915134"/>
              <a:gd name="connsiteY22" fmla="*/ 760593 h 2251389"/>
              <a:gd name="connsiteX23" fmla="*/ 9356626 w 10915134"/>
              <a:gd name="connsiteY23" fmla="*/ 764594 h 2251389"/>
              <a:gd name="connsiteX24" fmla="*/ 9311281 w 10915134"/>
              <a:gd name="connsiteY24" fmla="*/ 769260 h 2251389"/>
              <a:gd name="connsiteX25" fmla="*/ 9311173 w 10915134"/>
              <a:gd name="connsiteY25" fmla="*/ 771337 h 2251389"/>
              <a:gd name="connsiteX26" fmla="*/ 9300658 w 10915134"/>
              <a:gd name="connsiteY26" fmla="*/ 781452 h 2251389"/>
              <a:gd name="connsiteX27" fmla="*/ 9279376 w 10915134"/>
              <a:gd name="connsiteY27" fmla="*/ 796188 h 2251389"/>
              <a:gd name="connsiteX28" fmla="*/ 9189502 w 10915134"/>
              <a:gd name="connsiteY28" fmla="*/ 860175 h 2251389"/>
              <a:gd name="connsiteX29" fmla="*/ 9180260 w 10915134"/>
              <a:gd name="connsiteY29" fmla="*/ 862300 h 2251389"/>
              <a:gd name="connsiteX30" fmla="*/ 9180186 w 10915134"/>
              <a:gd name="connsiteY30" fmla="*/ 862799 h 2251389"/>
              <a:gd name="connsiteX31" fmla="*/ 9170652 w 10915134"/>
              <a:gd name="connsiteY31" fmla="*/ 865945 h 2251389"/>
              <a:gd name="connsiteX32" fmla="*/ 9145484 w 10915134"/>
              <a:gd name="connsiteY32" fmla="*/ 870300 h 2251389"/>
              <a:gd name="connsiteX33" fmla="*/ 9140031 w 10915134"/>
              <a:gd name="connsiteY33" fmla="*/ 874741 h 2251389"/>
              <a:gd name="connsiteX34" fmla="*/ 9138892 w 10915134"/>
              <a:gd name="connsiteY34" fmla="*/ 880860 h 2251389"/>
              <a:gd name="connsiteX35" fmla="*/ 9107257 w 10915134"/>
              <a:gd name="connsiteY35" fmla="*/ 903704 h 2251389"/>
              <a:gd name="connsiteX36" fmla="*/ 9034880 w 10915134"/>
              <a:gd name="connsiteY36" fmla="*/ 948837 h 2251389"/>
              <a:gd name="connsiteX37" fmla="*/ 8950600 w 10915134"/>
              <a:gd name="connsiteY37" fmla="*/ 994853 h 2251389"/>
              <a:gd name="connsiteX38" fmla="*/ 8753014 w 10915134"/>
              <a:gd name="connsiteY38" fmla="*/ 1118658 h 2251389"/>
              <a:gd name="connsiteX39" fmla="*/ 8581094 w 10915134"/>
              <a:gd name="connsiteY39" fmla="*/ 1153261 h 2251389"/>
              <a:gd name="connsiteX40" fmla="*/ 8498175 w 10915134"/>
              <a:gd name="connsiteY40" fmla="*/ 1187969 h 2251389"/>
              <a:gd name="connsiteX41" fmla="*/ 8448788 w 10915134"/>
              <a:gd name="connsiteY41" fmla="*/ 1206463 h 2251389"/>
              <a:gd name="connsiteX42" fmla="*/ 8367996 w 10915134"/>
              <a:gd name="connsiteY42" fmla="*/ 1232783 h 2251389"/>
              <a:gd name="connsiteX43" fmla="*/ 8367423 w 10915134"/>
              <a:gd name="connsiteY43" fmla="*/ 1238278 h 2251389"/>
              <a:gd name="connsiteX44" fmla="*/ 8359640 w 10915134"/>
              <a:gd name="connsiteY44" fmla="*/ 1246782 h 2251389"/>
              <a:gd name="connsiteX45" fmla="*/ 8346100 w 10915134"/>
              <a:gd name="connsiteY45" fmla="*/ 1266142 h 2251389"/>
              <a:gd name="connsiteX46" fmla="*/ 8318833 w 10915134"/>
              <a:gd name="connsiteY46" fmla="*/ 1292714 h 2251389"/>
              <a:gd name="connsiteX47" fmla="*/ 8317719 w 10915134"/>
              <a:gd name="connsiteY47" fmla="*/ 1291904 h 2251389"/>
              <a:gd name="connsiteX48" fmla="*/ 8307730 w 10915134"/>
              <a:gd name="connsiteY48" fmla="*/ 1293984 h 2251389"/>
              <a:gd name="connsiteX49" fmla="*/ 8240756 w 10915134"/>
              <a:gd name="connsiteY49" fmla="*/ 1301537 h 2251389"/>
              <a:gd name="connsiteX50" fmla="*/ 8216639 w 10915134"/>
              <a:gd name="connsiteY50" fmla="*/ 1327887 h 2251389"/>
              <a:gd name="connsiteX51" fmla="*/ 8211337 w 10915134"/>
              <a:gd name="connsiteY51" fmla="*/ 1332570 h 2251389"/>
              <a:gd name="connsiteX52" fmla="*/ 8211048 w 10915134"/>
              <a:gd name="connsiteY52" fmla="*/ 1332403 h 2251389"/>
              <a:gd name="connsiteX53" fmla="*/ 8205085 w 10915134"/>
              <a:gd name="connsiteY53" fmla="*/ 1336831 h 2251389"/>
              <a:gd name="connsiteX54" fmla="*/ 8137554 w 10915134"/>
              <a:gd name="connsiteY54" fmla="*/ 1342145 h 2251389"/>
              <a:gd name="connsiteX55" fmla="*/ 8054564 w 10915134"/>
              <a:gd name="connsiteY55" fmla="*/ 1367911 h 2251389"/>
              <a:gd name="connsiteX56" fmla="*/ 7973237 w 10915134"/>
              <a:gd name="connsiteY56" fmla="*/ 1397544 h 2251389"/>
              <a:gd name="connsiteX57" fmla="*/ 7944198 w 10915134"/>
              <a:gd name="connsiteY57" fmla="*/ 1410276 h 2251389"/>
              <a:gd name="connsiteX58" fmla="*/ 7890643 w 10915134"/>
              <a:gd name="connsiteY58" fmla="*/ 1424144 h 2251389"/>
              <a:gd name="connsiteX59" fmla="*/ 7864997 w 10915134"/>
              <a:gd name="connsiteY59" fmla="*/ 1425023 h 2251389"/>
              <a:gd name="connsiteX60" fmla="*/ 7864067 w 10915134"/>
              <a:gd name="connsiteY60" fmla="*/ 1426002 h 2251389"/>
              <a:gd name="connsiteX61" fmla="*/ 7861153 w 10915134"/>
              <a:gd name="connsiteY61" fmla="*/ 1423038 h 2251389"/>
              <a:gd name="connsiteX62" fmla="*/ 7844586 w 10915134"/>
              <a:gd name="connsiteY62" fmla="*/ 1429169 h 2251389"/>
              <a:gd name="connsiteX63" fmla="*/ 7840350 w 10915134"/>
              <a:gd name="connsiteY63" fmla="*/ 1432451 h 2251389"/>
              <a:gd name="connsiteX64" fmla="*/ 7833722 w 10915134"/>
              <a:gd name="connsiteY64" fmla="*/ 1435148 h 2251389"/>
              <a:gd name="connsiteX65" fmla="*/ 7833492 w 10915134"/>
              <a:gd name="connsiteY65" fmla="*/ 1434901 h 2251389"/>
              <a:gd name="connsiteX66" fmla="*/ 7827413 w 10915134"/>
              <a:gd name="connsiteY66" fmla="*/ 1438043 h 2251389"/>
              <a:gd name="connsiteX67" fmla="*/ 7798463 w 10915134"/>
              <a:gd name="connsiteY67" fmla="*/ 1457407 h 2251389"/>
              <a:gd name="connsiteX68" fmla="*/ 7759015 w 10915134"/>
              <a:gd name="connsiteY68" fmla="*/ 1458666 h 2251389"/>
              <a:gd name="connsiteX69" fmla="*/ 7752684 w 10915134"/>
              <a:gd name="connsiteY69" fmla="*/ 1444792 h 2251389"/>
              <a:gd name="connsiteX70" fmla="*/ 7747867 w 10915134"/>
              <a:gd name="connsiteY70" fmla="*/ 1447976 h 2251389"/>
              <a:gd name="connsiteX71" fmla="*/ 7738750 w 10915134"/>
              <a:gd name="connsiteY71" fmla="*/ 1456574 h 2251389"/>
              <a:gd name="connsiteX72" fmla="*/ 7735619 w 10915134"/>
              <a:gd name="connsiteY72" fmla="*/ 1456320 h 2251389"/>
              <a:gd name="connsiteX73" fmla="*/ 7705072 w 10915134"/>
              <a:gd name="connsiteY73" fmla="*/ 1465768 h 2251389"/>
              <a:gd name="connsiteX74" fmla="*/ 7696073 w 10915134"/>
              <a:gd name="connsiteY74" fmla="*/ 1462212 h 2251389"/>
              <a:gd name="connsiteX75" fmla="*/ 7692096 w 10915134"/>
              <a:gd name="connsiteY75" fmla="*/ 1462163 h 2251389"/>
              <a:gd name="connsiteX76" fmla="*/ 7674689 w 10915134"/>
              <a:gd name="connsiteY76" fmla="*/ 1477613 h 2251389"/>
              <a:gd name="connsiteX77" fmla="*/ 7665348 w 10915134"/>
              <a:gd name="connsiteY77" fmla="*/ 1483862 h 2251389"/>
              <a:gd name="connsiteX78" fmla="*/ 7606276 w 10915134"/>
              <a:gd name="connsiteY78" fmla="*/ 1538521 h 2251389"/>
              <a:gd name="connsiteX79" fmla="*/ 7504695 w 10915134"/>
              <a:gd name="connsiteY79" fmla="*/ 1566686 h 2251389"/>
              <a:gd name="connsiteX80" fmla="*/ 7401270 w 10915134"/>
              <a:gd name="connsiteY80" fmla="*/ 1597361 h 2251389"/>
              <a:gd name="connsiteX81" fmla="*/ 7320321 w 10915134"/>
              <a:gd name="connsiteY81" fmla="*/ 1619535 h 2251389"/>
              <a:gd name="connsiteX82" fmla="*/ 7149526 w 10915134"/>
              <a:gd name="connsiteY82" fmla="*/ 1743630 h 2251389"/>
              <a:gd name="connsiteX83" fmla="*/ 7105391 w 10915134"/>
              <a:gd name="connsiteY83" fmla="*/ 1752328 h 2251389"/>
              <a:gd name="connsiteX84" fmla="*/ 7071654 w 10915134"/>
              <a:gd name="connsiteY84" fmla="*/ 1785091 h 2251389"/>
              <a:gd name="connsiteX85" fmla="*/ 7054359 w 10915134"/>
              <a:gd name="connsiteY85" fmla="*/ 1782439 h 2251389"/>
              <a:gd name="connsiteX86" fmla="*/ 7051319 w 10915134"/>
              <a:gd name="connsiteY86" fmla="*/ 1781706 h 2251389"/>
              <a:gd name="connsiteX87" fmla="*/ 7040377 w 10915134"/>
              <a:gd name="connsiteY87" fmla="*/ 1784767 h 2251389"/>
              <a:gd name="connsiteX88" fmla="*/ 7035771 w 10915134"/>
              <a:gd name="connsiteY88" fmla="*/ 1778137 h 2251389"/>
              <a:gd name="connsiteX89" fmla="*/ 7018208 w 10915134"/>
              <a:gd name="connsiteY89" fmla="*/ 1777373 h 2251389"/>
              <a:gd name="connsiteX90" fmla="*/ 6998493 w 10915134"/>
              <a:gd name="connsiteY90" fmla="*/ 1785098 h 2251389"/>
              <a:gd name="connsiteX91" fmla="*/ 6928288 w 10915134"/>
              <a:gd name="connsiteY91" fmla="*/ 1811732 h 2251389"/>
              <a:gd name="connsiteX92" fmla="*/ 6917773 w 10915134"/>
              <a:gd name="connsiteY92" fmla="*/ 1820666 h 2251389"/>
              <a:gd name="connsiteX93" fmla="*/ 6881789 w 10915134"/>
              <a:gd name="connsiteY93" fmla="*/ 1828309 h 2251389"/>
              <a:gd name="connsiteX94" fmla="*/ 6879926 w 10915134"/>
              <a:gd name="connsiteY94" fmla="*/ 1830591 h 2251389"/>
              <a:gd name="connsiteX95" fmla="*/ 6845508 w 10915134"/>
              <a:gd name="connsiteY95" fmla="*/ 1841035 h 2251389"/>
              <a:gd name="connsiteX96" fmla="*/ 6786683 w 10915134"/>
              <a:gd name="connsiteY96" fmla="*/ 1868367 h 2251389"/>
              <a:gd name="connsiteX97" fmla="*/ 6773874 w 10915134"/>
              <a:gd name="connsiteY97" fmla="*/ 1863267 h 2251389"/>
              <a:gd name="connsiteX98" fmla="*/ 6771241 w 10915134"/>
              <a:gd name="connsiteY98" fmla="*/ 1859449 h 2251389"/>
              <a:gd name="connsiteX99" fmla="*/ 6755065 w 10915134"/>
              <a:gd name="connsiteY99" fmla="*/ 1866822 h 2251389"/>
              <a:gd name="connsiteX100" fmla="*/ 6740854 w 10915134"/>
              <a:gd name="connsiteY100" fmla="*/ 1865352 h 2251389"/>
              <a:gd name="connsiteX101" fmla="*/ 6730997 w 10915134"/>
              <a:gd name="connsiteY101" fmla="*/ 1874155 h 2251389"/>
              <a:gd name="connsiteX102" fmla="*/ 6714212 w 10915134"/>
              <a:gd name="connsiteY102" fmla="*/ 1876293 h 2251389"/>
              <a:gd name="connsiteX103" fmla="*/ 6693130 w 10915134"/>
              <a:gd name="connsiteY103" fmla="*/ 1876808 h 2251389"/>
              <a:gd name="connsiteX104" fmla="*/ 6674405 w 10915134"/>
              <a:gd name="connsiteY104" fmla="*/ 1873459 h 2251389"/>
              <a:gd name="connsiteX105" fmla="*/ 6647714 w 10915134"/>
              <a:gd name="connsiteY105" fmla="*/ 1878941 h 2251389"/>
              <a:gd name="connsiteX106" fmla="*/ 6586613 w 10915134"/>
              <a:gd name="connsiteY106" fmla="*/ 1887053 h 2251389"/>
              <a:gd name="connsiteX107" fmla="*/ 6540424 w 10915134"/>
              <a:gd name="connsiteY107" fmla="*/ 1893269 h 2251389"/>
              <a:gd name="connsiteX108" fmla="*/ 6460034 w 10915134"/>
              <a:gd name="connsiteY108" fmla="*/ 1911286 h 2251389"/>
              <a:gd name="connsiteX109" fmla="*/ 6445449 w 10915134"/>
              <a:gd name="connsiteY109" fmla="*/ 1926499 h 2251389"/>
              <a:gd name="connsiteX110" fmla="*/ 6407092 w 10915134"/>
              <a:gd name="connsiteY110" fmla="*/ 1921993 h 2251389"/>
              <a:gd name="connsiteX111" fmla="*/ 6396332 w 10915134"/>
              <a:gd name="connsiteY111" fmla="*/ 1907025 h 2251389"/>
              <a:gd name="connsiteX112" fmla="*/ 6347048 w 10915134"/>
              <a:gd name="connsiteY112" fmla="*/ 1912130 h 2251389"/>
              <a:gd name="connsiteX113" fmla="*/ 6302270 w 10915134"/>
              <a:gd name="connsiteY113" fmla="*/ 1933613 h 2251389"/>
              <a:gd name="connsiteX114" fmla="*/ 6243078 w 10915134"/>
              <a:gd name="connsiteY114" fmla="*/ 1945644 h 2251389"/>
              <a:gd name="connsiteX115" fmla="*/ 6207738 w 10915134"/>
              <a:gd name="connsiteY115" fmla="*/ 1953011 h 2251389"/>
              <a:gd name="connsiteX116" fmla="*/ 6108781 w 10915134"/>
              <a:gd name="connsiteY116" fmla="*/ 1959474 h 2251389"/>
              <a:gd name="connsiteX117" fmla="*/ 6103698 w 10915134"/>
              <a:gd name="connsiteY117" fmla="*/ 1959304 h 2251389"/>
              <a:gd name="connsiteX118" fmla="*/ 6087017 w 10915134"/>
              <a:gd name="connsiteY118" fmla="*/ 1969078 h 2251389"/>
              <a:gd name="connsiteX119" fmla="*/ 6086313 w 10915134"/>
              <a:gd name="connsiteY119" fmla="*/ 1971580 h 2251389"/>
              <a:gd name="connsiteX120" fmla="*/ 6024291 w 10915134"/>
              <a:gd name="connsiteY120" fmla="*/ 1966761 h 2251389"/>
              <a:gd name="connsiteX121" fmla="*/ 6016853 w 10915134"/>
              <a:gd name="connsiteY121" fmla="*/ 1970526 h 2251389"/>
              <a:gd name="connsiteX122" fmla="*/ 5975404 w 10915134"/>
              <a:gd name="connsiteY122" fmla="*/ 1961749 h 2251389"/>
              <a:gd name="connsiteX123" fmla="*/ 5954536 w 10915134"/>
              <a:gd name="connsiteY123" fmla="*/ 1960220 h 2251389"/>
              <a:gd name="connsiteX124" fmla="*/ 5917280 w 10915134"/>
              <a:gd name="connsiteY124" fmla="*/ 1954478 h 2251389"/>
              <a:gd name="connsiteX125" fmla="*/ 5914232 w 10915134"/>
              <a:gd name="connsiteY125" fmla="*/ 1956919 h 2251389"/>
              <a:gd name="connsiteX126" fmla="*/ 5906850 w 10915134"/>
              <a:gd name="connsiteY126" fmla="*/ 1954702 h 2251389"/>
              <a:gd name="connsiteX127" fmla="*/ 5901461 w 10915134"/>
              <a:gd name="connsiteY127" fmla="*/ 1957577 h 2251389"/>
              <a:gd name="connsiteX128" fmla="*/ 5895317 w 10915134"/>
              <a:gd name="connsiteY128" fmla="*/ 1956828 h 2251389"/>
              <a:gd name="connsiteX129" fmla="*/ 5831128 w 10915134"/>
              <a:gd name="connsiteY129" fmla="*/ 1968382 h 2251389"/>
              <a:gd name="connsiteX130" fmla="*/ 5817261 w 10915134"/>
              <a:gd name="connsiteY130" fmla="*/ 1966124 h 2251389"/>
              <a:gd name="connsiteX131" fmla="*/ 5806791 w 10915134"/>
              <a:gd name="connsiteY131" fmla="*/ 1974713 h 2251389"/>
              <a:gd name="connsiteX132" fmla="*/ 5762574 w 10915134"/>
              <a:gd name="connsiteY132" fmla="*/ 1976973 h 2251389"/>
              <a:gd name="connsiteX133" fmla="*/ 5747297 w 10915134"/>
              <a:gd name="connsiteY133" fmla="*/ 1970252 h 2251389"/>
              <a:gd name="connsiteX134" fmla="*/ 5733169 w 10915134"/>
              <a:gd name="connsiteY134" fmla="*/ 1965433 h 2251389"/>
              <a:gd name="connsiteX135" fmla="*/ 5731338 w 10915134"/>
              <a:gd name="connsiteY135" fmla="*/ 1965447 h 2251389"/>
              <a:gd name="connsiteX136" fmla="*/ 5712957 w 10915134"/>
              <a:gd name="connsiteY136" fmla="*/ 1965596 h 2251389"/>
              <a:gd name="connsiteX137" fmla="*/ 5678760 w 10915134"/>
              <a:gd name="connsiteY137" fmla="*/ 1965873 h 2251389"/>
              <a:gd name="connsiteX138" fmla="*/ 5612457 w 10915134"/>
              <a:gd name="connsiteY138" fmla="*/ 1972287 h 2251389"/>
              <a:gd name="connsiteX139" fmla="*/ 5462439 w 10915134"/>
              <a:gd name="connsiteY139" fmla="*/ 1941766 h 2251389"/>
              <a:gd name="connsiteX140" fmla="*/ 5249426 w 10915134"/>
              <a:gd name="connsiteY140" fmla="*/ 1957993 h 2251389"/>
              <a:gd name="connsiteX141" fmla="*/ 4795460 w 10915134"/>
              <a:gd name="connsiteY141" fmla="*/ 2018541 h 2251389"/>
              <a:gd name="connsiteX142" fmla="*/ 4698875 w 10915134"/>
              <a:gd name="connsiteY142" fmla="*/ 2031693 h 2251389"/>
              <a:gd name="connsiteX143" fmla="*/ 4635334 w 10915134"/>
              <a:gd name="connsiteY143" fmla="*/ 2035504 h 2251389"/>
              <a:gd name="connsiteX144" fmla="*/ 4529228 w 10915134"/>
              <a:gd name="connsiteY144" fmla="*/ 2076609 h 2251389"/>
              <a:gd name="connsiteX145" fmla="*/ 4408461 w 10915134"/>
              <a:gd name="connsiteY145" fmla="*/ 2090939 h 2251389"/>
              <a:gd name="connsiteX146" fmla="*/ 4254651 w 10915134"/>
              <a:gd name="connsiteY146" fmla="*/ 2101730 h 2251389"/>
              <a:gd name="connsiteX147" fmla="*/ 4213233 w 10915134"/>
              <a:gd name="connsiteY147" fmla="*/ 2120326 h 2251389"/>
              <a:gd name="connsiteX148" fmla="*/ 4153938 w 10915134"/>
              <a:gd name="connsiteY148" fmla="*/ 2137520 h 2251389"/>
              <a:gd name="connsiteX149" fmla="*/ 4050969 w 10915134"/>
              <a:gd name="connsiteY149" fmla="*/ 2177971 h 2251389"/>
              <a:gd name="connsiteX150" fmla="*/ 3933162 w 10915134"/>
              <a:gd name="connsiteY150" fmla="*/ 2199509 h 2251389"/>
              <a:gd name="connsiteX151" fmla="*/ 3797609 w 10915134"/>
              <a:gd name="connsiteY151" fmla="*/ 2185813 h 2251389"/>
              <a:gd name="connsiteX152" fmla="*/ 3723511 w 10915134"/>
              <a:gd name="connsiteY152" fmla="*/ 2185401 h 2251389"/>
              <a:gd name="connsiteX153" fmla="*/ 3478465 w 10915134"/>
              <a:gd name="connsiteY153" fmla="*/ 2181087 h 2251389"/>
              <a:gd name="connsiteX154" fmla="*/ 3308996 w 10915134"/>
              <a:gd name="connsiteY154" fmla="*/ 2177978 h 2251389"/>
              <a:gd name="connsiteX155" fmla="*/ 3260282 w 10915134"/>
              <a:gd name="connsiteY155" fmla="*/ 2194479 h 2251389"/>
              <a:gd name="connsiteX156" fmla="*/ 3178557 w 10915134"/>
              <a:gd name="connsiteY156" fmla="*/ 2221451 h 2251389"/>
              <a:gd name="connsiteX157" fmla="*/ 3097074 w 10915134"/>
              <a:gd name="connsiteY157" fmla="*/ 2229837 h 2251389"/>
              <a:gd name="connsiteX158" fmla="*/ 3029944 w 10915134"/>
              <a:gd name="connsiteY158" fmla="*/ 2248531 h 2251389"/>
              <a:gd name="connsiteX159" fmla="*/ 2964870 w 10915134"/>
              <a:gd name="connsiteY159" fmla="*/ 2251389 h 2251389"/>
              <a:gd name="connsiteX160" fmla="*/ 2931496 w 10915134"/>
              <a:gd name="connsiteY160" fmla="*/ 2243024 h 2251389"/>
              <a:gd name="connsiteX161" fmla="*/ 2892959 w 10915134"/>
              <a:gd name="connsiteY161" fmla="*/ 2233969 h 2251389"/>
              <a:gd name="connsiteX162" fmla="*/ 2839074 w 10915134"/>
              <a:gd name="connsiteY162" fmla="*/ 2225008 h 2251389"/>
              <a:gd name="connsiteX163" fmla="*/ 2693779 w 10915134"/>
              <a:gd name="connsiteY163" fmla="*/ 2231570 h 2251389"/>
              <a:gd name="connsiteX164" fmla="*/ 2523799 w 10915134"/>
              <a:gd name="connsiteY164" fmla="*/ 2236547 h 2251389"/>
              <a:gd name="connsiteX165" fmla="*/ 2340069 w 10915134"/>
              <a:gd name="connsiteY165" fmla="*/ 2220699 h 2251389"/>
              <a:gd name="connsiteX166" fmla="*/ 2076408 w 10915134"/>
              <a:gd name="connsiteY166" fmla="*/ 2194398 h 2251389"/>
              <a:gd name="connsiteX167" fmla="*/ 1983593 w 10915134"/>
              <a:gd name="connsiteY167" fmla="*/ 2219360 h 2251389"/>
              <a:gd name="connsiteX168" fmla="*/ 1853105 w 10915134"/>
              <a:gd name="connsiteY168" fmla="*/ 2214141 h 2251389"/>
              <a:gd name="connsiteX169" fmla="*/ 1748511 w 10915134"/>
              <a:gd name="connsiteY169" fmla="*/ 2178472 h 2251389"/>
              <a:gd name="connsiteX170" fmla="*/ 1633422 w 10915134"/>
              <a:gd name="connsiteY170" fmla="*/ 2143415 h 2251389"/>
              <a:gd name="connsiteX171" fmla="*/ 1558946 w 10915134"/>
              <a:gd name="connsiteY171" fmla="*/ 2128843 h 2251389"/>
              <a:gd name="connsiteX172" fmla="*/ 1385344 w 10915134"/>
              <a:gd name="connsiteY172" fmla="*/ 2124817 h 2251389"/>
              <a:gd name="connsiteX173" fmla="*/ 1227473 w 10915134"/>
              <a:gd name="connsiteY173" fmla="*/ 2113291 h 2251389"/>
              <a:gd name="connsiteX174" fmla="*/ 1088711 w 10915134"/>
              <a:gd name="connsiteY174" fmla="*/ 2097947 h 2251389"/>
              <a:gd name="connsiteX175" fmla="*/ 939259 w 10915134"/>
              <a:gd name="connsiteY175" fmla="*/ 2073411 h 2251389"/>
              <a:gd name="connsiteX176" fmla="*/ 914345 w 10915134"/>
              <a:gd name="connsiteY176" fmla="*/ 2063135 h 2251389"/>
              <a:gd name="connsiteX177" fmla="*/ 879393 w 10915134"/>
              <a:gd name="connsiteY177" fmla="*/ 2068419 h 2251389"/>
              <a:gd name="connsiteX178" fmla="*/ 739242 w 10915134"/>
              <a:gd name="connsiteY178" fmla="*/ 2091539 h 2251389"/>
              <a:gd name="connsiteX179" fmla="*/ 628509 w 10915134"/>
              <a:gd name="connsiteY179" fmla="*/ 2108134 h 2251389"/>
              <a:gd name="connsiteX180" fmla="*/ 508046 w 10915134"/>
              <a:gd name="connsiteY180" fmla="*/ 2109851 h 2251389"/>
              <a:gd name="connsiteX181" fmla="*/ 408793 w 10915134"/>
              <a:gd name="connsiteY181" fmla="*/ 2105335 h 2251389"/>
              <a:gd name="connsiteX182" fmla="*/ 259142 w 10915134"/>
              <a:gd name="connsiteY182" fmla="*/ 2115883 h 2251389"/>
              <a:gd name="connsiteX183" fmla="*/ 91266 w 10915134"/>
              <a:gd name="connsiteY183" fmla="*/ 2135533 h 2251389"/>
              <a:gd name="connsiteX184" fmla="*/ 12251 w 10915134"/>
              <a:gd name="connsiteY184" fmla="*/ 2121489 h 2251389"/>
              <a:gd name="connsiteX185" fmla="*/ 0 w 10915134"/>
              <a:gd name="connsiteY185" fmla="*/ 2122164 h 2251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10915134" h="2251389">
                <a:moveTo>
                  <a:pt x="0" y="0"/>
                </a:moveTo>
                <a:lnTo>
                  <a:pt x="10915134" y="0"/>
                </a:lnTo>
                <a:lnTo>
                  <a:pt x="10882980" y="49990"/>
                </a:lnTo>
                <a:cubicBezTo>
                  <a:pt x="10880871" y="52147"/>
                  <a:pt x="10836905" y="107867"/>
                  <a:pt x="10834795" y="110024"/>
                </a:cubicBezTo>
                <a:cubicBezTo>
                  <a:pt x="10820319" y="128194"/>
                  <a:pt x="10762503" y="175620"/>
                  <a:pt x="10738392" y="165813"/>
                </a:cubicBezTo>
                <a:cubicBezTo>
                  <a:pt x="10748670" y="186392"/>
                  <a:pt x="10638347" y="188684"/>
                  <a:pt x="10633692" y="209264"/>
                </a:cubicBezTo>
                <a:cubicBezTo>
                  <a:pt x="10631767" y="225908"/>
                  <a:pt x="10597419" y="233945"/>
                  <a:pt x="10586800" y="239716"/>
                </a:cubicBezTo>
                <a:cubicBezTo>
                  <a:pt x="10579628" y="256520"/>
                  <a:pt x="10520682" y="224915"/>
                  <a:pt x="10501658" y="307174"/>
                </a:cubicBezTo>
                <a:cubicBezTo>
                  <a:pt x="10447727" y="313339"/>
                  <a:pt x="10447126" y="425780"/>
                  <a:pt x="10404067" y="412395"/>
                </a:cubicBezTo>
                <a:cubicBezTo>
                  <a:pt x="10392937" y="413598"/>
                  <a:pt x="10388815" y="467371"/>
                  <a:pt x="10380953" y="472334"/>
                </a:cubicBezTo>
                <a:lnTo>
                  <a:pt x="10341416" y="504774"/>
                </a:lnTo>
                <a:lnTo>
                  <a:pt x="10326329" y="523459"/>
                </a:lnTo>
                <a:lnTo>
                  <a:pt x="10298289" y="532173"/>
                </a:lnTo>
                <a:cubicBezTo>
                  <a:pt x="10284422" y="535049"/>
                  <a:pt x="10265952" y="533199"/>
                  <a:pt x="10243127" y="540715"/>
                </a:cubicBezTo>
                <a:cubicBezTo>
                  <a:pt x="10203910" y="562831"/>
                  <a:pt x="10165274" y="534580"/>
                  <a:pt x="10141243" y="592343"/>
                </a:cubicBezTo>
                <a:cubicBezTo>
                  <a:pt x="10059374" y="598371"/>
                  <a:pt x="10021953" y="650378"/>
                  <a:pt x="9940352" y="631518"/>
                </a:cubicBezTo>
                <a:cubicBezTo>
                  <a:pt x="9959797" y="646419"/>
                  <a:pt x="9860152" y="623282"/>
                  <a:pt x="9836226" y="660496"/>
                </a:cubicBezTo>
                <a:cubicBezTo>
                  <a:pt x="9788121" y="672556"/>
                  <a:pt x="9760988" y="668531"/>
                  <a:pt x="9686899" y="683782"/>
                </a:cubicBezTo>
                <a:cubicBezTo>
                  <a:pt x="9623800" y="700369"/>
                  <a:pt x="9613948" y="700871"/>
                  <a:pt x="9578209" y="709781"/>
                </a:cubicBezTo>
                <a:lnTo>
                  <a:pt x="9437298" y="757337"/>
                </a:lnTo>
                <a:lnTo>
                  <a:pt x="9435498" y="759689"/>
                </a:lnTo>
                <a:cubicBezTo>
                  <a:pt x="9426240" y="765982"/>
                  <a:pt x="9419508" y="766527"/>
                  <a:pt x="9413910" y="764531"/>
                </a:cubicBezTo>
                <a:lnTo>
                  <a:pt x="9361370" y="760593"/>
                </a:lnTo>
                <a:lnTo>
                  <a:pt x="9356626" y="764594"/>
                </a:lnTo>
                <a:lnTo>
                  <a:pt x="9311281" y="769260"/>
                </a:lnTo>
                <a:cubicBezTo>
                  <a:pt x="9311245" y="769953"/>
                  <a:pt x="9311210" y="770644"/>
                  <a:pt x="9311173" y="771337"/>
                </a:cubicBezTo>
                <a:cubicBezTo>
                  <a:pt x="9309900" y="776105"/>
                  <a:pt x="9307010" y="779823"/>
                  <a:pt x="9300658" y="781452"/>
                </a:cubicBezTo>
                <a:cubicBezTo>
                  <a:pt x="9318003" y="808459"/>
                  <a:pt x="9299643" y="793767"/>
                  <a:pt x="9279376" y="796188"/>
                </a:cubicBezTo>
                <a:cubicBezTo>
                  <a:pt x="9260850" y="809309"/>
                  <a:pt x="9206021" y="849156"/>
                  <a:pt x="9189502" y="860175"/>
                </a:cubicBezTo>
                <a:lnTo>
                  <a:pt x="9180260" y="862300"/>
                </a:lnTo>
                <a:cubicBezTo>
                  <a:pt x="9180236" y="862466"/>
                  <a:pt x="9180211" y="862633"/>
                  <a:pt x="9180186" y="862799"/>
                </a:cubicBezTo>
                <a:cubicBezTo>
                  <a:pt x="9178407" y="864232"/>
                  <a:pt x="9175456" y="865295"/>
                  <a:pt x="9170652" y="865945"/>
                </a:cubicBezTo>
                <a:lnTo>
                  <a:pt x="9145484" y="870300"/>
                </a:lnTo>
                <a:lnTo>
                  <a:pt x="9140031" y="874741"/>
                </a:lnTo>
                <a:lnTo>
                  <a:pt x="9138892" y="880860"/>
                </a:lnTo>
                <a:lnTo>
                  <a:pt x="9107257" y="903704"/>
                </a:lnTo>
                <a:cubicBezTo>
                  <a:pt x="9091321" y="899193"/>
                  <a:pt x="9043942" y="941365"/>
                  <a:pt x="9034880" y="948837"/>
                </a:cubicBezTo>
                <a:lnTo>
                  <a:pt x="8950600" y="994853"/>
                </a:lnTo>
                <a:cubicBezTo>
                  <a:pt x="8865196" y="1081843"/>
                  <a:pt x="8818875" y="1077389"/>
                  <a:pt x="8753014" y="1118658"/>
                </a:cubicBezTo>
                <a:cubicBezTo>
                  <a:pt x="8692981" y="1124704"/>
                  <a:pt x="8636332" y="1128410"/>
                  <a:pt x="8581094" y="1153261"/>
                </a:cubicBezTo>
                <a:cubicBezTo>
                  <a:pt x="8538621" y="1164812"/>
                  <a:pt x="8511758" y="1169577"/>
                  <a:pt x="8498175" y="1187969"/>
                </a:cubicBezTo>
                <a:lnTo>
                  <a:pt x="8448788" y="1206463"/>
                </a:lnTo>
                <a:lnTo>
                  <a:pt x="8367996" y="1232783"/>
                </a:lnTo>
                <a:cubicBezTo>
                  <a:pt x="8367806" y="1234615"/>
                  <a:pt x="8367614" y="1236446"/>
                  <a:pt x="8367423" y="1238278"/>
                </a:cubicBezTo>
                <a:lnTo>
                  <a:pt x="8359640" y="1246782"/>
                </a:lnTo>
                <a:lnTo>
                  <a:pt x="8346100" y="1266142"/>
                </a:lnTo>
                <a:lnTo>
                  <a:pt x="8318833" y="1292714"/>
                </a:lnTo>
                <a:lnTo>
                  <a:pt x="8317719" y="1291904"/>
                </a:lnTo>
                <a:cubicBezTo>
                  <a:pt x="8314688" y="1290662"/>
                  <a:pt x="8311461" y="1290840"/>
                  <a:pt x="8307730" y="1293984"/>
                </a:cubicBezTo>
                <a:cubicBezTo>
                  <a:pt x="8294903" y="1295590"/>
                  <a:pt x="8255937" y="1295887"/>
                  <a:pt x="8240756" y="1301537"/>
                </a:cubicBezTo>
                <a:cubicBezTo>
                  <a:pt x="8233324" y="1310481"/>
                  <a:pt x="8225256" y="1319366"/>
                  <a:pt x="8216639" y="1327887"/>
                </a:cubicBezTo>
                <a:lnTo>
                  <a:pt x="8211337" y="1332570"/>
                </a:lnTo>
                <a:lnTo>
                  <a:pt x="8211048" y="1332403"/>
                </a:lnTo>
                <a:cubicBezTo>
                  <a:pt x="8209501" y="1332874"/>
                  <a:pt x="8207607" y="1334206"/>
                  <a:pt x="8205085" y="1336831"/>
                </a:cubicBezTo>
                <a:lnTo>
                  <a:pt x="8137554" y="1342145"/>
                </a:lnTo>
                <a:cubicBezTo>
                  <a:pt x="8105705" y="1354688"/>
                  <a:pt x="8080446" y="1339423"/>
                  <a:pt x="8054564" y="1367911"/>
                </a:cubicBezTo>
                <a:cubicBezTo>
                  <a:pt x="8024726" y="1379555"/>
                  <a:pt x="7996957" y="1380148"/>
                  <a:pt x="7973237" y="1397544"/>
                </a:cubicBezTo>
                <a:cubicBezTo>
                  <a:pt x="7961439" y="1393972"/>
                  <a:pt x="7951168" y="1394796"/>
                  <a:pt x="7944198" y="1410276"/>
                </a:cubicBezTo>
                <a:cubicBezTo>
                  <a:pt x="7915673" y="1417804"/>
                  <a:pt x="7905583" y="1403950"/>
                  <a:pt x="7890643" y="1424144"/>
                </a:cubicBezTo>
                <a:cubicBezTo>
                  <a:pt x="7869590" y="1403678"/>
                  <a:pt x="7870757" y="1414314"/>
                  <a:pt x="7864997" y="1425023"/>
                </a:cubicBezTo>
                <a:lnTo>
                  <a:pt x="7864067" y="1426002"/>
                </a:lnTo>
                <a:lnTo>
                  <a:pt x="7861153" y="1423038"/>
                </a:lnTo>
                <a:lnTo>
                  <a:pt x="7844586" y="1429169"/>
                </a:lnTo>
                <a:lnTo>
                  <a:pt x="7840350" y="1432451"/>
                </a:lnTo>
                <a:cubicBezTo>
                  <a:pt x="7837357" y="1434345"/>
                  <a:pt x="7835272" y="1435129"/>
                  <a:pt x="7833722" y="1435148"/>
                </a:cubicBezTo>
                <a:lnTo>
                  <a:pt x="7833492" y="1434901"/>
                </a:lnTo>
                <a:lnTo>
                  <a:pt x="7827413" y="1438043"/>
                </a:lnTo>
                <a:cubicBezTo>
                  <a:pt x="7817294" y="1444069"/>
                  <a:pt x="7807591" y="1450613"/>
                  <a:pt x="7798463" y="1457407"/>
                </a:cubicBezTo>
                <a:cubicBezTo>
                  <a:pt x="7789625" y="1446704"/>
                  <a:pt x="7769649" y="1464040"/>
                  <a:pt x="7759015" y="1458666"/>
                </a:cubicBezTo>
                <a:lnTo>
                  <a:pt x="7752684" y="1444792"/>
                </a:lnTo>
                <a:lnTo>
                  <a:pt x="7747867" y="1447976"/>
                </a:lnTo>
                <a:lnTo>
                  <a:pt x="7738750" y="1456574"/>
                </a:lnTo>
                <a:cubicBezTo>
                  <a:pt x="7737328" y="1457741"/>
                  <a:pt x="7736297" y="1457914"/>
                  <a:pt x="7735619" y="1456320"/>
                </a:cubicBezTo>
                <a:cubicBezTo>
                  <a:pt x="7730006" y="1457852"/>
                  <a:pt x="7711662" y="1464787"/>
                  <a:pt x="7705072" y="1465768"/>
                </a:cubicBezTo>
                <a:lnTo>
                  <a:pt x="7696073" y="1462212"/>
                </a:lnTo>
                <a:lnTo>
                  <a:pt x="7692096" y="1462163"/>
                </a:lnTo>
                <a:lnTo>
                  <a:pt x="7674689" y="1477613"/>
                </a:lnTo>
                <a:lnTo>
                  <a:pt x="7665348" y="1483862"/>
                </a:lnTo>
                <a:lnTo>
                  <a:pt x="7606276" y="1538521"/>
                </a:lnTo>
                <a:lnTo>
                  <a:pt x="7504695" y="1566686"/>
                </a:lnTo>
                <a:cubicBezTo>
                  <a:pt x="7473718" y="1603709"/>
                  <a:pt x="7404436" y="1554658"/>
                  <a:pt x="7401270" y="1597361"/>
                </a:cubicBezTo>
                <a:cubicBezTo>
                  <a:pt x="7369238" y="1613154"/>
                  <a:pt x="7363418" y="1605164"/>
                  <a:pt x="7320321" y="1619535"/>
                </a:cubicBezTo>
                <a:cubicBezTo>
                  <a:pt x="7280514" y="1668809"/>
                  <a:pt x="7198683" y="1708462"/>
                  <a:pt x="7149526" y="1743630"/>
                </a:cubicBezTo>
                <a:cubicBezTo>
                  <a:pt x="7114410" y="1721934"/>
                  <a:pt x="7136043" y="1746476"/>
                  <a:pt x="7105391" y="1752328"/>
                </a:cubicBezTo>
                <a:cubicBezTo>
                  <a:pt x="7119677" y="1779725"/>
                  <a:pt x="7066212" y="1749779"/>
                  <a:pt x="7071654" y="1785091"/>
                </a:cubicBezTo>
                <a:cubicBezTo>
                  <a:pt x="7065905" y="1785038"/>
                  <a:pt x="7060161" y="1783873"/>
                  <a:pt x="7054359" y="1782439"/>
                </a:cubicBezTo>
                <a:lnTo>
                  <a:pt x="7051319" y="1781706"/>
                </a:lnTo>
                <a:lnTo>
                  <a:pt x="7040377" y="1784767"/>
                </a:lnTo>
                <a:lnTo>
                  <a:pt x="7035771" y="1778137"/>
                </a:lnTo>
                <a:lnTo>
                  <a:pt x="7018208" y="1777373"/>
                </a:lnTo>
                <a:cubicBezTo>
                  <a:pt x="7011866" y="1778247"/>
                  <a:pt x="7005318" y="1780539"/>
                  <a:pt x="6998493" y="1785098"/>
                </a:cubicBezTo>
                <a:cubicBezTo>
                  <a:pt x="6983689" y="1806072"/>
                  <a:pt x="6952865" y="1800516"/>
                  <a:pt x="6928288" y="1811732"/>
                </a:cubicBezTo>
                <a:lnTo>
                  <a:pt x="6917773" y="1820666"/>
                </a:lnTo>
                <a:lnTo>
                  <a:pt x="6881789" y="1828309"/>
                </a:lnTo>
                <a:lnTo>
                  <a:pt x="6879926" y="1830591"/>
                </a:lnTo>
                <a:cubicBezTo>
                  <a:pt x="6873880" y="1832712"/>
                  <a:pt x="6861049" y="1834739"/>
                  <a:pt x="6845508" y="1841035"/>
                </a:cubicBezTo>
                <a:lnTo>
                  <a:pt x="6786683" y="1868367"/>
                </a:lnTo>
                <a:lnTo>
                  <a:pt x="6773874" y="1863267"/>
                </a:lnTo>
                <a:lnTo>
                  <a:pt x="6771241" y="1859449"/>
                </a:lnTo>
                <a:lnTo>
                  <a:pt x="6755065" y="1866822"/>
                </a:lnTo>
                <a:lnTo>
                  <a:pt x="6740854" y="1865352"/>
                </a:lnTo>
                <a:lnTo>
                  <a:pt x="6730997" y="1874155"/>
                </a:lnTo>
                <a:lnTo>
                  <a:pt x="6714212" y="1876293"/>
                </a:lnTo>
                <a:cubicBezTo>
                  <a:pt x="6707919" y="1876308"/>
                  <a:pt x="6700834" y="1876122"/>
                  <a:pt x="6693130" y="1876808"/>
                </a:cubicBezTo>
                <a:lnTo>
                  <a:pt x="6674405" y="1873459"/>
                </a:lnTo>
                <a:lnTo>
                  <a:pt x="6647714" y="1878941"/>
                </a:lnTo>
                <a:cubicBezTo>
                  <a:pt x="6627122" y="1883360"/>
                  <a:pt x="6607220" y="1886896"/>
                  <a:pt x="6586613" y="1887053"/>
                </a:cubicBezTo>
                <a:cubicBezTo>
                  <a:pt x="6572205" y="1895536"/>
                  <a:pt x="6557706" y="1900239"/>
                  <a:pt x="6540424" y="1893269"/>
                </a:cubicBezTo>
                <a:cubicBezTo>
                  <a:pt x="6497538" y="1902769"/>
                  <a:pt x="6490601" y="1917381"/>
                  <a:pt x="6460034" y="1911286"/>
                </a:cubicBezTo>
                <a:cubicBezTo>
                  <a:pt x="6453811" y="1919532"/>
                  <a:pt x="6449254" y="1924158"/>
                  <a:pt x="6445449" y="1926499"/>
                </a:cubicBezTo>
                <a:cubicBezTo>
                  <a:pt x="6434030" y="1933525"/>
                  <a:pt x="6429411" y="1919994"/>
                  <a:pt x="6407092" y="1921993"/>
                </a:cubicBezTo>
                <a:cubicBezTo>
                  <a:pt x="6382682" y="1922166"/>
                  <a:pt x="6418607" y="1903450"/>
                  <a:pt x="6396332" y="1907025"/>
                </a:cubicBezTo>
                <a:cubicBezTo>
                  <a:pt x="6376015" y="1918727"/>
                  <a:pt x="6367614" y="1898795"/>
                  <a:pt x="6347048" y="1912130"/>
                </a:cubicBezTo>
                <a:cubicBezTo>
                  <a:pt x="6360109" y="1925598"/>
                  <a:pt x="6297691" y="1920276"/>
                  <a:pt x="6302270" y="1933613"/>
                </a:cubicBezTo>
                <a:cubicBezTo>
                  <a:pt x="6272680" y="1919839"/>
                  <a:pt x="6273323" y="1945036"/>
                  <a:pt x="6243078" y="1945644"/>
                </a:cubicBezTo>
                <a:cubicBezTo>
                  <a:pt x="6226744" y="1941607"/>
                  <a:pt x="6216828" y="1942552"/>
                  <a:pt x="6207738" y="1953011"/>
                </a:cubicBezTo>
                <a:cubicBezTo>
                  <a:pt x="6131633" y="1932600"/>
                  <a:pt x="6170923" y="1959774"/>
                  <a:pt x="6108781" y="1959474"/>
                </a:cubicBezTo>
                <a:lnTo>
                  <a:pt x="6103698" y="1959304"/>
                </a:lnTo>
                <a:lnTo>
                  <a:pt x="6087017" y="1969078"/>
                </a:lnTo>
                <a:cubicBezTo>
                  <a:pt x="6086783" y="1969912"/>
                  <a:pt x="6086547" y="1970745"/>
                  <a:pt x="6086313" y="1971580"/>
                </a:cubicBezTo>
                <a:lnTo>
                  <a:pt x="6024291" y="1966761"/>
                </a:lnTo>
                <a:lnTo>
                  <a:pt x="6016853" y="1970526"/>
                </a:lnTo>
                <a:lnTo>
                  <a:pt x="5975404" y="1961749"/>
                </a:lnTo>
                <a:lnTo>
                  <a:pt x="5954536" y="1960220"/>
                </a:lnTo>
                <a:lnTo>
                  <a:pt x="5917280" y="1954478"/>
                </a:lnTo>
                <a:lnTo>
                  <a:pt x="5914232" y="1956919"/>
                </a:lnTo>
                <a:lnTo>
                  <a:pt x="5906850" y="1954702"/>
                </a:lnTo>
                <a:lnTo>
                  <a:pt x="5901461" y="1957577"/>
                </a:lnTo>
                <a:lnTo>
                  <a:pt x="5895317" y="1956828"/>
                </a:lnTo>
                <a:cubicBezTo>
                  <a:pt x="5883595" y="1958629"/>
                  <a:pt x="5844137" y="1966833"/>
                  <a:pt x="5831128" y="1968382"/>
                </a:cubicBezTo>
                <a:lnTo>
                  <a:pt x="5817261" y="1966124"/>
                </a:lnTo>
                <a:lnTo>
                  <a:pt x="5806791" y="1974713"/>
                </a:lnTo>
                <a:lnTo>
                  <a:pt x="5762574" y="1976973"/>
                </a:lnTo>
                <a:lnTo>
                  <a:pt x="5747297" y="1970252"/>
                </a:lnTo>
                <a:lnTo>
                  <a:pt x="5733169" y="1965433"/>
                </a:lnTo>
                <a:lnTo>
                  <a:pt x="5731338" y="1965447"/>
                </a:lnTo>
                <a:lnTo>
                  <a:pt x="5712957" y="1965596"/>
                </a:lnTo>
                <a:lnTo>
                  <a:pt x="5678760" y="1965873"/>
                </a:lnTo>
                <a:cubicBezTo>
                  <a:pt x="5656934" y="1966331"/>
                  <a:pt x="5634795" y="1967772"/>
                  <a:pt x="5612457" y="1972287"/>
                </a:cubicBezTo>
                <a:cubicBezTo>
                  <a:pt x="5527023" y="1949966"/>
                  <a:pt x="5534401" y="1947926"/>
                  <a:pt x="5462439" y="1941766"/>
                </a:cubicBezTo>
                <a:cubicBezTo>
                  <a:pt x="5427425" y="1917624"/>
                  <a:pt x="5291183" y="1960519"/>
                  <a:pt x="5249426" y="1957993"/>
                </a:cubicBezTo>
                <a:cubicBezTo>
                  <a:pt x="5146406" y="1973328"/>
                  <a:pt x="4927624" y="2044719"/>
                  <a:pt x="4795460" y="2018541"/>
                </a:cubicBezTo>
                <a:cubicBezTo>
                  <a:pt x="4762844" y="2022395"/>
                  <a:pt x="4718233" y="2031407"/>
                  <a:pt x="4698875" y="2031693"/>
                </a:cubicBezTo>
                <a:lnTo>
                  <a:pt x="4635334" y="2035504"/>
                </a:lnTo>
                <a:lnTo>
                  <a:pt x="4529228" y="2076609"/>
                </a:lnTo>
                <a:cubicBezTo>
                  <a:pt x="4475152" y="2050383"/>
                  <a:pt x="4475600" y="2080729"/>
                  <a:pt x="4408461" y="2090939"/>
                </a:cubicBezTo>
                <a:cubicBezTo>
                  <a:pt x="4383821" y="2082708"/>
                  <a:pt x="4268804" y="2082966"/>
                  <a:pt x="4254651" y="2101730"/>
                </a:cubicBezTo>
                <a:cubicBezTo>
                  <a:pt x="4238862" y="2106286"/>
                  <a:pt x="4220313" y="2100544"/>
                  <a:pt x="4213233" y="2120326"/>
                </a:cubicBezTo>
                <a:cubicBezTo>
                  <a:pt x="4201430" y="2144259"/>
                  <a:pt x="4145731" y="2110137"/>
                  <a:pt x="4153938" y="2137520"/>
                </a:cubicBezTo>
                <a:cubicBezTo>
                  <a:pt x="4114396" y="2114195"/>
                  <a:pt x="4083806" y="2164553"/>
                  <a:pt x="4050969" y="2177971"/>
                </a:cubicBezTo>
                <a:cubicBezTo>
                  <a:pt x="4019767" y="2177378"/>
                  <a:pt x="4005088" y="2190554"/>
                  <a:pt x="3933162" y="2199509"/>
                </a:cubicBezTo>
                <a:cubicBezTo>
                  <a:pt x="3898830" y="2172322"/>
                  <a:pt x="3861284" y="2221170"/>
                  <a:pt x="3797609" y="2185813"/>
                </a:cubicBezTo>
                <a:cubicBezTo>
                  <a:pt x="3795667" y="2189772"/>
                  <a:pt x="3776702" y="2186188"/>
                  <a:pt x="3723511" y="2185401"/>
                </a:cubicBezTo>
                <a:cubicBezTo>
                  <a:pt x="3670320" y="2184613"/>
                  <a:pt x="3558625" y="2184230"/>
                  <a:pt x="3478465" y="2181087"/>
                </a:cubicBezTo>
                <a:cubicBezTo>
                  <a:pt x="3387474" y="2181789"/>
                  <a:pt x="3428499" y="2219948"/>
                  <a:pt x="3308996" y="2177978"/>
                </a:cubicBezTo>
                <a:cubicBezTo>
                  <a:pt x="3299910" y="2200517"/>
                  <a:pt x="3285785" y="2202748"/>
                  <a:pt x="3260282" y="2194479"/>
                </a:cubicBezTo>
                <a:cubicBezTo>
                  <a:pt x="3216295" y="2196427"/>
                  <a:pt x="3227371" y="2250251"/>
                  <a:pt x="3178557" y="2221451"/>
                </a:cubicBezTo>
                <a:cubicBezTo>
                  <a:pt x="3146795" y="2234329"/>
                  <a:pt x="3117401" y="2220418"/>
                  <a:pt x="3097074" y="2229837"/>
                </a:cubicBezTo>
                <a:lnTo>
                  <a:pt x="3029944" y="2248531"/>
                </a:lnTo>
                <a:cubicBezTo>
                  <a:pt x="2992804" y="2254069"/>
                  <a:pt x="2982389" y="2213943"/>
                  <a:pt x="2964870" y="2251389"/>
                </a:cubicBezTo>
                <a:lnTo>
                  <a:pt x="2931496" y="2243024"/>
                </a:lnTo>
                <a:lnTo>
                  <a:pt x="2892959" y="2233969"/>
                </a:lnTo>
                <a:cubicBezTo>
                  <a:pt x="2872669" y="2227791"/>
                  <a:pt x="2882203" y="2234774"/>
                  <a:pt x="2839074" y="2225008"/>
                </a:cubicBezTo>
                <a:cubicBezTo>
                  <a:pt x="2811442" y="2251884"/>
                  <a:pt x="2766379" y="2232117"/>
                  <a:pt x="2693779" y="2231570"/>
                </a:cubicBezTo>
                <a:lnTo>
                  <a:pt x="2523799" y="2236547"/>
                </a:lnTo>
                <a:cubicBezTo>
                  <a:pt x="2466172" y="2242686"/>
                  <a:pt x="2414634" y="2227724"/>
                  <a:pt x="2340069" y="2220699"/>
                </a:cubicBezTo>
                <a:cubicBezTo>
                  <a:pt x="2265503" y="2213674"/>
                  <a:pt x="2139796" y="2191971"/>
                  <a:pt x="2076408" y="2194398"/>
                </a:cubicBezTo>
                <a:cubicBezTo>
                  <a:pt x="2032508" y="2197562"/>
                  <a:pt x="2027933" y="2185141"/>
                  <a:pt x="1983593" y="2219360"/>
                </a:cubicBezTo>
                <a:cubicBezTo>
                  <a:pt x="1947094" y="2209205"/>
                  <a:pt x="1890960" y="2218305"/>
                  <a:pt x="1853105" y="2214141"/>
                </a:cubicBezTo>
                <a:cubicBezTo>
                  <a:pt x="1825748" y="2216625"/>
                  <a:pt x="1783192" y="2179879"/>
                  <a:pt x="1748511" y="2178472"/>
                </a:cubicBezTo>
                <a:cubicBezTo>
                  <a:pt x="1703498" y="2196202"/>
                  <a:pt x="1694831" y="2157630"/>
                  <a:pt x="1633422" y="2143415"/>
                </a:cubicBezTo>
                <a:cubicBezTo>
                  <a:pt x="1607630" y="2161065"/>
                  <a:pt x="1579060" y="2145077"/>
                  <a:pt x="1558946" y="2128843"/>
                </a:cubicBezTo>
                <a:cubicBezTo>
                  <a:pt x="1499069" y="2134267"/>
                  <a:pt x="1452565" y="2133855"/>
                  <a:pt x="1385344" y="2124817"/>
                </a:cubicBezTo>
                <a:cubicBezTo>
                  <a:pt x="1312492" y="2145463"/>
                  <a:pt x="1299315" y="2122756"/>
                  <a:pt x="1227473" y="2113291"/>
                </a:cubicBezTo>
                <a:cubicBezTo>
                  <a:pt x="1199075" y="2120045"/>
                  <a:pt x="1149241" y="2095660"/>
                  <a:pt x="1088711" y="2097947"/>
                </a:cubicBezTo>
                <a:cubicBezTo>
                  <a:pt x="1048569" y="2095382"/>
                  <a:pt x="1091396" y="2061344"/>
                  <a:pt x="939259" y="2073411"/>
                </a:cubicBezTo>
                <a:cubicBezTo>
                  <a:pt x="930603" y="2080267"/>
                  <a:pt x="912274" y="2072716"/>
                  <a:pt x="914345" y="2063135"/>
                </a:cubicBezTo>
                <a:cubicBezTo>
                  <a:pt x="904674" y="2065915"/>
                  <a:pt x="881392" y="2083881"/>
                  <a:pt x="879393" y="2068419"/>
                </a:cubicBezTo>
                <a:cubicBezTo>
                  <a:pt x="831068" y="2065554"/>
                  <a:pt x="782797" y="2073516"/>
                  <a:pt x="739242" y="2091539"/>
                </a:cubicBezTo>
                <a:cubicBezTo>
                  <a:pt x="713063" y="2085924"/>
                  <a:pt x="685973" y="2097939"/>
                  <a:pt x="628509" y="2108134"/>
                </a:cubicBezTo>
                <a:cubicBezTo>
                  <a:pt x="575136" y="2076613"/>
                  <a:pt x="570057" y="2131408"/>
                  <a:pt x="508046" y="2109851"/>
                </a:cubicBezTo>
                <a:cubicBezTo>
                  <a:pt x="473420" y="2105939"/>
                  <a:pt x="433697" y="2091842"/>
                  <a:pt x="408793" y="2105335"/>
                </a:cubicBezTo>
                <a:cubicBezTo>
                  <a:pt x="383633" y="2099507"/>
                  <a:pt x="299763" y="2118030"/>
                  <a:pt x="259142" y="2115883"/>
                </a:cubicBezTo>
                <a:cubicBezTo>
                  <a:pt x="191085" y="2103328"/>
                  <a:pt x="127146" y="2128850"/>
                  <a:pt x="91266" y="2135533"/>
                </a:cubicBezTo>
                <a:cubicBezTo>
                  <a:pt x="55346" y="2131669"/>
                  <a:pt x="37547" y="2122850"/>
                  <a:pt x="12251" y="2121489"/>
                </a:cubicBezTo>
                <a:lnTo>
                  <a:pt x="0" y="2122164"/>
                </a:lnTo>
                <a:close/>
              </a:path>
            </a:pathLst>
          </a:custGeom>
          <a:solidFill>
            <a:srgbClr val="82766A">
              <a:alpha val="15000"/>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B4228DB4-66FD-54C8-5008-A4527AB91B20}"/>
              </a:ext>
            </a:extLst>
          </p:cNvPr>
          <p:cNvSpPr>
            <a:spLocks noGrp="1"/>
          </p:cNvSpPr>
          <p:nvPr>
            <p:ph type="title"/>
          </p:nvPr>
        </p:nvSpPr>
        <p:spPr>
          <a:xfrm>
            <a:off x="1137037" y="609600"/>
            <a:ext cx="5915197" cy="1330519"/>
          </a:xfrm>
        </p:spPr>
        <p:txBody>
          <a:bodyPr>
            <a:normAutofit/>
          </a:bodyPr>
          <a:lstStyle/>
          <a:p>
            <a:r>
              <a:rPr lang="en-US" dirty="0">
                <a:ea typeface="Lato Medium"/>
                <a:cs typeface="Lato Medium"/>
              </a:rPr>
              <a:t>Who is a patient partner?</a:t>
            </a:r>
            <a:endParaRPr lang="en-US" dirty="0"/>
          </a:p>
        </p:txBody>
      </p:sp>
      <p:sp>
        <p:nvSpPr>
          <p:cNvPr id="3" name="Content Placeholder 2">
            <a:extLst>
              <a:ext uri="{FF2B5EF4-FFF2-40B4-BE49-F238E27FC236}">
                <a16:creationId xmlns:a16="http://schemas.microsoft.com/office/drawing/2014/main" id="{843ABBBF-289E-B468-BF20-F3C35E26A120}"/>
              </a:ext>
            </a:extLst>
          </p:cNvPr>
          <p:cNvSpPr>
            <a:spLocks noGrp="1"/>
          </p:cNvSpPr>
          <p:nvPr>
            <p:ph idx="1"/>
          </p:nvPr>
        </p:nvSpPr>
        <p:spPr>
          <a:xfrm>
            <a:off x="731521" y="2407920"/>
            <a:ext cx="6153374" cy="4085978"/>
          </a:xfrm>
        </p:spPr>
        <p:txBody>
          <a:bodyPr vert="horz" lIns="91440" tIns="45720" rIns="91440" bIns="45720" rtlCol="0" anchor="t">
            <a:normAutofit/>
          </a:bodyPr>
          <a:lstStyle/>
          <a:p>
            <a:pPr>
              <a:lnSpc>
                <a:spcPct val="90000"/>
              </a:lnSpc>
            </a:pPr>
            <a:r>
              <a:rPr lang="en-US" sz="2000" b="1" dirty="0">
                <a:ea typeface="Lato"/>
                <a:cs typeface="Lato"/>
              </a:rPr>
              <a:t>Patient Partners </a:t>
            </a:r>
            <a:r>
              <a:rPr lang="en-US" sz="2000" dirty="0">
                <a:ea typeface="Lato"/>
                <a:cs typeface="Lato"/>
              </a:rPr>
              <a:t>are community members who have received perinatal care and participate in quality improvement (QI) efforts to provide input based on their personal experience to improve perinatal care and the patient experience of respectful care.</a:t>
            </a:r>
          </a:p>
          <a:p>
            <a:pPr>
              <a:lnSpc>
                <a:spcPct val="90000"/>
              </a:lnSpc>
            </a:pPr>
            <a:r>
              <a:rPr lang="en-US" sz="2000" dirty="0">
                <a:ea typeface="Lato"/>
                <a:cs typeface="Lato"/>
              </a:rPr>
              <a:t>Patient and community partners:</a:t>
            </a:r>
          </a:p>
          <a:p>
            <a:pPr lvl="1">
              <a:lnSpc>
                <a:spcPct val="90000"/>
              </a:lnSpc>
            </a:pPr>
            <a:r>
              <a:rPr lang="en-US" b="1" dirty="0">
                <a:ea typeface="Lato"/>
                <a:cs typeface="Lato"/>
              </a:rPr>
              <a:t>Collaborate and communicate</a:t>
            </a:r>
            <a:r>
              <a:rPr lang="en-US" dirty="0">
                <a:ea typeface="Lato"/>
                <a:cs typeface="Lato"/>
              </a:rPr>
              <a:t> with various patients, families, health care professionals, and public health professionals</a:t>
            </a:r>
          </a:p>
          <a:p>
            <a:pPr lvl="1">
              <a:lnSpc>
                <a:spcPct val="90000"/>
              </a:lnSpc>
              <a:buClr>
                <a:srgbClr val="1C498B"/>
              </a:buClr>
            </a:pPr>
            <a:r>
              <a:rPr lang="en-US" b="1" dirty="0">
                <a:ea typeface="Lato"/>
                <a:cs typeface="Lato"/>
              </a:rPr>
              <a:t>Share their stories</a:t>
            </a:r>
            <a:r>
              <a:rPr lang="en-US" dirty="0">
                <a:ea typeface="Lato"/>
                <a:cs typeface="Lato"/>
              </a:rPr>
              <a:t> and identify both positive aspects of their experience and suggestions to improve care </a:t>
            </a:r>
          </a:p>
        </p:txBody>
      </p:sp>
      <p:sp>
        <p:nvSpPr>
          <p:cNvPr id="15" name="Freeform: Shape 14">
            <a:extLst>
              <a:ext uri="{FF2B5EF4-FFF2-40B4-BE49-F238E27FC236}">
                <a16:creationId xmlns:a16="http://schemas.microsoft.com/office/drawing/2014/main" id="{6BFFEA99-E831-4C3B-8D16-0EA4AB33FFC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595584" y="610517"/>
            <a:ext cx="4010943" cy="5636963"/>
          </a:xfrm>
          <a:custGeom>
            <a:avLst/>
            <a:gdLst>
              <a:gd name="connsiteX0" fmla="*/ 0 w 2400300"/>
              <a:gd name="connsiteY0" fmla="*/ 0 h 2400300"/>
              <a:gd name="connsiteX1" fmla="*/ 2400300 w 2400300"/>
              <a:gd name="connsiteY1" fmla="*/ 0 h 2400300"/>
              <a:gd name="connsiteX2" fmla="*/ 2400300 w 2400300"/>
              <a:gd name="connsiteY2" fmla="*/ 2400300 h 2400300"/>
              <a:gd name="connsiteX3" fmla="*/ 0 w 2400300"/>
              <a:gd name="connsiteY3" fmla="*/ 2400300 h 2400300"/>
            </a:gdLst>
            <a:ahLst/>
            <a:cxnLst>
              <a:cxn ang="0">
                <a:pos x="connsiteX0" y="connsiteY0"/>
              </a:cxn>
              <a:cxn ang="0">
                <a:pos x="connsiteX1" y="connsiteY1"/>
              </a:cxn>
              <a:cxn ang="0">
                <a:pos x="connsiteX2" y="connsiteY2"/>
              </a:cxn>
              <a:cxn ang="0">
                <a:pos x="connsiteX3" y="connsiteY3"/>
              </a:cxn>
            </a:cxnLst>
            <a:rect l="l" t="t" r="r" b="b"/>
            <a:pathLst>
              <a:path w="2400300" h="2400300">
                <a:moveTo>
                  <a:pt x="0" y="0"/>
                </a:moveTo>
                <a:lnTo>
                  <a:pt x="2400300" y="0"/>
                </a:lnTo>
                <a:lnTo>
                  <a:pt x="2400300" y="2400300"/>
                </a:lnTo>
                <a:lnTo>
                  <a:pt x="0" y="2400300"/>
                </a:lnTo>
                <a:close/>
              </a:path>
            </a:pathLst>
          </a:custGeom>
          <a:solidFill>
            <a:srgbClr val="F2F2F2"/>
          </a:solidFill>
          <a:ln>
            <a:noFill/>
          </a:ln>
          <a:effectLst>
            <a:outerShdw blurRad="25400" dist="12700" dir="3000000" algn="tl"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6" name="Picture 5" descr="A close-up of a flyer&#10;&#10;Description automatically generated">
            <a:extLst>
              <a:ext uri="{FF2B5EF4-FFF2-40B4-BE49-F238E27FC236}">
                <a16:creationId xmlns:a16="http://schemas.microsoft.com/office/drawing/2014/main" id="{7879A382-9CE1-15F6-A122-71136F07889F}"/>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300875" y="99919"/>
            <a:ext cx="4303220" cy="6232356"/>
          </a:xfrm>
          <a:prstGeom prst="rect">
            <a:avLst/>
          </a:prstGeom>
        </p:spPr>
      </p:pic>
      <p:sp>
        <p:nvSpPr>
          <p:cNvPr id="5" name="Footer Placeholder 4">
            <a:extLst>
              <a:ext uri="{FF2B5EF4-FFF2-40B4-BE49-F238E27FC236}">
                <a16:creationId xmlns:a16="http://schemas.microsoft.com/office/drawing/2014/main" id="{1219DE75-CB94-02DA-6A1A-55D0A96DF70D}"/>
              </a:ext>
            </a:extLst>
          </p:cNvPr>
          <p:cNvSpPr>
            <a:spLocks noGrp="1"/>
          </p:cNvSpPr>
          <p:nvPr>
            <p:ph type="ftr" sz="quarter" idx="11"/>
          </p:nvPr>
        </p:nvSpPr>
        <p:spPr>
          <a:xfrm>
            <a:off x="4038600" y="6356350"/>
            <a:ext cx="4114800" cy="365125"/>
          </a:xfrm>
        </p:spPr>
        <p:txBody>
          <a:bodyPr>
            <a:normAutofit/>
          </a:bodyPr>
          <a:lstStyle/>
          <a:p>
            <a:pPr>
              <a:spcAft>
                <a:spcPts val="600"/>
              </a:spcAft>
            </a:pPr>
            <a:r>
              <a:rPr lang="en-US" sz="1000"/>
              <a:t>Illinois Perinatal Quality Collaborative</a:t>
            </a:r>
          </a:p>
        </p:txBody>
      </p:sp>
      <p:sp>
        <p:nvSpPr>
          <p:cNvPr id="17" name="Freeform: Shape 16">
            <a:extLst>
              <a:ext uri="{FF2B5EF4-FFF2-40B4-BE49-F238E27FC236}">
                <a16:creationId xmlns:a16="http://schemas.microsoft.com/office/drawing/2014/main" id="{3B9FD11D-7561-43C8-BE54-00D7DCF0E2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55391" y="5800300"/>
            <a:ext cx="5736610" cy="1057702"/>
          </a:xfrm>
          <a:custGeom>
            <a:avLst/>
            <a:gdLst>
              <a:gd name="connsiteX0" fmla="*/ 5741575 w 5741575"/>
              <a:gd name="connsiteY0" fmla="*/ 0 h 955271"/>
              <a:gd name="connsiteX1" fmla="*/ 5741575 w 5741575"/>
              <a:gd name="connsiteY1" fmla="*/ 955271 h 955271"/>
              <a:gd name="connsiteX2" fmla="*/ 0 w 5741575"/>
              <a:gd name="connsiteY2" fmla="*/ 955271 h 955271"/>
              <a:gd name="connsiteX3" fmla="*/ 8558 w 5741575"/>
              <a:gd name="connsiteY3" fmla="*/ 953971 h 955271"/>
              <a:gd name="connsiteX4" fmla="*/ 16894 w 5741575"/>
              <a:gd name="connsiteY4" fmla="*/ 953847 h 955271"/>
              <a:gd name="connsiteX5" fmla="*/ 28156 w 5741575"/>
              <a:gd name="connsiteY5" fmla="*/ 951374 h 955271"/>
              <a:gd name="connsiteX6" fmla="*/ 28293 w 5741575"/>
              <a:gd name="connsiteY6" fmla="*/ 950971 h 955271"/>
              <a:gd name="connsiteX7" fmla="*/ 39115 w 5741575"/>
              <a:gd name="connsiteY7" fmla="*/ 949326 h 955271"/>
              <a:gd name="connsiteX8" fmla="*/ 93851 w 5741575"/>
              <a:gd name="connsiteY8" fmla="*/ 945611 h 955271"/>
              <a:gd name="connsiteX9" fmla="*/ 148657 w 5741575"/>
              <a:gd name="connsiteY9" fmla="*/ 898134 h 955271"/>
              <a:gd name="connsiteX10" fmla="*/ 174554 w 5741575"/>
              <a:gd name="connsiteY10" fmla="*/ 886351 h 955271"/>
              <a:gd name="connsiteX11" fmla="*/ 187633 w 5741575"/>
              <a:gd name="connsiteY11" fmla="*/ 878226 h 955271"/>
              <a:gd name="connsiteX12" fmla="*/ 187961 w 5741575"/>
              <a:gd name="connsiteY12" fmla="*/ 876538 h 955271"/>
              <a:gd name="connsiteX13" fmla="*/ 240501 w 5741575"/>
              <a:gd name="connsiteY13" fmla="*/ 873150 h 955271"/>
              <a:gd name="connsiteX14" fmla="*/ 246345 w 5741575"/>
              <a:gd name="connsiteY14" fmla="*/ 869942 h 955271"/>
              <a:gd name="connsiteX15" fmla="*/ 282041 w 5741575"/>
              <a:gd name="connsiteY15" fmla="*/ 871263 h 955271"/>
              <a:gd name="connsiteX16" fmla="*/ 299711 w 5741575"/>
              <a:gd name="connsiteY16" fmla="*/ 870064 h 955271"/>
              <a:gd name="connsiteX17" fmla="*/ 306299 w 5741575"/>
              <a:gd name="connsiteY17" fmla="*/ 873609 h 955271"/>
              <a:gd name="connsiteX18" fmla="*/ 331571 w 5741575"/>
              <a:gd name="connsiteY18" fmla="*/ 869866 h 955271"/>
              <a:gd name="connsiteX19" fmla="*/ 333872 w 5741575"/>
              <a:gd name="connsiteY19" fmla="*/ 867971 h 955271"/>
              <a:gd name="connsiteX20" fmla="*/ 356953 w 5741575"/>
              <a:gd name="connsiteY20" fmla="*/ 870334 h 955271"/>
              <a:gd name="connsiteX21" fmla="*/ 379005 w 5741575"/>
              <a:gd name="connsiteY21" fmla="*/ 878900 h 955271"/>
              <a:gd name="connsiteX22" fmla="*/ 585428 w 5741575"/>
              <a:gd name="connsiteY22" fmla="*/ 826440 h 955271"/>
              <a:gd name="connsiteX23" fmla="*/ 787156 w 5741575"/>
              <a:gd name="connsiteY23" fmla="*/ 838447 h 955271"/>
              <a:gd name="connsiteX24" fmla="*/ 898586 w 5741575"/>
              <a:gd name="connsiteY24" fmla="*/ 808502 h 955271"/>
              <a:gd name="connsiteX25" fmla="*/ 924063 w 5741575"/>
              <a:gd name="connsiteY25" fmla="*/ 770210 h 955271"/>
              <a:gd name="connsiteX26" fmla="*/ 1212574 w 5741575"/>
              <a:gd name="connsiteY26" fmla="*/ 724238 h 955271"/>
              <a:gd name="connsiteX27" fmla="*/ 1280768 w 5741575"/>
              <a:gd name="connsiteY27" fmla="*/ 699122 h 955271"/>
              <a:gd name="connsiteX28" fmla="*/ 1352027 w 5741575"/>
              <a:gd name="connsiteY28" fmla="*/ 704323 h 955271"/>
              <a:gd name="connsiteX29" fmla="*/ 1374314 w 5741575"/>
              <a:gd name="connsiteY29" fmla="*/ 688815 h 955271"/>
              <a:gd name="connsiteX30" fmla="*/ 1378034 w 5741575"/>
              <a:gd name="connsiteY30" fmla="*/ 685842 h 955271"/>
              <a:gd name="connsiteX31" fmla="*/ 1395604 w 5741575"/>
              <a:gd name="connsiteY31" fmla="*/ 680460 h 955271"/>
              <a:gd name="connsiteX32" fmla="*/ 1397206 w 5741575"/>
              <a:gd name="connsiteY32" fmla="*/ 670793 h 955271"/>
              <a:gd name="connsiteX33" fmla="*/ 1421250 w 5741575"/>
              <a:gd name="connsiteY33" fmla="*/ 656855 h 955271"/>
              <a:gd name="connsiteX34" fmla="*/ 1454524 w 5741575"/>
              <a:gd name="connsiteY34" fmla="*/ 649224 h 955271"/>
              <a:gd name="connsiteX35" fmla="*/ 1616217 w 5741575"/>
              <a:gd name="connsiteY35" fmla="*/ 622107 h 955271"/>
              <a:gd name="connsiteX36" fmla="*/ 1710928 w 5741575"/>
              <a:gd name="connsiteY36" fmla="*/ 600666 h 955271"/>
              <a:gd name="connsiteX37" fmla="*/ 1743718 w 5741575"/>
              <a:gd name="connsiteY37" fmla="*/ 584327 h 955271"/>
              <a:gd name="connsiteX38" fmla="*/ 1791651 w 5741575"/>
              <a:gd name="connsiteY38" fmla="*/ 567019 h 955271"/>
              <a:gd name="connsiteX39" fmla="*/ 1873778 w 5741575"/>
              <a:gd name="connsiteY39" fmla="*/ 530130 h 955271"/>
              <a:gd name="connsiteX40" fmla="*/ 1988411 w 5741575"/>
              <a:gd name="connsiteY40" fmla="*/ 491599 h 955271"/>
              <a:gd name="connsiteX41" fmla="*/ 2085507 w 5741575"/>
              <a:gd name="connsiteY41" fmla="*/ 498527 h 955271"/>
              <a:gd name="connsiteX42" fmla="*/ 2090767 w 5741575"/>
              <a:gd name="connsiteY42" fmla="*/ 490616 h 955271"/>
              <a:gd name="connsiteX43" fmla="*/ 2151143 w 5741575"/>
              <a:gd name="connsiteY43" fmla="*/ 478332 h 955271"/>
              <a:gd name="connsiteX44" fmla="*/ 2378710 w 5741575"/>
              <a:gd name="connsiteY44" fmla="*/ 477570 h 955271"/>
              <a:gd name="connsiteX45" fmla="*/ 2496256 w 5741575"/>
              <a:gd name="connsiteY45" fmla="*/ 452396 h 955271"/>
              <a:gd name="connsiteX46" fmla="*/ 2535387 w 5741575"/>
              <a:gd name="connsiteY46" fmla="*/ 436645 h 955271"/>
              <a:gd name="connsiteX47" fmla="*/ 2601109 w 5741575"/>
              <a:gd name="connsiteY47" fmla="*/ 410678 h 955271"/>
              <a:gd name="connsiteX48" fmla="*/ 2643855 w 5741575"/>
              <a:gd name="connsiteY48" fmla="*/ 374482 h 955271"/>
              <a:gd name="connsiteX49" fmla="*/ 2657726 w 5741575"/>
              <a:gd name="connsiteY49" fmla="*/ 365841 h 955271"/>
              <a:gd name="connsiteX50" fmla="*/ 2687125 w 5741575"/>
              <a:gd name="connsiteY50" fmla="*/ 366820 h 955271"/>
              <a:gd name="connsiteX51" fmla="*/ 2697479 w 5741575"/>
              <a:gd name="connsiteY51" fmla="*/ 361430 h 955271"/>
              <a:gd name="connsiteX52" fmla="*/ 2701547 w 5741575"/>
              <a:gd name="connsiteY52" fmla="*/ 361545 h 955271"/>
              <a:gd name="connsiteX53" fmla="*/ 2711054 w 5741575"/>
              <a:gd name="connsiteY53" fmla="*/ 360597 h 955271"/>
              <a:gd name="connsiteX54" fmla="*/ 2710438 w 5741575"/>
              <a:gd name="connsiteY54" fmla="*/ 366958 h 955271"/>
              <a:gd name="connsiteX55" fmla="*/ 2722936 w 5741575"/>
              <a:gd name="connsiteY55" fmla="*/ 377633 h 955271"/>
              <a:gd name="connsiteX56" fmla="*/ 2777227 w 5741575"/>
              <a:gd name="connsiteY56" fmla="*/ 368972 h 955271"/>
              <a:gd name="connsiteX57" fmla="*/ 2779510 w 5741575"/>
              <a:gd name="connsiteY57" fmla="*/ 361652 h 955271"/>
              <a:gd name="connsiteX58" fmla="*/ 2786278 w 5741575"/>
              <a:gd name="connsiteY58" fmla="*/ 359869 h 955271"/>
              <a:gd name="connsiteX59" fmla="*/ 2792101 w 5741575"/>
              <a:gd name="connsiteY59" fmla="*/ 365927 h 955271"/>
              <a:gd name="connsiteX60" fmla="*/ 2885545 w 5741575"/>
              <a:gd name="connsiteY60" fmla="*/ 372818 h 955271"/>
              <a:gd name="connsiteX61" fmla="*/ 3009558 w 5741575"/>
              <a:gd name="connsiteY61" fmla="*/ 370573 h 955271"/>
              <a:gd name="connsiteX62" fmla="*/ 3095010 w 5741575"/>
              <a:gd name="connsiteY62" fmla="*/ 332454 h 955271"/>
              <a:gd name="connsiteX63" fmla="*/ 3103742 w 5741575"/>
              <a:gd name="connsiteY63" fmla="*/ 337974 h 955271"/>
              <a:gd name="connsiteX64" fmla="*/ 3165093 w 5741575"/>
              <a:gd name="connsiteY64" fmla="*/ 329459 h 955271"/>
              <a:gd name="connsiteX65" fmla="*/ 3373785 w 5741575"/>
              <a:gd name="connsiteY65" fmla="*/ 255680 h 955271"/>
              <a:gd name="connsiteX66" fmla="*/ 3493851 w 5741575"/>
              <a:gd name="connsiteY66" fmla="*/ 240255 h 955271"/>
              <a:gd name="connsiteX67" fmla="*/ 3537470 w 5741575"/>
              <a:gd name="connsiteY67" fmla="*/ 241867 h 955271"/>
              <a:gd name="connsiteX68" fmla="*/ 3610489 w 5741575"/>
              <a:gd name="connsiteY68" fmla="*/ 244128 h 955271"/>
              <a:gd name="connsiteX69" fmla="*/ 3667539 w 5741575"/>
              <a:gd name="connsiteY69" fmla="*/ 263271 h 955271"/>
              <a:gd name="connsiteX70" fmla="*/ 3727614 w 5741575"/>
              <a:gd name="connsiteY70" fmla="*/ 258245 h 955271"/>
              <a:gd name="connsiteX71" fmla="*/ 3738369 w 5741575"/>
              <a:gd name="connsiteY71" fmla="*/ 234506 h 955271"/>
              <a:gd name="connsiteX72" fmla="*/ 3803670 w 5741575"/>
              <a:gd name="connsiteY72" fmla="*/ 236457 h 955271"/>
              <a:gd name="connsiteX73" fmla="*/ 3903080 w 5741575"/>
              <a:gd name="connsiteY73" fmla="*/ 241890 h 955271"/>
              <a:gd name="connsiteX74" fmla="*/ 3959588 w 5741575"/>
              <a:gd name="connsiteY74" fmla="*/ 239195 h 955271"/>
              <a:gd name="connsiteX75" fmla="*/ 4114838 w 5741575"/>
              <a:gd name="connsiteY75" fmla="*/ 238165 h 955271"/>
              <a:gd name="connsiteX76" fmla="*/ 4271023 w 5741575"/>
              <a:gd name="connsiteY76" fmla="*/ 241959 h 955271"/>
              <a:gd name="connsiteX77" fmla="*/ 4367397 w 5741575"/>
              <a:gd name="connsiteY77" fmla="*/ 271442 h 955271"/>
              <a:gd name="connsiteX78" fmla="*/ 4495366 w 5741575"/>
              <a:gd name="connsiteY78" fmla="*/ 271618 h 955271"/>
              <a:gd name="connsiteX79" fmla="*/ 4517347 w 5741575"/>
              <a:gd name="connsiteY79" fmla="*/ 275639 h 955271"/>
              <a:gd name="connsiteX80" fmla="*/ 4546116 w 5741575"/>
              <a:gd name="connsiteY80" fmla="*/ 268568 h 955271"/>
              <a:gd name="connsiteX81" fmla="*/ 4661259 w 5741575"/>
              <a:gd name="connsiteY81" fmla="*/ 238966 h 955271"/>
              <a:gd name="connsiteX82" fmla="*/ 4750403 w 5741575"/>
              <a:gd name="connsiteY82" fmla="*/ 204364 h 955271"/>
              <a:gd name="connsiteX83" fmla="*/ 4867614 w 5741575"/>
              <a:gd name="connsiteY83" fmla="*/ 208668 h 955271"/>
              <a:gd name="connsiteX84" fmla="*/ 4937036 w 5741575"/>
              <a:gd name="connsiteY84" fmla="*/ 195446 h 955271"/>
              <a:gd name="connsiteX85" fmla="*/ 5047626 w 5741575"/>
              <a:gd name="connsiteY85" fmla="*/ 149604 h 955271"/>
              <a:gd name="connsiteX86" fmla="*/ 5200247 w 5741575"/>
              <a:gd name="connsiteY86" fmla="*/ 142695 h 955271"/>
              <a:gd name="connsiteX87" fmla="*/ 5235691 w 5741575"/>
              <a:gd name="connsiteY87" fmla="*/ 173330 h 955271"/>
              <a:gd name="connsiteX88" fmla="*/ 5280133 w 5741575"/>
              <a:gd name="connsiteY88" fmla="*/ 189342 h 955271"/>
              <a:gd name="connsiteX89" fmla="*/ 5291963 w 5741575"/>
              <a:gd name="connsiteY89" fmla="*/ 139446 h 955271"/>
              <a:gd name="connsiteX90" fmla="*/ 5418472 w 5741575"/>
              <a:gd name="connsiteY90" fmla="*/ 89163 h 955271"/>
              <a:gd name="connsiteX91" fmla="*/ 5482354 w 5741575"/>
              <a:gd name="connsiteY91" fmla="*/ 69470 h 955271"/>
              <a:gd name="connsiteX92" fmla="*/ 5583280 w 5741575"/>
              <a:gd name="connsiteY92" fmla="*/ 49787 h 955271"/>
              <a:gd name="connsiteX93" fmla="*/ 5613766 w 5741575"/>
              <a:gd name="connsiteY93" fmla="*/ 41855 h 955271"/>
              <a:gd name="connsiteX94" fmla="*/ 5684952 w 5741575"/>
              <a:gd name="connsiteY94" fmla="*/ 26088 h 955271"/>
              <a:gd name="connsiteX0" fmla="*/ 5741575 w 5741575"/>
              <a:gd name="connsiteY0" fmla="*/ 0 h 955271"/>
              <a:gd name="connsiteX1" fmla="*/ 5741575 w 5741575"/>
              <a:gd name="connsiteY1" fmla="*/ 955271 h 955271"/>
              <a:gd name="connsiteX2" fmla="*/ 0 w 5741575"/>
              <a:gd name="connsiteY2" fmla="*/ 955271 h 955271"/>
              <a:gd name="connsiteX3" fmla="*/ 8558 w 5741575"/>
              <a:gd name="connsiteY3" fmla="*/ 953971 h 955271"/>
              <a:gd name="connsiteX4" fmla="*/ 16894 w 5741575"/>
              <a:gd name="connsiteY4" fmla="*/ 953847 h 955271"/>
              <a:gd name="connsiteX5" fmla="*/ 28156 w 5741575"/>
              <a:gd name="connsiteY5" fmla="*/ 951374 h 955271"/>
              <a:gd name="connsiteX6" fmla="*/ 28293 w 5741575"/>
              <a:gd name="connsiteY6" fmla="*/ 950971 h 955271"/>
              <a:gd name="connsiteX7" fmla="*/ 39115 w 5741575"/>
              <a:gd name="connsiteY7" fmla="*/ 949326 h 955271"/>
              <a:gd name="connsiteX8" fmla="*/ 93851 w 5741575"/>
              <a:gd name="connsiteY8" fmla="*/ 945611 h 955271"/>
              <a:gd name="connsiteX9" fmla="*/ 148657 w 5741575"/>
              <a:gd name="connsiteY9" fmla="*/ 898134 h 955271"/>
              <a:gd name="connsiteX10" fmla="*/ 174554 w 5741575"/>
              <a:gd name="connsiteY10" fmla="*/ 886351 h 955271"/>
              <a:gd name="connsiteX11" fmla="*/ 187633 w 5741575"/>
              <a:gd name="connsiteY11" fmla="*/ 878226 h 955271"/>
              <a:gd name="connsiteX12" fmla="*/ 187961 w 5741575"/>
              <a:gd name="connsiteY12" fmla="*/ 876538 h 955271"/>
              <a:gd name="connsiteX13" fmla="*/ 240501 w 5741575"/>
              <a:gd name="connsiteY13" fmla="*/ 873150 h 955271"/>
              <a:gd name="connsiteX14" fmla="*/ 246345 w 5741575"/>
              <a:gd name="connsiteY14" fmla="*/ 869942 h 955271"/>
              <a:gd name="connsiteX15" fmla="*/ 282041 w 5741575"/>
              <a:gd name="connsiteY15" fmla="*/ 871263 h 955271"/>
              <a:gd name="connsiteX16" fmla="*/ 299711 w 5741575"/>
              <a:gd name="connsiteY16" fmla="*/ 870064 h 955271"/>
              <a:gd name="connsiteX17" fmla="*/ 306299 w 5741575"/>
              <a:gd name="connsiteY17" fmla="*/ 873609 h 955271"/>
              <a:gd name="connsiteX18" fmla="*/ 331571 w 5741575"/>
              <a:gd name="connsiteY18" fmla="*/ 869866 h 955271"/>
              <a:gd name="connsiteX19" fmla="*/ 333872 w 5741575"/>
              <a:gd name="connsiteY19" fmla="*/ 867971 h 955271"/>
              <a:gd name="connsiteX20" fmla="*/ 356953 w 5741575"/>
              <a:gd name="connsiteY20" fmla="*/ 870334 h 955271"/>
              <a:gd name="connsiteX21" fmla="*/ 379005 w 5741575"/>
              <a:gd name="connsiteY21" fmla="*/ 878900 h 955271"/>
              <a:gd name="connsiteX22" fmla="*/ 585428 w 5741575"/>
              <a:gd name="connsiteY22" fmla="*/ 826440 h 955271"/>
              <a:gd name="connsiteX23" fmla="*/ 787156 w 5741575"/>
              <a:gd name="connsiteY23" fmla="*/ 838447 h 955271"/>
              <a:gd name="connsiteX24" fmla="*/ 898586 w 5741575"/>
              <a:gd name="connsiteY24" fmla="*/ 808502 h 955271"/>
              <a:gd name="connsiteX25" fmla="*/ 924063 w 5741575"/>
              <a:gd name="connsiteY25" fmla="*/ 770210 h 955271"/>
              <a:gd name="connsiteX26" fmla="*/ 1212574 w 5741575"/>
              <a:gd name="connsiteY26" fmla="*/ 724238 h 955271"/>
              <a:gd name="connsiteX27" fmla="*/ 1280768 w 5741575"/>
              <a:gd name="connsiteY27" fmla="*/ 699122 h 955271"/>
              <a:gd name="connsiteX28" fmla="*/ 1352027 w 5741575"/>
              <a:gd name="connsiteY28" fmla="*/ 704323 h 955271"/>
              <a:gd name="connsiteX29" fmla="*/ 1374314 w 5741575"/>
              <a:gd name="connsiteY29" fmla="*/ 688815 h 955271"/>
              <a:gd name="connsiteX30" fmla="*/ 1378034 w 5741575"/>
              <a:gd name="connsiteY30" fmla="*/ 685842 h 955271"/>
              <a:gd name="connsiteX31" fmla="*/ 1395604 w 5741575"/>
              <a:gd name="connsiteY31" fmla="*/ 680460 h 955271"/>
              <a:gd name="connsiteX32" fmla="*/ 1397206 w 5741575"/>
              <a:gd name="connsiteY32" fmla="*/ 670793 h 955271"/>
              <a:gd name="connsiteX33" fmla="*/ 1421250 w 5741575"/>
              <a:gd name="connsiteY33" fmla="*/ 656855 h 955271"/>
              <a:gd name="connsiteX34" fmla="*/ 1454524 w 5741575"/>
              <a:gd name="connsiteY34" fmla="*/ 649224 h 955271"/>
              <a:gd name="connsiteX35" fmla="*/ 1616217 w 5741575"/>
              <a:gd name="connsiteY35" fmla="*/ 622107 h 955271"/>
              <a:gd name="connsiteX36" fmla="*/ 1710928 w 5741575"/>
              <a:gd name="connsiteY36" fmla="*/ 600666 h 955271"/>
              <a:gd name="connsiteX37" fmla="*/ 1743718 w 5741575"/>
              <a:gd name="connsiteY37" fmla="*/ 584327 h 955271"/>
              <a:gd name="connsiteX38" fmla="*/ 1791651 w 5741575"/>
              <a:gd name="connsiteY38" fmla="*/ 567019 h 955271"/>
              <a:gd name="connsiteX39" fmla="*/ 1873778 w 5741575"/>
              <a:gd name="connsiteY39" fmla="*/ 530130 h 955271"/>
              <a:gd name="connsiteX40" fmla="*/ 1988411 w 5741575"/>
              <a:gd name="connsiteY40" fmla="*/ 491599 h 955271"/>
              <a:gd name="connsiteX41" fmla="*/ 2085507 w 5741575"/>
              <a:gd name="connsiteY41" fmla="*/ 498527 h 955271"/>
              <a:gd name="connsiteX42" fmla="*/ 2090767 w 5741575"/>
              <a:gd name="connsiteY42" fmla="*/ 490616 h 955271"/>
              <a:gd name="connsiteX43" fmla="*/ 2151143 w 5741575"/>
              <a:gd name="connsiteY43" fmla="*/ 478332 h 955271"/>
              <a:gd name="connsiteX44" fmla="*/ 2378710 w 5741575"/>
              <a:gd name="connsiteY44" fmla="*/ 477570 h 955271"/>
              <a:gd name="connsiteX45" fmla="*/ 2496256 w 5741575"/>
              <a:gd name="connsiteY45" fmla="*/ 452396 h 955271"/>
              <a:gd name="connsiteX46" fmla="*/ 2535387 w 5741575"/>
              <a:gd name="connsiteY46" fmla="*/ 436645 h 955271"/>
              <a:gd name="connsiteX47" fmla="*/ 2601109 w 5741575"/>
              <a:gd name="connsiteY47" fmla="*/ 410678 h 955271"/>
              <a:gd name="connsiteX48" fmla="*/ 2643855 w 5741575"/>
              <a:gd name="connsiteY48" fmla="*/ 374482 h 955271"/>
              <a:gd name="connsiteX49" fmla="*/ 2657726 w 5741575"/>
              <a:gd name="connsiteY49" fmla="*/ 365841 h 955271"/>
              <a:gd name="connsiteX50" fmla="*/ 2687125 w 5741575"/>
              <a:gd name="connsiteY50" fmla="*/ 366820 h 955271"/>
              <a:gd name="connsiteX51" fmla="*/ 2697479 w 5741575"/>
              <a:gd name="connsiteY51" fmla="*/ 361430 h 955271"/>
              <a:gd name="connsiteX52" fmla="*/ 2701547 w 5741575"/>
              <a:gd name="connsiteY52" fmla="*/ 361545 h 955271"/>
              <a:gd name="connsiteX53" fmla="*/ 2711054 w 5741575"/>
              <a:gd name="connsiteY53" fmla="*/ 360597 h 955271"/>
              <a:gd name="connsiteX54" fmla="*/ 2710438 w 5741575"/>
              <a:gd name="connsiteY54" fmla="*/ 366958 h 955271"/>
              <a:gd name="connsiteX55" fmla="*/ 2722936 w 5741575"/>
              <a:gd name="connsiteY55" fmla="*/ 377633 h 955271"/>
              <a:gd name="connsiteX56" fmla="*/ 2777227 w 5741575"/>
              <a:gd name="connsiteY56" fmla="*/ 368972 h 955271"/>
              <a:gd name="connsiteX57" fmla="*/ 2779510 w 5741575"/>
              <a:gd name="connsiteY57" fmla="*/ 361652 h 955271"/>
              <a:gd name="connsiteX58" fmla="*/ 2786278 w 5741575"/>
              <a:gd name="connsiteY58" fmla="*/ 359869 h 955271"/>
              <a:gd name="connsiteX59" fmla="*/ 2792101 w 5741575"/>
              <a:gd name="connsiteY59" fmla="*/ 365927 h 955271"/>
              <a:gd name="connsiteX60" fmla="*/ 2885545 w 5741575"/>
              <a:gd name="connsiteY60" fmla="*/ 372818 h 955271"/>
              <a:gd name="connsiteX61" fmla="*/ 3009558 w 5741575"/>
              <a:gd name="connsiteY61" fmla="*/ 370573 h 955271"/>
              <a:gd name="connsiteX62" fmla="*/ 3095010 w 5741575"/>
              <a:gd name="connsiteY62" fmla="*/ 332454 h 955271"/>
              <a:gd name="connsiteX63" fmla="*/ 3103742 w 5741575"/>
              <a:gd name="connsiteY63" fmla="*/ 337974 h 955271"/>
              <a:gd name="connsiteX64" fmla="*/ 3165093 w 5741575"/>
              <a:gd name="connsiteY64" fmla="*/ 329459 h 955271"/>
              <a:gd name="connsiteX65" fmla="*/ 3373785 w 5741575"/>
              <a:gd name="connsiteY65" fmla="*/ 255680 h 955271"/>
              <a:gd name="connsiteX66" fmla="*/ 3493851 w 5741575"/>
              <a:gd name="connsiteY66" fmla="*/ 240255 h 955271"/>
              <a:gd name="connsiteX67" fmla="*/ 3537470 w 5741575"/>
              <a:gd name="connsiteY67" fmla="*/ 241867 h 955271"/>
              <a:gd name="connsiteX68" fmla="*/ 3610489 w 5741575"/>
              <a:gd name="connsiteY68" fmla="*/ 244128 h 955271"/>
              <a:gd name="connsiteX69" fmla="*/ 3667539 w 5741575"/>
              <a:gd name="connsiteY69" fmla="*/ 263271 h 955271"/>
              <a:gd name="connsiteX70" fmla="*/ 3727614 w 5741575"/>
              <a:gd name="connsiteY70" fmla="*/ 258245 h 955271"/>
              <a:gd name="connsiteX71" fmla="*/ 3738369 w 5741575"/>
              <a:gd name="connsiteY71" fmla="*/ 234506 h 955271"/>
              <a:gd name="connsiteX72" fmla="*/ 3803670 w 5741575"/>
              <a:gd name="connsiteY72" fmla="*/ 236457 h 955271"/>
              <a:gd name="connsiteX73" fmla="*/ 3903080 w 5741575"/>
              <a:gd name="connsiteY73" fmla="*/ 241890 h 955271"/>
              <a:gd name="connsiteX74" fmla="*/ 4114838 w 5741575"/>
              <a:gd name="connsiteY74" fmla="*/ 238165 h 955271"/>
              <a:gd name="connsiteX75" fmla="*/ 4271023 w 5741575"/>
              <a:gd name="connsiteY75" fmla="*/ 241959 h 955271"/>
              <a:gd name="connsiteX76" fmla="*/ 4367397 w 5741575"/>
              <a:gd name="connsiteY76" fmla="*/ 271442 h 955271"/>
              <a:gd name="connsiteX77" fmla="*/ 4495366 w 5741575"/>
              <a:gd name="connsiteY77" fmla="*/ 271618 h 955271"/>
              <a:gd name="connsiteX78" fmla="*/ 4517347 w 5741575"/>
              <a:gd name="connsiteY78" fmla="*/ 275639 h 955271"/>
              <a:gd name="connsiteX79" fmla="*/ 4546116 w 5741575"/>
              <a:gd name="connsiteY79" fmla="*/ 268568 h 955271"/>
              <a:gd name="connsiteX80" fmla="*/ 4661259 w 5741575"/>
              <a:gd name="connsiteY80" fmla="*/ 238966 h 955271"/>
              <a:gd name="connsiteX81" fmla="*/ 4750403 w 5741575"/>
              <a:gd name="connsiteY81" fmla="*/ 204364 h 955271"/>
              <a:gd name="connsiteX82" fmla="*/ 4867614 w 5741575"/>
              <a:gd name="connsiteY82" fmla="*/ 208668 h 955271"/>
              <a:gd name="connsiteX83" fmla="*/ 4937036 w 5741575"/>
              <a:gd name="connsiteY83" fmla="*/ 195446 h 955271"/>
              <a:gd name="connsiteX84" fmla="*/ 5047626 w 5741575"/>
              <a:gd name="connsiteY84" fmla="*/ 149604 h 955271"/>
              <a:gd name="connsiteX85" fmla="*/ 5200247 w 5741575"/>
              <a:gd name="connsiteY85" fmla="*/ 142695 h 955271"/>
              <a:gd name="connsiteX86" fmla="*/ 5235691 w 5741575"/>
              <a:gd name="connsiteY86" fmla="*/ 173330 h 955271"/>
              <a:gd name="connsiteX87" fmla="*/ 5280133 w 5741575"/>
              <a:gd name="connsiteY87" fmla="*/ 189342 h 955271"/>
              <a:gd name="connsiteX88" fmla="*/ 5291963 w 5741575"/>
              <a:gd name="connsiteY88" fmla="*/ 139446 h 955271"/>
              <a:gd name="connsiteX89" fmla="*/ 5418472 w 5741575"/>
              <a:gd name="connsiteY89" fmla="*/ 89163 h 955271"/>
              <a:gd name="connsiteX90" fmla="*/ 5482354 w 5741575"/>
              <a:gd name="connsiteY90" fmla="*/ 69470 h 955271"/>
              <a:gd name="connsiteX91" fmla="*/ 5583280 w 5741575"/>
              <a:gd name="connsiteY91" fmla="*/ 49787 h 955271"/>
              <a:gd name="connsiteX92" fmla="*/ 5613766 w 5741575"/>
              <a:gd name="connsiteY92" fmla="*/ 41855 h 955271"/>
              <a:gd name="connsiteX93" fmla="*/ 5684952 w 5741575"/>
              <a:gd name="connsiteY93" fmla="*/ 26088 h 955271"/>
              <a:gd name="connsiteX94" fmla="*/ 5741575 w 5741575"/>
              <a:gd name="connsiteY94" fmla="*/ 0 h 955271"/>
              <a:gd name="connsiteX0" fmla="*/ 5741575 w 5741575"/>
              <a:gd name="connsiteY0" fmla="*/ 0 h 955271"/>
              <a:gd name="connsiteX1" fmla="*/ 5741575 w 5741575"/>
              <a:gd name="connsiteY1" fmla="*/ 955271 h 955271"/>
              <a:gd name="connsiteX2" fmla="*/ 0 w 5741575"/>
              <a:gd name="connsiteY2" fmla="*/ 955271 h 955271"/>
              <a:gd name="connsiteX3" fmla="*/ 8558 w 5741575"/>
              <a:gd name="connsiteY3" fmla="*/ 953971 h 955271"/>
              <a:gd name="connsiteX4" fmla="*/ 16894 w 5741575"/>
              <a:gd name="connsiteY4" fmla="*/ 953847 h 955271"/>
              <a:gd name="connsiteX5" fmla="*/ 28156 w 5741575"/>
              <a:gd name="connsiteY5" fmla="*/ 951374 h 955271"/>
              <a:gd name="connsiteX6" fmla="*/ 28293 w 5741575"/>
              <a:gd name="connsiteY6" fmla="*/ 950971 h 955271"/>
              <a:gd name="connsiteX7" fmla="*/ 39115 w 5741575"/>
              <a:gd name="connsiteY7" fmla="*/ 949326 h 955271"/>
              <a:gd name="connsiteX8" fmla="*/ 93851 w 5741575"/>
              <a:gd name="connsiteY8" fmla="*/ 945611 h 955271"/>
              <a:gd name="connsiteX9" fmla="*/ 148657 w 5741575"/>
              <a:gd name="connsiteY9" fmla="*/ 898134 h 955271"/>
              <a:gd name="connsiteX10" fmla="*/ 174554 w 5741575"/>
              <a:gd name="connsiteY10" fmla="*/ 886351 h 955271"/>
              <a:gd name="connsiteX11" fmla="*/ 187633 w 5741575"/>
              <a:gd name="connsiteY11" fmla="*/ 878226 h 955271"/>
              <a:gd name="connsiteX12" fmla="*/ 187961 w 5741575"/>
              <a:gd name="connsiteY12" fmla="*/ 876538 h 955271"/>
              <a:gd name="connsiteX13" fmla="*/ 240501 w 5741575"/>
              <a:gd name="connsiteY13" fmla="*/ 873150 h 955271"/>
              <a:gd name="connsiteX14" fmla="*/ 246345 w 5741575"/>
              <a:gd name="connsiteY14" fmla="*/ 869942 h 955271"/>
              <a:gd name="connsiteX15" fmla="*/ 282041 w 5741575"/>
              <a:gd name="connsiteY15" fmla="*/ 871263 h 955271"/>
              <a:gd name="connsiteX16" fmla="*/ 299711 w 5741575"/>
              <a:gd name="connsiteY16" fmla="*/ 870064 h 955271"/>
              <a:gd name="connsiteX17" fmla="*/ 306299 w 5741575"/>
              <a:gd name="connsiteY17" fmla="*/ 873609 h 955271"/>
              <a:gd name="connsiteX18" fmla="*/ 331571 w 5741575"/>
              <a:gd name="connsiteY18" fmla="*/ 869866 h 955271"/>
              <a:gd name="connsiteX19" fmla="*/ 333872 w 5741575"/>
              <a:gd name="connsiteY19" fmla="*/ 867971 h 955271"/>
              <a:gd name="connsiteX20" fmla="*/ 356953 w 5741575"/>
              <a:gd name="connsiteY20" fmla="*/ 870334 h 955271"/>
              <a:gd name="connsiteX21" fmla="*/ 379005 w 5741575"/>
              <a:gd name="connsiteY21" fmla="*/ 878900 h 955271"/>
              <a:gd name="connsiteX22" fmla="*/ 585428 w 5741575"/>
              <a:gd name="connsiteY22" fmla="*/ 826440 h 955271"/>
              <a:gd name="connsiteX23" fmla="*/ 787156 w 5741575"/>
              <a:gd name="connsiteY23" fmla="*/ 838447 h 955271"/>
              <a:gd name="connsiteX24" fmla="*/ 898586 w 5741575"/>
              <a:gd name="connsiteY24" fmla="*/ 808502 h 955271"/>
              <a:gd name="connsiteX25" fmla="*/ 924063 w 5741575"/>
              <a:gd name="connsiteY25" fmla="*/ 770210 h 955271"/>
              <a:gd name="connsiteX26" fmla="*/ 1212574 w 5741575"/>
              <a:gd name="connsiteY26" fmla="*/ 724238 h 955271"/>
              <a:gd name="connsiteX27" fmla="*/ 1280768 w 5741575"/>
              <a:gd name="connsiteY27" fmla="*/ 699122 h 955271"/>
              <a:gd name="connsiteX28" fmla="*/ 1352027 w 5741575"/>
              <a:gd name="connsiteY28" fmla="*/ 704323 h 955271"/>
              <a:gd name="connsiteX29" fmla="*/ 1374314 w 5741575"/>
              <a:gd name="connsiteY29" fmla="*/ 688815 h 955271"/>
              <a:gd name="connsiteX30" fmla="*/ 1378034 w 5741575"/>
              <a:gd name="connsiteY30" fmla="*/ 685842 h 955271"/>
              <a:gd name="connsiteX31" fmla="*/ 1395604 w 5741575"/>
              <a:gd name="connsiteY31" fmla="*/ 680460 h 955271"/>
              <a:gd name="connsiteX32" fmla="*/ 1397206 w 5741575"/>
              <a:gd name="connsiteY32" fmla="*/ 670793 h 955271"/>
              <a:gd name="connsiteX33" fmla="*/ 1421250 w 5741575"/>
              <a:gd name="connsiteY33" fmla="*/ 656855 h 955271"/>
              <a:gd name="connsiteX34" fmla="*/ 1454524 w 5741575"/>
              <a:gd name="connsiteY34" fmla="*/ 649224 h 955271"/>
              <a:gd name="connsiteX35" fmla="*/ 1616217 w 5741575"/>
              <a:gd name="connsiteY35" fmla="*/ 622107 h 955271"/>
              <a:gd name="connsiteX36" fmla="*/ 1710928 w 5741575"/>
              <a:gd name="connsiteY36" fmla="*/ 600666 h 955271"/>
              <a:gd name="connsiteX37" fmla="*/ 1743718 w 5741575"/>
              <a:gd name="connsiteY37" fmla="*/ 584327 h 955271"/>
              <a:gd name="connsiteX38" fmla="*/ 1873778 w 5741575"/>
              <a:gd name="connsiteY38" fmla="*/ 530130 h 955271"/>
              <a:gd name="connsiteX39" fmla="*/ 1988411 w 5741575"/>
              <a:gd name="connsiteY39" fmla="*/ 491599 h 955271"/>
              <a:gd name="connsiteX40" fmla="*/ 2085507 w 5741575"/>
              <a:gd name="connsiteY40" fmla="*/ 498527 h 955271"/>
              <a:gd name="connsiteX41" fmla="*/ 2090767 w 5741575"/>
              <a:gd name="connsiteY41" fmla="*/ 490616 h 955271"/>
              <a:gd name="connsiteX42" fmla="*/ 2151143 w 5741575"/>
              <a:gd name="connsiteY42" fmla="*/ 478332 h 955271"/>
              <a:gd name="connsiteX43" fmla="*/ 2378710 w 5741575"/>
              <a:gd name="connsiteY43" fmla="*/ 477570 h 955271"/>
              <a:gd name="connsiteX44" fmla="*/ 2496256 w 5741575"/>
              <a:gd name="connsiteY44" fmla="*/ 452396 h 955271"/>
              <a:gd name="connsiteX45" fmla="*/ 2535387 w 5741575"/>
              <a:gd name="connsiteY45" fmla="*/ 436645 h 955271"/>
              <a:gd name="connsiteX46" fmla="*/ 2601109 w 5741575"/>
              <a:gd name="connsiteY46" fmla="*/ 410678 h 955271"/>
              <a:gd name="connsiteX47" fmla="*/ 2643855 w 5741575"/>
              <a:gd name="connsiteY47" fmla="*/ 374482 h 955271"/>
              <a:gd name="connsiteX48" fmla="*/ 2657726 w 5741575"/>
              <a:gd name="connsiteY48" fmla="*/ 365841 h 955271"/>
              <a:gd name="connsiteX49" fmla="*/ 2687125 w 5741575"/>
              <a:gd name="connsiteY49" fmla="*/ 366820 h 955271"/>
              <a:gd name="connsiteX50" fmla="*/ 2697479 w 5741575"/>
              <a:gd name="connsiteY50" fmla="*/ 361430 h 955271"/>
              <a:gd name="connsiteX51" fmla="*/ 2701547 w 5741575"/>
              <a:gd name="connsiteY51" fmla="*/ 361545 h 955271"/>
              <a:gd name="connsiteX52" fmla="*/ 2711054 w 5741575"/>
              <a:gd name="connsiteY52" fmla="*/ 360597 h 955271"/>
              <a:gd name="connsiteX53" fmla="*/ 2710438 w 5741575"/>
              <a:gd name="connsiteY53" fmla="*/ 366958 h 955271"/>
              <a:gd name="connsiteX54" fmla="*/ 2722936 w 5741575"/>
              <a:gd name="connsiteY54" fmla="*/ 377633 h 955271"/>
              <a:gd name="connsiteX55" fmla="*/ 2777227 w 5741575"/>
              <a:gd name="connsiteY55" fmla="*/ 368972 h 955271"/>
              <a:gd name="connsiteX56" fmla="*/ 2779510 w 5741575"/>
              <a:gd name="connsiteY56" fmla="*/ 361652 h 955271"/>
              <a:gd name="connsiteX57" fmla="*/ 2786278 w 5741575"/>
              <a:gd name="connsiteY57" fmla="*/ 359869 h 955271"/>
              <a:gd name="connsiteX58" fmla="*/ 2792101 w 5741575"/>
              <a:gd name="connsiteY58" fmla="*/ 365927 h 955271"/>
              <a:gd name="connsiteX59" fmla="*/ 2885545 w 5741575"/>
              <a:gd name="connsiteY59" fmla="*/ 372818 h 955271"/>
              <a:gd name="connsiteX60" fmla="*/ 3009558 w 5741575"/>
              <a:gd name="connsiteY60" fmla="*/ 370573 h 955271"/>
              <a:gd name="connsiteX61" fmla="*/ 3095010 w 5741575"/>
              <a:gd name="connsiteY61" fmla="*/ 332454 h 955271"/>
              <a:gd name="connsiteX62" fmla="*/ 3103742 w 5741575"/>
              <a:gd name="connsiteY62" fmla="*/ 337974 h 955271"/>
              <a:gd name="connsiteX63" fmla="*/ 3165093 w 5741575"/>
              <a:gd name="connsiteY63" fmla="*/ 329459 h 955271"/>
              <a:gd name="connsiteX64" fmla="*/ 3373785 w 5741575"/>
              <a:gd name="connsiteY64" fmla="*/ 255680 h 955271"/>
              <a:gd name="connsiteX65" fmla="*/ 3493851 w 5741575"/>
              <a:gd name="connsiteY65" fmla="*/ 240255 h 955271"/>
              <a:gd name="connsiteX66" fmla="*/ 3537470 w 5741575"/>
              <a:gd name="connsiteY66" fmla="*/ 241867 h 955271"/>
              <a:gd name="connsiteX67" fmla="*/ 3610489 w 5741575"/>
              <a:gd name="connsiteY67" fmla="*/ 244128 h 955271"/>
              <a:gd name="connsiteX68" fmla="*/ 3667539 w 5741575"/>
              <a:gd name="connsiteY68" fmla="*/ 263271 h 955271"/>
              <a:gd name="connsiteX69" fmla="*/ 3727614 w 5741575"/>
              <a:gd name="connsiteY69" fmla="*/ 258245 h 955271"/>
              <a:gd name="connsiteX70" fmla="*/ 3738369 w 5741575"/>
              <a:gd name="connsiteY70" fmla="*/ 234506 h 955271"/>
              <a:gd name="connsiteX71" fmla="*/ 3803670 w 5741575"/>
              <a:gd name="connsiteY71" fmla="*/ 236457 h 955271"/>
              <a:gd name="connsiteX72" fmla="*/ 3903080 w 5741575"/>
              <a:gd name="connsiteY72" fmla="*/ 241890 h 955271"/>
              <a:gd name="connsiteX73" fmla="*/ 4114838 w 5741575"/>
              <a:gd name="connsiteY73" fmla="*/ 238165 h 955271"/>
              <a:gd name="connsiteX74" fmla="*/ 4271023 w 5741575"/>
              <a:gd name="connsiteY74" fmla="*/ 241959 h 955271"/>
              <a:gd name="connsiteX75" fmla="*/ 4367397 w 5741575"/>
              <a:gd name="connsiteY75" fmla="*/ 271442 h 955271"/>
              <a:gd name="connsiteX76" fmla="*/ 4495366 w 5741575"/>
              <a:gd name="connsiteY76" fmla="*/ 271618 h 955271"/>
              <a:gd name="connsiteX77" fmla="*/ 4517347 w 5741575"/>
              <a:gd name="connsiteY77" fmla="*/ 275639 h 955271"/>
              <a:gd name="connsiteX78" fmla="*/ 4546116 w 5741575"/>
              <a:gd name="connsiteY78" fmla="*/ 268568 h 955271"/>
              <a:gd name="connsiteX79" fmla="*/ 4661259 w 5741575"/>
              <a:gd name="connsiteY79" fmla="*/ 238966 h 955271"/>
              <a:gd name="connsiteX80" fmla="*/ 4750403 w 5741575"/>
              <a:gd name="connsiteY80" fmla="*/ 204364 h 955271"/>
              <a:gd name="connsiteX81" fmla="*/ 4867614 w 5741575"/>
              <a:gd name="connsiteY81" fmla="*/ 208668 h 955271"/>
              <a:gd name="connsiteX82" fmla="*/ 4937036 w 5741575"/>
              <a:gd name="connsiteY82" fmla="*/ 195446 h 955271"/>
              <a:gd name="connsiteX83" fmla="*/ 5047626 w 5741575"/>
              <a:gd name="connsiteY83" fmla="*/ 149604 h 955271"/>
              <a:gd name="connsiteX84" fmla="*/ 5200247 w 5741575"/>
              <a:gd name="connsiteY84" fmla="*/ 142695 h 955271"/>
              <a:gd name="connsiteX85" fmla="*/ 5235691 w 5741575"/>
              <a:gd name="connsiteY85" fmla="*/ 173330 h 955271"/>
              <a:gd name="connsiteX86" fmla="*/ 5280133 w 5741575"/>
              <a:gd name="connsiteY86" fmla="*/ 189342 h 955271"/>
              <a:gd name="connsiteX87" fmla="*/ 5291963 w 5741575"/>
              <a:gd name="connsiteY87" fmla="*/ 139446 h 955271"/>
              <a:gd name="connsiteX88" fmla="*/ 5418472 w 5741575"/>
              <a:gd name="connsiteY88" fmla="*/ 89163 h 955271"/>
              <a:gd name="connsiteX89" fmla="*/ 5482354 w 5741575"/>
              <a:gd name="connsiteY89" fmla="*/ 69470 h 955271"/>
              <a:gd name="connsiteX90" fmla="*/ 5583280 w 5741575"/>
              <a:gd name="connsiteY90" fmla="*/ 49787 h 955271"/>
              <a:gd name="connsiteX91" fmla="*/ 5613766 w 5741575"/>
              <a:gd name="connsiteY91" fmla="*/ 41855 h 955271"/>
              <a:gd name="connsiteX92" fmla="*/ 5684952 w 5741575"/>
              <a:gd name="connsiteY92" fmla="*/ 26088 h 955271"/>
              <a:gd name="connsiteX93" fmla="*/ 5741575 w 5741575"/>
              <a:gd name="connsiteY93" fmla="*/ 0 h 955271"/>
              <a:gd name="connsiteX0" fmla="*/ 5741575 w 5741575"/>
              <a:gd name="connsiteY0" fmla="*/ 0 h 955271"/>
              <a:gd name="connsiteX1" fmla="*/ 5741575 w 5741575"/>
              <a:gd name="connsiteY1" fmla="*/ 955271 h 955271"/>
              <a:gd name="connsiteX2" fmla="*/ 0 w 5741575"/>
              <a:gd name="connsiteY2" fmla="*/ 955271 h 955271"/>
              <a:gd name="connsiteX3" fmla="*/ 8558 w 5741575"/>
              <a:gd name="connsiteY3" fmla="*/ 953971 h 955271"/>
              <a:gd name="connsiteX4" fmla="*/ 16894 w 5741575"/>
              <a:gd name="connsiteY4" fmla="*/ 953847 h 955271"/>
              <a:gd name="connsiteX5" fmla="*/ 28156 w 5741575"/>
              <a:gd name="connsiteY5" fmla="*/ 951374 h 955271"/>
              <a:gd name="connsiteX6" fmla="*/ 28293 w 5741575"/>
              <a:gd name="connsiteY6" fmla="*/ 950971 h 955271"/>
              <a:gd name="connsiteX7" fmla="*/ 39115 w 5741575"/>
              <a:gd name="connsiteY7" fmla="*/ 949326 h 955271"/>
              <a:gd name="connsiteX8" fmla="*/ 93851 w 5741575"/>
              <a:gd name="connsiteY8" fmla="*/ 945611 h 955271"/>
              <a:gd name="connsiteX9" fmla="*/ 148657 w 5741575"/>
              <a:gd name="connsiteY9" fmla="*/ 898134 h 955271"/>
              <a:gd name="connsiteX10" fmla="*/ 174554 w 5741575"/>
              <a:gd name="connsiteY10" fmla="*/ 886351 h 955271"/>
              <a:gd name="connsiteX11" fmla="*/ 187633 w 5741575"/>
              <a:gd name="connsiteY11" fmla="*/ 878226 h 955271"/>
              <a:gd name="connsiteX12" fmla="*/ 187961 w 5741575"/>
              <a:gd name="connsiteY12" fmla="*/ 876538 h 955271"/>
              <a:gd name="connsiteX13" fmla="*/ 240501 w 5741575"/>
              <a:gd name="connsiteY13" fmla="*/ 873150 h 955271"/>
              <a:gd name="connsiteX14" fmla="*/ 246345 w 5741575"/>
              <a:gd name="connsiteY14" fmla="*/ 869942 h 955271"/>
              <a:gd name="connsiteX15" fmla="*/ 282041 w 5741575"/>
              <a:gd name="connsiteY15" fmla="*/ 871263 h 955271"/>
              <a:gd name="connsiteX16" fmla="*/ 299711 w 5741575"/>
              <a:gd name="connsiteY16" fmla="*/ 870064 h 955271"/>
              <a:gd name="connsiteX17" fmla="*/ 306299 w 5741575"/>
              <a:gd name="connsiteY17" fmla="*/ 873609 h 955271"/>
              <a:gd name="connsiteX18" fmla="*/ 331571 w 5741575"/>
              <a:gd name="connsiteY18" fmla="*/ 869866 h 955271"/>
              <a:gd name="connsiteX19" fmla="*/ 333872 w 5741575"/>
              <a:gd name="connsiteY19" fmla="*/ 867971 h 955271"/>
              <a:gd name="connsiteX20" fmla="*/ 356953 w 5741575"/>
              <a:gd name="connsiteY20" fmla="*/ 870334 h 955271"/>
              <a:gd name="connsiteX21" fmla="*/ 379005 w 5741575"/>
              <a:gd name="connsiteY21" fmla="*/ 878900 h 955271"/>
              <a:gd name="connsiteX22" fmla="*/ 787156 w 5741575"/>
              <a:gd name="connsiteY22" fmla="*/ 838447 h 955271"/>
              <a:gd name="connsiteX23" fmla="*/ 898586 w 5741575"/>
              <a:gd name="connsiteY23" fmla="*/ 808502 h 955271"/>
              <a:gd name="connsiteX24" fmla="*/ 924063 w 5741575"/>
              <a:gd name="connsiteY24" fmla="*/ 770210 h 955271"/>
              <a:gd name="connsiteX25" fmla="*/ 1212574 w 5741575"/>
              <a:gd name="connsiteY25" fmla="*/ 724238 h 955271"/>
              <a:gd name="connsiteX26" fmla="*/ 1280768 w 5741575"/>
              <a:gd name="connsiteY26" fmla="*/ 699122 h 955271"/>
              <a:gd name="connsiteX27" fmla="*/ 1352027 w 5741575"/>
              <a:gd name="connsiteY27" fmla="*/ 704323 h 955271"/>
              <a:gd name="connsiteX28" fmla="*/ 1374314 w 5741575"/>
              <a:gd name="connsiteY28" fmla="*/ 688815 h 955271"/>
              <a:gd name="connsiteX29" fmla="*/ 1378034 w 5741575"/>
              <a:gd name="connsiteY29" fmla="*/ 685842 h 955271"/>
              <a:gd name="connsiteX30" fmla="*/ 1395604 w 5741575"/>
              <a:gd name="connsiteY30" fmla="*/ 680460 h 955271"/>
              <a:gd name="connsiteX31" fmla="*/ 1397206 w 5741575"/>
              <a:gd name="connsiteY31" fmla="*/ 670793 h 955271"/>
              <a:gd name="connsiteX32" fmla="*/ 1421250 w 5741575"/>
              <a:gd name="connsiteY32" fmla="*/ 656855 h 955271"/>
              <a:gd name="connsiteX33" fmla="*/ 1454524 w 5741575"/>
              <a:gd name="connsiteY33" fmla="*/ 649224 h 955271"/>
              <a:gd name="connsiteX34" fmla="*/ 1616217 w 5741575"/>
              <a:gd name="connsiteY34" fmla="*/ 622107 h 955271"/>
              <a:gd name="connsiteX35" fmla="*/ 1710928 w 5741575"/>
              <a:gd name="connsiteY35" fmla="*/ 600666 h 955271"/>
              <a:gd name="connsiteX36" fmla="*/ 1743718 w 5741575"/>
              <a:gd name="connsiteY36" fmla="*/ 584327 h 955271"/>
              <a:gd name="connsiteX37" fmla="*/ 1873778 w 5741575"/>
              <a:gd name="connsiteY37" fmla="*/ 530130 h 955271"/>
              <a:gd name="connsiteX38" fmla="*/ 1988411 w 5741575"/>
              <a:gd name="connsiteY38" fmla="*/ 491599 h 955271"/>
              <a:gd name="connsiteX39" fmla="*/ 2085507 w 5741575"/>
              <a:gd name="connsiteY39" fmla="*/ 498527 h 955271"/>
              <a:gd name="connsiteX40" fmla="*/ 2090767 w 5741575"/>
              <a:gd name="connsiteY40" fmla="*/ 490616 h 955271"/>
              <a:gd name="connsiteX41" fmla="*/ 2151143 w 5741575"/>
              <a:gd name="connsiteY41" fmla="*/ 478332 h 955271"/>
              <a:gd name="connsiteX42" fmla="*/ 2378710 w 5741575"/>
              <a:gd name="connsiteY42" fmla="*/ 477570 h 955271"/>
              <a:gd name="connsiteX43" fmla="*/ 2496256 w 5741575"/>
              <a:gd name="connsiteY43" fmla="*/ 452396 h 955271"/>
              <a:gd name="connsiteX44" fmla="*/ 2535387 w 5741575"/>
              <a:gd name="connsiteY44" fmla="*/ 436645 h 955271"/>
              <a:gd name="connsiteX45" fmla="*/ 2601109 w 5741575"/>
              <a:gd name="connsiteY45" fmla="*/ 410678 h 955271"/>
              <a:gd name="connsiteX46" fmla="*/ 2643855 w 5741575"/>
              <a:gd name="connsiteY46" fmla="*/ 374482 h 955271"/>
              <a:gd name="connsiteX47" fmla="*/ 2657726 w 5741575"/>
              <a:gd name="connsiteY47" fmla="*/ 365841 h 955271"/>
              <a:gd name="connsiteX48" fmla="*/ 2687125 w 5741575"/>
              <a:gd name="connsiteY48" fmla="*/ 366820 h 955271"/>
              <a:gd name="connsiteX49" fmla="*/ 2697479 w 5741575"/>
              <a:gd name="connsiteY49" fmla="*/ 361430 h 955271"/>
              <a:gd name="connsiteX50" fmla="*/ 2701547 w 5741575"/>
              <a:gd name="connsiteY50" fmla="*/ 361545 h 955271"/>
              <a:gd name="connsiteX51" fmla="*/ 2711054 w 5741575"/>
              <a:gd name="connsiteY51" fmla="*/ 360597 h 955271"/>
              <a:gd name="connsiteX52" fmla="*/ 2710438 w 5741575"/>
              <a:gd name="connsiteY52" fmla="*/ 366958 h 955271"/>
              <a:gd name="connsiteX53" fmla="*/ 2722936 w 5741575"/>
              <a:gd name="connsiteY53" fmla="*/ 377633 h 955271"/>
              <a:gd name="connsiteX54" fmla="*/ 2777227 w 5741575"/>
              <a:gd name="connsiteY54" fmla="*/ 368972 h 955271"/>
              <a:gd name="connsiteX55" fmla="*/ 2779510 w 5741575"/>
              <a:gd name="connsiteY55" fmla="*/ 361652 h 955271"/>
              <a:gd name="connsiteX56" fmla="*/ 2786278 w 5741575"/>
              <a:gd name="connsiteY56" fmla="*/ 359869 h 955271"/>
              <a:gd name="connsiteX57" fmla="*/ 2792101 w 5741575"/>
              <a:gd name="connsiteY57" fmla="*/ 365927 h 955271"/>
              <a:gd name="connsiteX58" fmla="*/ 2885545 w 5741575"/>
              <a:gd name="connsiteY58" fmla="*/ 372818 h 955271"/>
              <a:gd name="connsiteX59" fmla="*/ 3009558 w 5741575"/>
              <a:gd name="connsiteY59" fmla="*/ 370573 h 955271"/>
              <a:gd name="connsiteX60" fmla="*/ 3095010 w 5741575"/>
              <a:gd name="connsiteY60" fmla="*/ 332454 h 955271"/>
              <a:gd name="connsiteX61" fmla="*/ 3103742 w 5741575"/>
              <a:gd name="connsiteY61" fmla="*/ 337974 h 955271"/>
              <a:gd name="connsiteX62" fmla="*/ 3165093 w 5741575"/>
              <a:gd name="connsiteY62" fmla="*/ 329459 h 955271"/>
              <a:gd name="connsiteX63" fmla="*/ 3373785 w 5741575"/>
              <a:gd name="connsiteY63" fmla="*/ 255680 h 955271"/>
              <a:gd name="connsiteX64" fmla="*/ 3493851 w 5741575"/>
              <a:gd name="connsiteY64" fmla="*/ 240255 h 955271"/>
              <a:gd name="connsiteX65" fmla="*/ 3537470 w 5741575"/>
              <a:gd name="connsiteY65" fmla="*/ 241867 h 955271"/>
              <a:gd name="connsiteX66" fmla="*/ 3610489 w 5741575"/>
              <a:gd name="connsiteY66" fmla="*/ 244128 h 955271"/>
              <a:gd name="connsiteX67" fmla="*/ 3667539 w 5741575"/>
              <a:gd name="connsiteY67" fmla="*/ 263271 h 955271"/>
              <a:gd name="connsiteX68" fmla="*/ 3727614 w 5741575"/>
              <a:gd name="connsiteY68" fmla="*/ 258245 h 955271"/>
              <a:gd name="connsiteX69" fmla="*/ 3738369 w 5741575"/>
              <a:gd name="connsiteY69" fmla="*/ 234506 h 955271"/>
              <a:gd name="connsiteX70" fmla="*/ 3803670 w 5741575"/>
              <a:gd name="connsiteY70" fmla="*/ 236457 h 955271"/>
              <a:gd name="connsiteX71" fmla="*/ 3903080 w 5741575"/>
              <a:gd name="connsiteY71" fmla="*/ 241890 h 955271"/>
              <a:gd name="connsiteX72" fmla="*/ 4114838 w 5741575"/>
              <a:gd name="connsiteY72" fmla="*/ 238165 h 955271"/>
              <a:gd name="connsiteX73" fmla="*/ 4271023 w 5741575"/>
              <a:gd name="connsiteY73" fmla="*/ 241959 h 955271"/>
              <a:gd name="connsiteX74" fmla="*/ 4367397 w 5741575"/>
              <a:gd name="connsiteY74" fmla="*/ 271442 h 955271"/>
              <a:gd name="connsiteX75" fmla="*/ 4495366 w 5741575"/>
              <a:gd name="connsiteY75" fmla="*/ 271618 h 955271"/>
              <a:gd name="connsiteX76" fmla="*/ 4517347 w 5741575"/>
              <a:gd name="connsiteY76" fmla="*/ 275639 h 955271"/>
              <a:gd name="connsiteX77" fmla="*/ 4546116 w 5741575"/>
              <a:gd name="connsiteY77" fmla="*/ 268568 h 955271"/>
              <a:gd name="connsiteX78" fmla="*/ 4661259 w 5741575"/>
              <a:gd name="connsiteY78" fmla="*/ 238966 h 955271"/>
              <a:gd name="connsiteX79" fmla="*/ 4750403 w 5741575"/>
              <a:gd name="connsiteY79" fmla="*/ 204364 h 955271"/>
              <a:gd name="connsiteX80" fmla="*/ 4867614 w 5741575"/>
              <a:gd name="connsiteY80" fmla="*/ 208668 h 955271"/>
              <a:gd name="connsiteX81" fmla="*/ 4937036 w 5741575"/>
              <a:gd name="connsiteY81" fmla="*/ 195446 h 955271"/>
              <a:gd name="connsiteX82" fmla="*/ 5047626 w 5741575"/>
              <a:gd name="connsiteY82" fmla="*/ 149604 h 955271"/>
              <a:gd name="connsiteX83" fmla="*/ 5200247 w 5741575"/>
              <a:gd name="connsiteY83" fmla="*/ 142695 h 955271"/>
              <a:gd name="connsiteX84" fmla="*/ 5235691 w 5741575"/>
              <a:gd name="connsiteY84" fmla="*/ 173330 h 955271"/>
              <a:gd name="connsiteX85" fmla="*/ 5280133 w 5741575"/>
              <a:gd name="connsiteY85" fmla="*/ 189342 h 955271"/>
              <a:gd name="connsiteX86" fmla="*/ 5291963 w 5741575"/>
              <a:gd name="connsiteY86" fmla="*/ 139446 h 955271"/>
              <a:gd name="connsiteX87" fmla="*/ 5418472 w 5741575"/>
              <a:gd name="connsiteY87" fmla="*/ 89163 h 955271"/>
              <a:gd name="connsiteX88" fmla="*/ 5482354 w 5741575"/>
              <a:gd name="connsiteY88" fmla="*/ 69470 h 955271"/>
              <a:gd name="connsiteX89" fmla="*/ 5583280 w 5741575"/>
              <a:gd name="connsiteY89" fmla="*/ 49787 h 955271"/>
              <a:gd name="connsiteX90" fmla="*/ 5613766 w 5741575"/>
              <a:gd name="connsiteY90" fmla="*/ 41855 h 955271"/>
              <a:gd name="connsiteX91" fmla="*/ 5684952 w 5741575"/>
              <a:gd name="connsiteY91" fmla="*/ 26088 h 955271"/>
              <a:gd name="connsiteX92" fmla="*/ 5741575 w 5741575"/>
              <a:gd name="connsiteY92" fmla="*/ 0 h 955271"/>
              <a:gd name="connsiteX0" fmla="*/ 5741575 w 5741575"/>
              <a:gd name="connsiteY0" fmla="*/ 0 h 955271"/>
              <a:gd name="connsiteX1" fmla="*/ 5741575 w 5741575"/>
              <a:gd name="connsiteY1" fmla="*/ 955271 h 955271"/>
              <a:gd name="connsiteX2" fmla="*/ 0 w 5741575"/>
              <a:gd name="connsiteY2" fmla="*/ 955271 h 955271"/>
              <a:gd name="connsiteX3" fmla="*/ 8558 w 5741575"/>
              <a:gd name="connsiteY3" fmla="*/ 953971 h 955271"/>
              <a:gd name="connsiteX4" fmla="*/ 16894 w 5741575"/>
              <a:gd name="connsiteY4" fmla="*/ 953847 h 955271"/>
              <a:gd name="connsiteX5" fmla="*/ 28156 w 5741575"/>
              <a:gd name="connsiteY5" fmla="*/ 951374 h 955271"/>
              <a:gd name="connsiteX6" fmla="*/ 28293 w 5741575"/>
              <a:gd name="connsiteY6" fmla="*/ 950971 h 955271"/>
              <a:gd name="connsiteX7" fmla="*/ 39115 w 5741575"/>
              <a:gd name="connsiteY7" fmla="*/ 949326 h 955271"/>
              <a:gd name="connsiteX8" fmla="*/ 93851 w 5741575"/>
              <a:gd name="connsiteY8" fmla="*/ 945611 h 955271"/>
              <a:gd name="connsiteX9" fmla="*/ 148657 w 5741575"/>
              <a:gd name="connsiteY9" fmla="*/ 898134 h 955271"/>
              <a:gd name="connsiteX10" fmla="*/ 174554 w 5741575"/>
              <a:gd name="connsiteY10" fmla="*/ 886351 h 955271"/>
              <a:gd name="connsiteX11" fmla="*/ 187633 w 5741575"/>
              <a:gd name="connsiteY11" fmla="*/ 878226 h 955271"/>
              <a:gd name="connsiteX12" fmla="*/ 187961 w 5741575"/>
              <a:gd name="connsiteY12" fmla="*/ 876538 h 955271"/>
              <a:gd name="connsiteX13" fmla="*/ 240501 w 5741575"/>
              <a:gd name="connsiteY13" fmla="*/ 873150 h 955271"/>
              <a:gd name="connsiteX14" fmla="*/ 246345 w 5741575"/>
              <a:gd name="connsiteY14" fmla="*/ 869942 h 955271"/>
              <a:gd name="connsiteX15" fmla="*/ 282041 w 5741575"/>
              <a:gd name="connsiteY15" fmla="*/ 871263 h 955271"/>
              <a:gd name="connsiteX16" fmla="*/ 299711 w 5741575"/>
              <a:gd name="connsiteY16" fmla="*/ 870064 h 955271"/>
              <a:gd name="connsiteX17" fmla="*/ 306299 w 5741575"/>
              <a:gd name="connsiteY17" fmla="*/ 873609 h 955271"/>
              <a:gd name="connsiteX18" fmla="*/ 331571 w 5741575"/>
              <a:gd name="connsiteY18" fmla="*/ 869866 h 955271"/>
              <a:gd name="connsiteX19" fmla="*/ 333872 w 5741575"/>
              <a:gd name="connsiteY19" fmla="*/ 867971 h 955271"/>
              <a:gd name="connsiteX20" fmla="*/ 356953 w 5741575"/>
              <a:gd name="connsiteY20" fmla="*/ 870334 h 955271"/>
              <a:gd name="connsiteX21" fmla="*/ 570239 w 5741575"/>
              <a:gd name="connsiteY21" fmla="*/ 829596 h 955271"/>
              <a:gd name="connsiteX22" fmla="*/ 787156 w 5741575"/>
              <a:gd name="connsiteY22" fmla="*/ 838447 h 955271"/>
              <a:gd name="connsiteX23" fmla="*/ 898586 w 5741575"/>
              <a:gd name="connsiteY23" fmla="*/ 808502 h 955271"/>
              <a:gd name="connsiteX24" fmla="*/ 924063 w 5741575"/>
              <a:gd name="connsiteY24" fmla="*/ 770210 h 955271"/>
              <a:gd name="connsiteX25" fmla="*/ 1212574 w 5741575"/>
              <a:gd name="connsiteY25" fmla="*/ 724238 h 955271"/>
              <a:gd name="connsiteX26" fmla="*/ 1280768 w 5741575"/>
              <a:gd name="connsiteY26" fmla="*/ 699122 h 955271"/>
              <a:gd name="connsiteX27" fmla="*/ 1352027 w 5741575"/>
              <a:gd name="connsiteY27" fmla="*/ 704323 h 955271"/>
              <a:gd name="connsiteX28" fmla="*/ 1374314 w 5741575"/>
              <a:gd name="connsiteY28" fmla="*/ 688815 h 955271"/>
              <a:gd name="connsiteX29" fmla="*/ 1378034 w 5741575"/>
              <a:gd name="connsiteY29" fmla="*/ 685842 h 955271"/>
              <a:gd name="connsiteX30" fmla="*/ 1395604 w 5741575"/>
              <a:gd name="connsiteY30" fmla="*/ 680460 h 955271"/>
              <a:gd name="connsiteX31" fmla="*/ 1397206 w 5741575"/>
              <a:gd name="connsiteY31" fmla="*/ 670793 h 955271"/>
              <a:gd name="connsiteX32" fmla="*/ 1421250 w 5741575"/>
              <a:gd name="connsiteY32" fmla="*/ 656855 h 955271"/>
              <a:gd name="connsiteX33" fmla="*/ 1454524 w 5741575"/>
              <a:gd name="connsiteY33" fmla="*/ 649224 h 955271"/>
              <a:gd name="connsiteX34" fmla="*/ 1616217 w 5741575"/>
              <a:gd name="connsiteY34" fmla="*/ 622107 h 955271"/>
              <a:gd name="connsiteX35" fmla="*/ 1710928 w 5741575"/>
              <a:gd name="connsiteY35" fmla="*/ 600666 h 955271"/>
              <a:gd name="connsiteX36" fmla="*/ 1743718 w 5741575"/>
              <a:gd name="connsiteY36" fmla="*/ 584327 h 955271"/>
              <a:gd name="connsiteX37" fmla="*/ 1873778 w 5741575"/>
              <a:gd name="connsiteY37" fmla="*/ 530130 h 955271"/>
              <a:gd name="connsiteX38" fmla="*/ 1988411 w 5741575"/>
              <a:gd name="connsiteY38" fmla="*/ 491599 h 955271"/>
              <a:gd name="connsiteX39" fmla="*/ 2085507 w 5741575"/>
              <a:gd name="connsiteY39" fmla="*/ 498527 h 955271"/>
              <a:gd name="connsiteX40" fmla="*/ 2090767 w 5741575"/>
              <a:gd name="connsiteY40" fmla="*/ 490616 h 955271"/>
              <a:gd name="connsiteX41" fmla="*/ 2151143 w 5741575"/>
              <a:gd name="connsiteY41" fmla="*/ 478332 h 955271"/>
              <a:gd name="connsiteX42" fmla="*/ 2378710 w 5741575"/>
              <a:gd name="connsiteY42" fmla="*/ 477570 h 955271"/>
              <a:gd name="connsiteX43" fmla="*/ 2496256 w 5741575"/>
              <a:gd name="connsiteY43" fmla="*/ 452396 h 955271"/>
              <a:gd name="connsiteX44" fmla="*/ 2535387 w 5741575"/>
              <a:gd name="connsiteY44" fmla="*/ 436645 h 955271"/>
              <a:gd name="connsiteX45" fmla="*/ 2601109 w 5741575"/>
              <a:gd name="connsiteY45" fmla="*/ 410678 h 955271"/>
              <a:gd name="connsiteX46" fmla="*/ 2643855 w 5741575"/>
              <a:gd name="connsiteY46" fmla="*/ 374482 h 955271"/>
              <a:gd name="connsiteX47" fmla="*/ 2657726 w 5741575"/>
              <a:gd name="connsiteY47" fmla="*/ 365841 h 955271"/>
              <a:gd name="connsiteX48" fmla="*/ 2687125 w 5741575"/>
              <a:gd name="connsiteY48" fmla="*/ 366820 h 955271"/>
              <a:gd name="connsiteX49" fmla="*/ 2697479 w 5741575"/>
              <a:gd name="connsiteY49" fmla="*/ 361430 h 955271"/>
              <a:gd name="connsiteX50" fmla="*/ 2701547 w 5741575"/>
              <a:gd name="connsiteY50" fmla="*/ 361545 h 955271"/>
              <a:gd name="connsiteX51" fmla="*/ 2711054 w 5741575"/>
              <a:gd name="connsiteY51" fmla="*/ 360597 h 955271"/>
              <a:gd name="connsiteX52" fmla="*/ 2710438 w 5741575"/>
              <a:gd name="connsiteY52" fmla="*/ 366958 h 955271"/>
              <a:gd name="connsiteX53" fmla="*/ 2722936 w 5741575"/>
              <a:gd name="connsiteY53" fmla="*/ 377633 h 955271"/>
              <a:gd name="connsiteX54" fmla="*/ 2777227 w 5741575"/>
              <a:gd name="connsiteY54" fmla="*/ 368972 h 955271"/>
              <a:gd name="connsiteX55" fmla="*/ 2779510 w 5741575"/>
              <a:gd name="connsiteY55" fmla="*/ 361652 h 955271"/>
              <a:gd name="connsiteX56" fmla="*/ 2786278 w 5741575"/>
              <a:gd name="connsiteY56" fmla="*/ 359869 h 955271"/>
              <a:gd name="connsiteX57" fmla="*/ 2792101 w 5741575"/>
              <a:gd name="connsiteY57" fmla="*/ 365927 h 955271"/>
              <a:gd name="connsiteX58" fmla="*/ 2885545 w 5741575"/>
              <a:gd name="connsiteY58" fmla="*/ 372818 h 955271"/>
              <a:gd name="connsiteX59" fmla="*/ 3009558 w 5741575"/>
              <a:gd name="connsiteY59" fmla="*/ 370573 h 955271"/>
              <a:gd name="connsiteX60" fmla="*/ 3095010 w 5741575"/>
              <a:gd name="connsiteY60" fmla="*/ 332454 h 955271"/>
              <a:gd name="connsiteX61" fmla="*/ 3103742 w 5741575"/>
              <a:gd name="connsiteY61" fmla="*/ 337974 h 955271"/>
              <a:gd name="connsiteX62" fmla="*/ 3165093 w 5741575"/>
              <a:gd name="connsiteY62" fmla="*/ 329459 h 955271"/>
              <a:gd name="connsiteX63" fmla="*/ 3373785 w 5741575"/>
              <a:gd name="connsiteY63" fmla="*/ 255680 h 955271"/>
              <a:gd name="connsiteX64" fmla="*/ 3493851 w 5741575"/>
              <a:gd name="connsiteY64" fmla="*/ 240255 h 955271"/>
              <a:gd name="connsiteX65" fmla="*/ 3537470 w 5741575"/>
              <a:gd name="connsiteY65" fmla="*/ 241867 h 955271"/>
              <a:gd name="connsiteX66" fmla="*/ 3610489 w 5741575"/>
              <a:gd name="connsiteY66" fmla="*/ 244128 h 955271"/>
              <a:gd name="connsiteX67" fmla="*/ 3667539 w 5741575"/>
              <a:gd name="connsiteY67" fmla="*/ 263271 h 955271"/>
              <a:gd name="connsiteX68" fmla="*/ 3727614 w 5741575"/>
              <a:gd name="connsiteY68" fmla="*/ 258245 h 955271"/>
              <a:gd name="connsiteX69" fmla="*/ 3738369 w 5741575"/>
              <a:gd name="connsiteY69" fmla="*/ 234506 h 955271"/>
              <a:gd name="connsiteX70" fmla="*/ 3803670 w 5741575"/>
              <a:gd name="connsiteY70" fmla="*/ 236457 h 955271"/>
              <a:gd name="connsiteX71" fmla="*/ 3903080 w 5741575"/>
              <a:gd name="connsiteY71" fmla="*/ 241890 h 955271"/>
              <a:gd name="connsiteX72" fmla="*/ 4114838 w 5741575"/>
              <a:gd name="connsiteY72" fmla="*/ 238165 h 955271"/>
              <a:gd name="connsiteX73" fmla="*/ 4271023 w 5741575"/>
              <a:gd name="connsiteY73" fmla="*/ 241959 h 955271"/>
              <a:gd name="connsiteX74" fmla="*/ 4367397 w 5741575"/>
              <a:gd name="connsiteY74" fmla="*/ 271442 h 955271"/>
              <a:gd name="connsiteX75" fmla="*/ 4495366 w 5741575"/>
              <a:gd name="connsiteY75" fmla="*/ 271618 h 955271"/>
              <a:gd name="connsiteX76" fmla="*/ 4517347 w 5741575"/>
              <a:gd name="connsiteY76" fmla="*/ 275639 h 955271"/>
              <a:gd name="connsiteX77" fmla="*/ 4546116 w 5741575"/>
              <a:gd name="connsiteY77" fmla="*/ 268568 h 955271"/>
              <a:gd name="connsiteX78" fmla="*/ 4661259 w 5741575"/>
              <a:gd name="connsiteY78" fmla="*/ 238966 h 955271"/>
              <a:gd name="connsiteX79" fmla="*/ 4750403 w 5741575"/>
              <a:gd name="connsiteY79" fmla="*/ 204364 h 955271"/>
              <a:gd name="connsiteX80" fmla="*/ 4867614 w 5741575"/>
              <a:gd name="connsiteY80" fmla="*/ 208668 h 955271"/>
              <a:gd name="connsiteX81" fmla="*/ 4937036 w 5741575"/>
              <a:gd name="connsiteY81" fmla="*/ 195446 h 955271"/>
              <a:gd name="connsiteX82" fmla="*/ 5047626 w 5741575"/>
              <a:gd name="connsiteY82" fmla="*/ 149604 h 955271"/>
              <a:gd name="connsiteX83" fmla="*/ 5200247 w 5741575"/>
              <a:gd name="connsiteY83" fmla="*/ 142695 h 955271"/>
              <a:gd name="connsiteX84" fmla="*/ 5235691 w 5741575"/>
              <a:gd name="connsiteY84" fmla="*/ 173330 h 955271"/>
              <a:gd name="connsiteX85" fmla="*/ 5280133 w 5741575"/>
              <a:gd name="connsiteY85" fmla="*/ 189342 h 955271"/>
              <a:gd name="connsiteX86" fmla="*/ 5291963 w 5741575"/>
              <a:gd name="connsiteY86" fmla="*/ 139446 h 955271"/>
              <a:gd name="connsiteX87" fmla="*/ 5418472 w 5741575"/>
              <a:gd name="connsiteY87" fmla="*/ 89163 h 955271"/>
              <a:gd name="connsiteX88" fmla="*/ 5482354 w 5741575"/>
              <a:gd name="connsiteY88" fmla="*/ 69470 h 955271"/>
              <a:gd name="connsiteX89" fmla="*/ 5583280 w 5741575"/>
              <a:gd name="connsiteY89" fmla="*/ 49787 h 955271"/>
              <a:gd name="connsiteX90" fmla="*/ 5613766 w 5741575"/>
              <a:gd name="connsiteY90" fmla="*/ 41855 h 955271"/>
              <a:gd name="connsiteX91" fmla="*/ 5684952 w 5741575"/>
              <a:gd name="connsiteY91" fmla="*/ 26088 h 955271"/>
              <a:gd name="connsiteX92" fmla="*/ 5741575 w 5741575"/>
              <a:gd name="connsiteY92" fmla="*/ 0 h 955271"/>
              <a:gd name="connsiteX0" fmla="*/ 5741575 w 5741575"/>
              <a:gd name="connsiteY0" fmla="*/ 0 h 955271"/>
              <a:gd name="connsiteX1" fmla="*/ 5741575 w 5741575"/>
              <a:gd name="connsiteY1" fmla="*/ 955271 h 955271"/>
              <a:gd name="connsiteX2" fmla="*/ 0 w 5741575"/>
              <a:gd name="connsiteY2" fmla="*/ 955271 h 955271"/>
              <a:gd name="connsiteX3" fmla="*/ 8558 w 5741575"/>
              <a:gd name="connsiteY3" fmla="*/ 953971 h 955271"/>
              <a:gd name="connsiteX4" fmla="*/ 16894 w 5741575"/>
              <a:gd name="connsiteY4" fmla="*/ 953847 h 955271"/>
              <a:gd name="connsiteX5" fmla="*/ 28156 w 5741575"/>
              <a:gd name="connsiteY5" fmla="*/ 951374 h 955271"/>
              <a:gd name="connsiteX6" fmla="*/ 28293 w 5741575"/>
              <a:gd name="connsiteY6" fmla="*/ 950971 h 955271"/>
              <a:gd name="connsiteX7" fmla="*/ 39115 w 5741575"/>
              <a:gd name="connsiteY7" fmla="*/ 949326 h 955271"/>
              <a:gd name="connsiteX8" fmla="*/ 93851 w 5741575"/>
              <a:gd name="connsiteY8" fmla="*/ 945611 h 955271"/>
              <a:gd name="connsiteX9" fmla="*/ 148657 w 5741575"/>
              <a:gd name="connsiteY9" fmla="*/ 898134 h 955271"/>
              <a:gd name="connsiteX10" fmla="*/ 174554 w 5741575"/>
              <a:gd name="connsiteY10" fmla="*/ 886351 h 955271"/>
              <a:gd name="connsiteX11" fmla="*/ 187633 w 5741575"/>
              <a:gd name="connsiteY11" fmla="*/ 878226 h 955271"/>
              <a:gd name="connsiteX12" fmla="*/ 187961 w 5741575"/>
              <a:gd name="connsiteY12" fmla="*/ 876538 h 955271"/>
              <a:gd name="connsiteX13" fmla="*/ 240501 w 5741575"/>
              <a:gd name="connsiteY13" fmla="*/ 873150 h 955271"/>
              <a:gd name="connsiteX14" fmla="*/ 246345 w 5741575"/>
              <a:gd name="connsiteY14" fmla="*/ 869942 h 955271"/>
              <a:gd name="connsiteX15" fmla="*/ 282041 w 5741575"/>
              <a:gd name="connsiteY15" fmla="*/ 871263 h 955271"/>
              <a:gd name="connsiteX16" fmla="*/ 299711 w 5741575"/>
              <a:gd name="connsiteY16" fmla="*/ 870064 h 955271"/>
              <a:gd name="connsiteX17" fmla="*/ 306299 w 5741575"/>
              <a:gd name="connsiteY17" fmla="*/ 873609 h 955271"/>
              <a:gd name="connsiteX18" fmla="*/ 331571 w 5741575"/>
              <a:gd name="connsiteY18" fmla="*/ 869866 h 955271"/>
              <a:gd name="connsiteX19" fmla="*/ 333872 w 5741575"/>
              <a:gd name="connsiteY19" fmla="*/ 867971 h 955271"/>
              <a:gd name="connsiteX20" fmla="*/ 356953 w 5741575"/>
              <a:gd name="connsiteY20" fmla="*/ 870334 h 955271"/>
              <a:gd name="connsiteX21" fmla="*/ 570239 w 5741575"/>
              <a:gd name="connsiteY21" fmla="*/ 829596 h 955271"/>
              <a:gd name="connsiteX22" fmla="*/ 787156 w 5741575"/>
              <a:gd name="connsiteY22" fmla="*/ 838447 h 955271"/>
              <a:gd name="connsiteX23" fmla="*/ 898586 w 5741575"/>
              <a:gd name="connsiteY23" fmla="*/ 808502 h 955271"/>
              <a:gd name="connsiteX24" fmla="*/ 1212574 w 5741575"/>
              <a:gd name="connsiteY24" fmla="*/ 724238 h 955271"/>
              <a:gd name="connsiteX25" fmla="*/ 1280768 w 5741575"/>
              <a:gd name="connsiteY25" fmla="*/ 699122 h 955271"/>
              <a:gd name="connsiteX26" fmla="*/ 1352027 w 5741575"/>
              <a:gd name="connsiteY26" fmla="*/ 704323 h 955271"/>
              <a:gd name="connsiteX27" fmla="*/ 1374314 w 5741575"/>
              <a:gd name="connsiteY27" fmla="*/ 688815 h 955271"/>
              <a:gd name="connsiteX28" fmla="*/ 1378034 w 5741575"/>
              <a:gd name="connsiteY28" fmla="*/ 685842 h 955271"/>
              <a:gd name="connsiteX29" fmla="*/ 1395604 w 5741575"/>
              <a:gd name="connsiteY29" fmla="*/ 680460 h 955271"/>
              <a:gd name="connsiteX30" fmla="*/ 1397206 w 5741575"/>
              <a:gd name="connsiteY30" fmla="*/ 670793 h 955271"/>
              <a:gd name="connsiteX31" fmla="*/ 1421250 w 5741575"/>
              <a:gd name="connsiteY31" fmla="*/ 656855 h 955271"/>
              <a:gd name="connsiteX32" fmla="*/ 1454524 w 5741575"/>
              <a:gd name="connsiteY32" fmla="*/ 649224 h 955271"/>
              <a:gd name="connsiteX33" fmla="*/ 1616217 w 5741575"/>
              <a:gd name="connsiteY33" fmla="*/ 622107 h 955271"/>
              <a:gd name="connsiteX34" fmla="*/ 1710928 w 5741575"/>
              <a:gd name="connsiteY34" fmla="*/ 600666 h 955271"/>
              <a:gd name="connsiteX35" fmla="*/ 1743718 w 5741575"/>
              <a:gd name="connsiteY35" fmla="*/ 584327 h 955271"/>
              <a:gd name="connsiteX36" fmla="*/ 1873778 w 5741575"/>
              <a:gd name="connsiteY36" fmla="*/ 530130 h 955271"/>
              <a:gd name="connsiteX37" fmla="*/ 1988411 w 5741575"/>
              <a:gd name="connsiteY37" fmla="*/ 491599 h 955271"/>
              <a:gd name="connsiteX38" fmla="*/ 2085507 w 5741575"/>
              <a:gd name="connsiteY38" fmla="*/ 498527 h 955271"/>
              <a:gd name="connsiteX39" fmla="*/ 2090767 w 5741575"/>
              <a:gd name="connsiteY39" fmla="*/ 490616 h 955271"/>
              <a:gd name="connsiteX40" fmla="*/ 2151143 w 5741575"/>
              <a:gd name="connsiteY40" fmla="*/ 478332 h 955271"/>
              <a:gd name="connsiteX41" fmla="*/ 2378710 w 5741575"/>
              <a:gd name="connsiteY41" fmla="*/ 477570 h 955271"/>
              <a:gd name="connsiteX42" fmla="*/ 2496256 w 5741575"/>
              <a:gd name="connsiteY42" fmla="*/ 452396 h 955271"/>
              <a:gd name="connsiteX43" fmla="*/ 2535387 w 5741575"/>
              <a:gd name="connsiteY43" fmla="*/ 436645 h 955271"/>
              <a:gd name="connsiteX44" fmla="*/ 2601109 w 5741575"/>
              <a:gd name="connsiteY44" fmla="*/ 410678 h 955271"/>
              <a:gd name="connsiteX45" fmla="*/ 2643855 w 5741575"/>
              <a:gd name="connsiteY45" fmla="*/ 374482 h 955271"/>
              <a:gd name="connsiteX46" fmla="*/ 2657726 w 5741575"/>
              <a:gd name="connsiteY46" fmla="*/ 365841 h 955271"/>
              <a:gd name="connsiteX47" fmla="*/ 2687125 w 5741575"/>
              <a:gd name="connsiteY47" fmla="*/ 366820 h 955271"/>
              <a:gd name="connsiteX48" fmla="*/ 2697479 w 5741575"/>
              <a:gd name="connsiteY48" fmla="*/ 361430 h 955271"/>
              <a:gd name="connsiteX49" fmla="*/ 2701547 w 5741575"/>
              <a:gd name="connsiteY49" fmla="*/ 361545 h 955271"/>
              <a:gd name="connsiteX50" fmla="*/ 2711054 w 5741575"/>
              <a:gd name="connsiteY50" fmla="*/ 360597 h 955271"/>
              <a:gd name="connsiteX51" fmla="*/ 2710438 w 5741575"/>
              <a:gd name="connsiteY51" fmla="*/ 366958 h 955271"/>
              <a:gd name="connsiteX52" fmla="*/ 2722936 w 5741575"/>
              <a:gd name="connsiteY52" fmla="*/ 377633 h 955271"/>
              <a:gd name="connsiteX53" fmla="*/ 2777227 w 5741575"/>
              <a:gd name="connsiteY53" fmla="*/ 368972 h 955271"/>
              <a:gd name="connsiteX54" fmla="*/ 2779510 w 5741575"/>
              <a:gd name="connsiteY54" fmla="*/ 361652 h 955271"/>
              <a:gd name="connsiteX55" fmla="*/ 2786278 w 5741575"/>
              <a:gd name="connsiteY55" fmla="*/ 359869 h 955271"/>
              <a:gd name="connsiteX56" fmla="*/ 2792101 w 5741575"/>
              <a:gd name="connsiteY56" fmla="*/ 365927 h 955271"/>
              <a:gd name="connsiteX57" fmla="*/ 2885545 w 5741575"/>
              <a:gd name="connsiteY57" fmla="*/ 372818 h 955271"/>
              <a:gd name="connsiteX58" fmla="*/ 3009558 w 5741575"/>
              <a:gd name="connsiteY58" fmla="*/ 370573 h 955271"/>
              <a:gd name="connsiteX59" fmla="*/ 3095010 w 5741575"/>
              <a:gd name="connsiteY59" fmla="*/ 332454 h 955271"/>
              <a:gd name="connsiteX60" fmla="*/ 3103742 w 5741575"/>
              <a:gd name="connsiteY60" fmla="*/ 337974 h 955271"/>
              <a:gd name="connsiteX61" fmla="*/ 3165093 w 5741575"/>
              <a:gd name="connsiteY61" fmla="*/ 329459 h 955271"/>
              <a:gd name="connsiteX62" fmla="*/ 3373785 w 5741575"/>
              <a:gd name="connsiteY62" fmla="*/ 255680 h 955271"/>
              <a:gd name="connsiteX63" fmla="*/ 3493851 w 5741575"/>
              <a:gd name="connsiteY63" fmla="*/ 240255 h 955271"/>
              <a:gd name="connsiteX64" fmla="*/ 3537470 w 5741575"/>
              <a:gd name="connsiteY64" fmla="*/ 241867 h 955271"/>
              <a:gd name="connsiteX65" fmla="*/ 3610489 w 5741575"/>
              <a:gd name="connsiteY65" fmla="*/ 244128 h 955271"/>
              <a:gd name="connsiteX66" fmla="*/ 3667539 w 5741575"/>
              <a:gd name="connsiteY66" fmla="*/ 263271 h 955271"/>
              <a:gd name="connsiteX67" fmla="*/ 3727614 w 5741575"/>
              <a:gd name="connsiteY67" fmla="*/ 258245 h 955271"/>
              <a:gd name="connsiteX68" fmla="*/ 3738369 w 5741575"/>
              <a:gd name="connsiteY68" fmla="*/ 234506 h 955271"/>
              <a:gd name="connsiteX69" fmla="*/ 3803670 w 5741575"/>
              <a:gd name="connsiteY69" fmla="*/ 236457 h 955271"/>
              <a:gd name="connsiteX70" fmla="*/ 3903080 w 5741575"/>
              <a:gd name="connsiteY70" fmla="*/ 241890 h 955271"/>
              <a:gd name="connsiteX71" fmla="*/ 4114838 w 5741575"/>
              <a:gd name="connsiteY71" fmla="*/ 238165 h 955271"/>
              <a:gd name="connsiteX72" fmla="*/ 4271023 w 5741575"/>
              <a:gd name="connsiteY72" fmla="*/ 241959 h 955271"/>
              <a:gd name="connsiteX73" fmla="*/ 4367397 w 5741575"/>
              <a:gd name="connsiteY73" fmla="*/ 271442 h 955271"/>
              <a:gd name="connsiteX74" fmla="*/ 4495366 w 5741575"/>
              <a:gd name="connsiteY74" fmla="*/ 271618 h 955271"/>
              <a:gd name="connsiteX75" fmla="*/ 4517347 w 5741575"/>
              <a:gd name="connsiteY75" fmla="*/ 275639 h 955271"/>
              <a:gd name="connsiteX76" fmla="*/ 4546116 w 5741575"/>
              <a:gd name="connsiteY76" fmla="*/ 268568 h 955271"/>
              <a:gd name="connsiteX77" fmla="*/ 4661259 w 5741575"/>
              <a:gd name="connsiteY77" fmla="*/ 238966 h 955271"/>
              <a:gd name="connsiteX78" fmla="*/ 4750403 w 5741575"/>
              <a:gd name="connsiteY78" fmla="*/ 204364 h 955271"/>
              <a:gd name="connsiteX79" fmla="*/ 4867614 w 5741575"/>
              <a:gd name="connsiteY79" fmla="*/ 208668 h 955271"/>
              <a:gd name="connsiteX80" fmla="*/ 4937036 w 5741575"/>
              <a:gd name="connsiteY80" fmla="*/ 195446 h 955271"/>
              <a:gd name="connsiteX81" fmla="*/ 5047626 w 5741575"/>
              <a:gd name="connsiteY81" fmla="*/ 149604 h 955271"/>
              <a:gd name="connsiteX82" fmla="*/ 5200247 w 5741575"/>
              <a:gd name="connsiteY82" fmla="*/ 142695 h 955271"/>
              <a:gd name="connsiteX83" fmla="*/ 5235691 w 5741575"/>
              <a:gd name="connsiteY83" fmla="*/ 173330 h 955271"/>
              <a:gd name="connsiteX84" fmla="*/ 5280133 w 5741575"/>
              <a:gd name="connsiteY84" fmla="*/ 189342 h 955271"/>
              <a:gd name="connsiteX85" fmla="*/ 5291963 w 5741575"/>
              <a:gd name="connsiteY85" fmla="*/ 139446 h 955271"/>
              <a:gd name="connsiteX86" fmla="*/ 5418472 w 5741575"/>
              <a:gd name="connsiteY86" fmla="*/ 89163 h 955271"/>
              <a:gd name="connsiteX87" fmla="*/ 5482354 w 5741575"/>
              <a:gd name="connsiteY87" fmla="*/ 69470 h 955271"/>
              <a:gd name="connsiteX88" fmla="*/ 5583280 w 5741575"/>
              <a:gd name="connsiteY88" fmla="*/ 49787 h 955271"/>
              <a:gd name="connsiteX89" fmla="*/ 5613766 w 5741575"/>
              <a:gd name="connsiteY89" fmla="*/ 41855 h 955271"/>
              <a:gd name="connsiteX90" fmla="*/ 5684952 w 5741575"/>
              <a:gd name="connsiteY90" fmla="*/ 26088 h 955271"/>
              <a:gd name="connsiteX91" fmla="*/ 5741575 w 5741575"/>
              <a:gd name="connsiteY91" fmla="*/ 0 h 955271"/>
              <a:gd name="connsiteX0" fmla="*/ 5741575 w 5741575"/>
              <a:gd name="connsiteY0" fmla="*/ 0 h 955271"/>
              <a:gd name="connsiteX1" fmla="*/ 5741575 w 5741575"/>
              <a:gd name="connsiteY1" fmla="*/ 955271 h 955271"/>
              <a:gd name="connsiteX2" fmla="*/ 0 w 5741575"/>
              <a:gd name="connsiteY2" fmla="*/ 955271 h 955271"/>
              <a:gd name="connsiteX3" fmla="*/ 8558 w 5741575"/>
              <a:gd name="connsiteY3" fmla="*/ 953971 h 955271"/>
              <a:gd name="connsiteX4" fmla="*/ 16894 w 5741575"/>
              <a:gd name="connsiteY4" fmla="*/ 953847 h 955271"/>
              <a:gd name="connsiteX5" fmla="*/ 28156 w 5741575"/>
              <a:gd name="connsiteY5" fmla="*/ 951374 h 955271"/>
              <a:gd name="connsiteX6" fmla="*/ 28293 w 5741575"/>
              <a:gd name="connsiteY6" fmla="*/ 950971 h 955271"/>
              <a:gd name="connsiteX7" fmla="*/ 39115 w 5741575"/>
              <a:gd name="connsiteY7" fmla="*/ 949326 h 955271"/>
              <a:gd name="connsiteX8" fmla="*/ 93851 w 5741575"/>
              <a:gd name="connsiteY8" fmla="*/ 945611 h 955271"/>
              <a:gd name="connsiteX9" fmla="*/ 148657 w 5741575"/>
              <a:gd name="connsiteY9" fmla="*/ 898134 h 955271"/>
              <a:gd name="connsiteX10" fmla="*/ 174554 w 5741575"/>
              <a:gd name="connsiteY10" fmla="*/ 886351 h 955271"/>
              <a:gd name="connsiteX11" fmla="*/ 187633 w 5741575"/>
              <a:gd name="connsiteY11" fmla="*/ 878226 h 955271"/>
              <a:gd name="connsiteX12" fmla="*/ 187961 w 5741575"/>
              <a:gd name="connsiteY12" fmla="*/ 876538 h 955271"/>
              <a:gd name="connsiteX13" fmla="*/ 240501 w 5741575"/>
              <a:gd name="connsiteY13" fmla="*/ 873150 h 955271"/>
              <a:gd name="connsiteX14" fmla="*/ 246345 w 5741575"/>
              <a:gd name="connsiteY14" fmla="*/ 869942 h 955271"/>
              <a:gd name="connsiteX15" fmla="*/ 282041 w 5741575"/>
              <a:gd name="connsiteY15" fmla="*/ 871263 h 955271"/>
              <a:gd name="connsiteX16" fmla="*/ 299711 w 5741575"/>
              <a:gd name="connsiteY16" fmla="*/ 870064 h 955271"/>
              <a:gd name="connsiteX17" fmla="*/ 306299 w 5741575"/>
              <a:gd name="connsiteY17" fmla="*/ 873609 h 955271"/>
              <a:gd name="connsiteX18" fmla="*/ 331571 w 5741575"/>
              <a:gd name="connsiteY18" fmla="*/ 869866 h 955271"/>
              <a:gd name="connsiteX19" fmla="*/ 333872 w 5741575"/>
              <a:gd name="connsiteY19" fmla="*/ 867971 h 955271"/>
              <a:gd name="connsiteX20" fmla="*/ 356953 w 5741575"/>
              <a:gd name="connsiteY20" fmla="*/ 870334 h 955271"/>
              <a:gd name="connsiteX21" fmla="*/ 570239 w 5741575"/>
              <a:gd name="connsiteY21" fmla="*/ 829596 h 955271"/>
              <a:gd name="connsiteX22" fmla="*/ 787156 w 5741575"/>
              <a:gd name="connsiteY22" fmla="*/ 838447 h 955271"/>
              <a:gd name="connsiteX23" fmla="*/ 948872 w 5741575"/>
              <a:gd name="connsiteY23" fmla="*/ 772201 h 955271"/>
              <a:gd name="connsiteX24" fmla="*/ 1212574 w 5741575"/>
              <a:gd name="connsiteY24" fmla="*/ 724238 h 955271"/>
              <a:gd name="connsiteX25" fmla="*/ 1280768 w 5741575"/>
              <a:gd name="connsiteY25" fmla="*/ 699122 h 955271"/>
              <a:gd name="connsiteX26" fmla="*/ 1352027 w 5741575"/>
              <a:gd name="connsiteY26" fmla="*/ 704323 h 955271"/>
              <a:gd name="connsiteX27" fmla="*/ 1374314 w 5741575"/>
              <a:gd name="connsiteY27" fmla="*/ 688815 h 955271"/>
              <a:gd name="connsiteX28" fmla="*/ 1378034 w 5741575"/>
              <a:gd name="connsiteY28" fmla="*/ 685842 h 955271"/>
              <a:gd name="connsiteX29" fmla="*/ 1395604 w 5741575"/>
              <a:gd name="connsiteY29" fmla="*/ 680460 h 955271"/>
              <a:gd name="connsiteX30" fmla="*/ 1397206 w 5741575"/>
              <a:gd name="connsiteY30" fmla="*/ 670793 h 955271"/>
              <a:gd name="connsiteX31" fmla="*/ 1421250 w 5741575"/>
              <a:gd name="connsiteY31" fmla="*/ 656855 h 955271"/>
              <a:gd name="connsiteX32" fmla="*/ 1454524 w 5741575"/>
              <a:gd name="connsiteY32" fmla="*/ 649224 h 955271"/>
              <a:gd name="connsiteX33" fmla="*/ 1616217 w 5741575"/>
              <a:gd name="connsiteY33" fmla="*/ 622107 h 955271"/>
              <a:gd name="connsiteX34" fmla="*/ 1710928 w 5741575"/>
              <a:gd name="connsiteY34" fmla="*/ 600666 h 955271"/>
              <a:gd name="connsiteX35" fmla="*/ 1743718 w 5741575"/>
              <a:gd name="connsiteY35" fmla="*/ 584327 h 955271"/>
              <a:gd name="connsiteX36" fmla="*/ 1873778 w 5741575"/>
              <a:gd name="connsiteY36" fmla="*/ 530130 h 955271"/>
              <a:gd name="connsiteX37" fmla="*/ 1988411 w 5741575"/>
              <a:gd name="connsiteY37" fmla="*/ 491599 h 955271"/>
              <a:gd name="connsiteX38" fmla="*/ 2085507 w 5741575"/>
              <a:gd name="connsiteY38" fmla="*/ 498527 h 955271"/>
              <a:gd name="connsiteX39" fmla="*/ 2090767 w 5741575"/>
              <a:gd name="connsiteY39" fmla="*/ 490616 h 955271"/>
              <a:gd name="connsiteX40" fmla="*/ 2151143 w 5741575"/>
              <a:gd name="connsiteY40" fmla="*/ 478332 h 955271"/>
              <a:gd name="connsiteX41" fmla="*/ 2378710 w 5741575"/>
              <a:gd name="connsiteY41" fmla="*/ 477570 h 955271"/>
              <a:gd name="connsiteX42" fmla="*/ 2496256 w 5741575"/>
              <a:gd name="connsiteY42" fmla="*/ 452396 h 955271"/>
              <a:gd name="connsiteX43" fmla="*/ 2535387 w 5741575"/>
              <a:gd name="connsiteY43" fmla="*/ 436645 h 955271"/>
              <a:gd name="connsiteX44" fmla="*/ 2601109 w 5741575"/>
              <a:gd name="connsiteY44" fmla="*/ 410678 h 955271"/>
              <a:gd name="connsiteX45" fmla="*/ 2643855 w 5741575"/>
              <a:gd name="connsiteY45" fmla="*/ 374482 h 955271"/>
              <a:gd name="connsiteX46" fmla="*/ 2657726 w 5741575"/>
              <a:gd name="connsiteY46" fmla="*/ 365841 h 955271"/>
              <a:gd name="connsiteX47" fmla="*/ 2687125 w 5741575"/>
              <a:gd name="connsiteY47" fmla="*/ 366820 h 955271"/>
              <a:gd name="connsiteX48" fmla="*/ 2697479 w 5741575"/>
              <a:gd name="connsiteY48" fmla="*/ 361430 h 955271"/>
              <a:gd name="connsiteX49" fmla="*/ 2701547 w 5741575"/>
              <a:gd name="connsiteY49" fmla="*/ 361545 h 955271"/>
              <a:gd name="connsiteX50" fmla="*/ 2711054 w 5741575"/>
              <a:gd name="connsiteY50" fmla="*/ 360597 h 955271"/>
              <a:gd name="connsiteX51" fmla="*/ 2710438 w 5741575"/>
              <a:gd name="connsiteY51" fmla="*/ 366958 h 955271"/>
              <a:gd name="connsiteX52" fmla="*/ 2722936 w 5741575"/>
              <a:gd name="connsiteY52" fmla="*/ 377633 h 955271"/>
              <a:gd name="connsiteX53" fmla="*/ 2777227 w 5741575"/>
              <a:gd name="connsiteY53" fmla="*/ 368972 h 955271"/>
              <a:gd name="connsiteX54" fmla="*/ 2779510 w 5741575"/>
              <a:gd name="connsiteY54" fmla="*/ 361652 h 955271"/>
              <a:gd name="connsiteX55" fmla="*/ 2786278 w 5741575"/>
              <a:gd name="connsiteY55" fmla="*/ 359869 h 955271"/>
              <a:gd name="connsiteX56" fmla="*/ 2792101 w 5741575"/>
              <a:gd name="connsiteY56" fmla="*/ 365927 h 955271"/>
              <a:gd name="connsiteX57" fmla="*/ 2885545 w 5741575"/>
              <a:gd name="connsiteY57" fmla="*/ 372818 h 955271"/>
              <a:gd name="connsiteX58" fmla="*/ 3009558 w 5741575"/>
              <a:gd name="connsiteY58" fmla="*/ 370573 h 955271"/>
              <a:gd name="connsiteX59" fmla="*/ 3095010 w 5741575"/>
              <a:gd name="connsiteY59" fmla="*/ 332454 h 955271"/>
              <a:gd name="connsiteX60" fmla="*/ 3103742 w 5741575"/>
              <a:gd name="connsiteY60" fmla="*/ 337974 h 955271"/>
              <a:gd name="connsiteX61" fmla="*/ 3165093 w 5741575"/>
              <a:gd name="connsiteY61" fmla="*/ 329459 h 955271"/>
              <a:gd name="connsiteX62" fmla="*/ 3373785 w 5741575"/>
              <a:gd name="connsiteY62" fmla="*/ 255680 h 955271"/>
              <a:gd name="connsiteX63" fmla="*/ 3493851 w 5741575"/>
              <a:gd name="connsiteY63" fmla="*/ 240255 h 955271"/>
              <a:gd name="connsiteX64" fmla="*/ 3537470 w 5741575"/>
              <a:gd name="connsiteY64" fmla="*/ 241867 h 955271"/>
              <a:gd name="connsiteX65" fmla="*/ 3610489 w 5741575"/>
              <a:gd name="connsiteY65" fmla="*/ 244128 h 955271"/>
              <a:gd name="connsiteX66" fmla="*/ 3667539 w 5741575"/>
              <a:gd name="connsiteY66" fmla="*/ 263271 h 955271"/>
              <a:gd name="connsiteX67" fmla="*/ 3727614 w 5741575"/>
              <a:gd name="connsiteY67" fmla="*/ 258245 h 955271"/>
              <a:gd name="connsiteX68" fmla="*/ 3738369 w 5741575"/>
              <a:gd name="connsiteY68" fmla="*/ 234506 h 955271"/>
              <a:gd name="connsiteX69" fmla="*/ 3803670 w 5741575"/>
              <a:gd name="connsiteY69" fmla="*/ 236457 h 955271"/>
              <a:gd name="connsiteX70" fmla="*/ 3903080 w 5741575"/>
              <a:gd name="connsiteY70" fmla="*/ 241890 h 955271"/>
              <a:gd name="connsiteX71" fmla="*/ 4114838 w 5741575"/>
              <a:gd name="connsiteY71" fmla="*/ 238165 h 955271"/>
              <a:gd name="connsiteX72" fmla="*/ 4271023 w 5741575"/>
              <a:gd name="connsiteY72" fmla="*/ 241959 h 955271"/>
              <a:gd name="connsiteX73" fmla="*/ 4367397 w 5741575"/>
              <a:gd name="connsiteY73" fmla="*/ 271442 h 955271"/>
              <a:gd name="connsiteX74" fmla="*/ 4495366 w 5741575"/>
              <a:gd name="connsiteY74" fmla="*/ 271618 h 955271"/>
              <a:gd name="connsiteX75" fmla="*/ 4517347 w 5741575"/>
              <a:gd name="connsiteY75" fmla="*/ 275639 h 955271"/>
              <a:gd name="connsiteX76" fmla="*/ 4546116 w 5741575"/>
              <a:gd name="connsiteY76" fmla="*/ 268568 h 955271"/>
              <a:gd name="connsiteX77" fmla="*/ 4661259 w 5741575"/>
              <a:gd name="connsiteY77" fmla="*/ 238966 h 955271"/>
              <a:gd name="connsiteX78" fmla="*/ 4750403 w 5741575"/>
              <a:gd name="connsiteY78" fmla="*/ 204364 h 955271"/>
              <a:gd name="connsiteX79" fmla="*/ 4867614 w 5741575"/>
              <a:gd name="connsiteY79" fmla="*/ 208668 h 955271"/>
              <a:gd name="connsiteX80" fmla="*/ 4937036 w 5741575"/>
              <a:gd name="connsiteY80" fmla="*/ 195446 h 955271"/>
              <a:gd name="connsiteX81" fmla="*/ 5047626 w 5741575"/>
              <a:gd name="connsiteY81" fmla="*/ 149604 h 955271"/>
              <a:gd name="connsiteX82" fmla="*/ 5200247 w 5741575"/>
              <a:gd name="connsiteY82" fmla="*/ 142695 h 955271"/>
              <a:gd name="connsiteX83" fmla="*/ 5235691 w 5741575"/>
              <a:gd name="connsiteY83" fmla="*/ 173330 h 955271"/>
              <a:gd name="connsiteX84" fmla="*/ 5280133 w 5741575"/>
              <a:gd name="connsiteY84" fmla="*/ 189342 h 955271"/>
              <a:gd name="connsiteX85" fmla="*/ 5291963 w 5741575"/>
              <a:gd name="connsiteY85" fmla="*/ 139446 h 955271"/>
              <a:gd name="connsiteX86" fmla="*/ 5418472 w 5741575"/>
              <a:gd name="connsiteY86" fmla="*/ 89163 h 955271"/>
              <a:gd name="connsiteX87" fmla="*/ 5482354 w 5741575"/>
              <a:gd name="connsiteY87" fmla="*/ 69470 h 955271"/>
              <a:gd name="connsiteX88" fmla="*/ 5583280 w 5741575"/>
              <a:gd name="connsiteY88" fmla="*/ 49787 h 955271"/>
              <a:gd name="connsiteX89" fmla="*/ 5613766 w 5741575"/>
              <a:gd name="connsiteY89" fmla="*/ 41855 h 955271"/>
              <a:gd name="connsiteX90" fmla="*/ 5684952 w 5741575"/>
              <a:gd name="connsiteY90" fmla="*/ 26088 h 955271"/>
              <a:gd name="connsiteX91" fmla="*/ 5741575 w 5741575"/>
              <a:gd name="connsiteY91" fmla="*/ 0 h 955271"/>
              <a:gd name="connsiteX0" fmla="*/ 5741575 w 5741575"/>
              <a:gd name="connsiteY0" fmla="*/ 0 h 955271"/>
              <a:gd name="connsiteX1" fmla="*/ 5741575 w 5741575"/>
              <a:gd name="connsiteY1" fmla="*/ 955271 h 955271"/>
              <a:gd name="connsiteX2" fmla="*/ 0 w 5741575"/>
              <a:gd name="connsiteY2" fmla="*/ 955271 h 955271"/>
              <a:gd name="connsiteX3" fmla="*/ 8558 w 5741575"/>
              <a:gd name="connsiteY3" fmla="*/ 953971 h 955271"/>
              <a:gd name="connsiteX4" fmla="*/ 16894 w 5741575"/>
              <a:gd name="connsiteY4" fmla="*/ 953847 h 955271"/>
              <a:gd name="connsiteX5" fmla="*/ 28156 w 5741575"/>
              <a:gd name="connsiteY5" fmla="*/ 951374 h 955271"/>
              <a:gd name="connsiteX6" fmla="*/ 28293 w 5741575"/>
              <a:gd name="connsiteY6" fmla="*/ 950971 h 955271"/>
              <a:gd name="connsiteX7" fmla="*/ 39115 w 5741575"/>
              <a:gd name="connsiteY7" fmla="*/ 949326 h 955271"/>
              <a:gd name="connsiteX8" fmla="*/ 93851 w 5741575"/>
              <a:gd name="connsiteY8" fmla="*/ 945611 h 955271"/>
              <a:gd name="connsiteX9" fmla="*/ 148657 w 5741575"/>
              <a:gd name="connsiteY9" fmla="*/ 898134 h 955271"/>
              <a:gd name="connsiteX10" fmla="*/ 174554 w 5741575"/>
              <a:gd name="connsiteY10" fmla="*/ 886351 h 955271"/>
              <a:gd name="connsiteX11" fmla="*/ 187633 w 5741575"/>
              <a:gd name="connsiteY11" fmla="*/ 878226 h 955271"/>
              <a:gd name="connsiteX12" fmla="*/ 187961 w 5741575"/>
              <a:gd name="connsiteY12" fmla="*/ 876538 h 955271"/>
              <a:gd name="connsiteX13" fmla="*/ 240501 w 5741575"/>
              <a:gd name="connsiteY13" fmla="*/ 873150 h 955271"/>
              <a:gd name="connsiteX14" fmla="*/ 246345 w 5741575"/>
              <a:gd name="connsiteY14" fmla="*/ 869942 h 955271"/>
              <a:gd name="connsiteX15" fmla="*/ 282041 w 5741575"/>
              <a:gd name="connsiteY15" fmla="*/ 871263 h 955271"/>
              <a:gd name="connsiteX16" fmla="*/ 299711 w 5741575"/>
              <a:gd name="connsiteY16" fmla="*/ 870064 h 955271"/>
              <a:gd name="connsiteX17" fmla="*/ 306299 w 5741575"/>
              <a:gd name="connsiteY17" fmla="*/ 873609 h 955271"/>
              <a:gd name="connsiteX18" fmla="*/ 331571 w 5741575"/>
              <a:gd name="connsiteY18" fmla="*/ 869866 h 955271"/>
              <a:gd name="connsiteX19" fmla="*/ 333872 w 5741575"/>
              <a:gd name="connsiteY19" fmla="*/ 867971 h 955271"/>
              <a:gd name="connsiteX20" fmla="*/ 356953 w 5741575"/>
              <a:gd name="connsiteY20" fmla="*/ 870334 h 955271"/>
              <a:gd name="connsiteX21" fmla="*/ 570239 w 5741575"/>
              <a:gd name="connsiteY21" fmla="*/ 829596 h 955271"/>
              <a:gd name="connsiteX22" fmla="*/ 787156 w 5741575"/>
              <a:gd name="connsiteY22" fmla="*/ 838447 h 955271"/>
              <a:gd name="connsiteX23" fmla="*/ 948872 w 5741575"/>
              <a:gd name="connsiteY23" fmla="*/ 772201 h 955271"/>
              <a:gd name="connsiteX24" fmla="*/ 1212574 w 5741575"/>
              <a:gd name="connsiteY24" fmla="*/ 724238 h 955271"/>
              <a:gd name="connsiteX25" fmla="*/ 1280768 w 5741575"/>
              <a:gd name="connsiteY25" fmla="*/ 699122 h 955271"/>
              <a:gd name="connsiteX26" fmla="*/ 1352027 w 5741575"/>
              <a:gd name="connsiteY26" fmla="*/ 704323 h 955271"/>
              <a:gd name="connsiteX27" fmla="*/ 1374314 w 5741575"/>
              <a:gd name="connsiteY27" fmla="*/ 688815 h 955271"/>
              <a:gd name="connsiteX28" fmla="*/ 1378034 w 5741575"/>
              <a:gd name="connsiteY28" fmla="*/ 685842 h 955271"/>
              <a:gd name="connsiteX29" fmla="*/ 1395604 w 5741575"/>
              <a:gd name="connsiteY29" fmla="*/ 680460 h 955271"/>
              <a:gd name="connsiteX30" fmla="*/ 1397206 w 5741575"/>
              <a:gd name="connsiteY30" fmla="*/ 670793 h 955271"/>
              <a:gd name="connsiteX31" fmla="*/ 1421250 w 5741575"/>
              <a:gd name="connsiteY31" fmla="*/ 656855 h 955271"/>
              <a:gd name="connsiteX32" fmla="*/ 1454524 w 5741575"/>
              <a:gd name="connsiteY32" fmla="*/ 649224 h 955271"/>
              <a:gd name="connsiteX33" fmla="*/ 1616217 w 5741575"/>
              <a:gd name="connsiteY33" fmla="*/ 622107 h 955271"/>
              <a:gd name="connsiteX34" fmla="*/ 1710928 w 5741575"/>
              <a:gd name="connsiteY34" fmla="*/ 600666 h 955271"/>
              <a:gd name="connsiteX35" fmla="*/ 1743718 w 5741575"/>
              <a:gd name="connsiteY35" fmla="*/ 584327 h 955271"/>
              <a:gd name="connsiteX36" fmla="*/ 1873778 w 5741575"/>
              <a:gd name="connsiteY36" fmla="*/ 530130 h 955271"/>
              <a:gd name="connsiteX37" fmla="*/ 1988411 w 5741575"/>
              <a:gd name="connsiteY37" fmla="*/ 491599 h 955271"/>
              <a:gd name="connsiteX38" fmla="*/ 2085507 w 5741575"/>
              <a:gd name="connsiteY38" fmla="*/ 498527 h 955271"/>
              <a:gd name="connsiteX39" fmla="*/ 2090767 w 5741575"/>
              <a:gd name="connsiteY39" fmla="*/ 490616 h 955271"/>
              <a:gd name="connsiteX40" fmla="*/ 2151143 w 5741575"/>
              <a:gd name="connsiteY40" fmla="*/ 478332 h 955271"/>
              <a:gd name="connsiteX41" fmla="*/ 2378710 w 5741575"/>
              <a:gd name="connsiteY41" fmla="*/ 477570 h 955271"/>
              <a:gd name="connsiteX42" fmla="*/ 2496256 w 5741575"/>
              <a:gd name="connsiteY42" fmla="*/ 452396 h 955271"/>
              <a:gd name="connsiteX43" fmla="*/ 2535387 w 5741575"/>
              <a:gd name="connsiteY43" fmla="*/ 436645 h 955271"/>
              <a:gd name="connsiteX44" fmla="*/ 2601109 w 5741575"/>
              <a:gd name="connsiteY44" fmla="*/ 410678 h 955271"/>
              <a:gd name="connsiteX45" fmla="*/ 2643855 w 5741575"/>
              <a:gd name="connsiteY45" fmla="*/ 374482 h 955271"/>
              <a:gd name="connsiteX46" fmla="*/ 2657726 w 5741575"/>
              <a:gd name="connsiteY46" fmla="*/ 365841 h 955271"/>
              <a:gd name="connsiteX47" fmla="*/ 2687125 w 5741575"/>
              <a:gd name="connsiteY47" fmla="*/ 366820 h 955271"/>
              <a:gd name="connsiteX48" fmla="*/ 2697479 w 5741575"/>
              <a:gd name="connsiteY48" fmla="*/ 361430 h 955271"/>
              <a:gd name="connsiteX49" fmla="*/ 2701547 w 5741575"/>
              <a:gd name="connsiteY49" fmla="*/ 361545 h 955271"/>
              <a:gd name="connsiteX50" fmla="*/ 2711054 w 5741575"/>
              <a:gd name="connsiteY50" fmla="*/ 360597 h 955271"/>
              <a:gd name="connsiteX51" fmla="*/ 2710438 w 5741575"/>
              <a:gd name="connsiteY51" fmla="*/ 366958 h 955271"/>
              <a:gd name="connsiteX52" fmla="*/ 2722936 w 5741575"/>
              <a:gd name="connsiteY52" fmla="*/ 377633 h 955271"/>
              <a:gd name="connsiteX53" fmla="*/ 2777227 w 5741575"/>
              <a:gd name="connsiteY53" fmla="*/ 368972 h 955271"/>
              <a:gd name="connsiteX54" fmla="*/ 2779510 w 5741575"/>
              <a:gd name="connsiteY54" fmla="*/ 361652 h 955271"/>
              <a:gd name="connsiteX55" fmla="*/ 2786278 w 5741575"/>
              <a:gd name="connsiteY55" fmla="*/ 359869 h 955271"/>
              <a:gd name="connsiteX56" fmla="*/ 2792101 w 5741575"/>
              <a:gd name="connsiteY56" fmla="*/ 365927 h 955271"/>
              <a:gd name="connsiteX57" fmla="*/ 2885545 w 5741575"/>
              <a:gd name="connsiteY57" fmla="*/ 372818 h 955271"/>
              <a:gd name="connsiteX58" fmla="*/ 3009558 w 5741575"/>
              <a:gd name="connsiteY58" fmla="*/ 370573 h 955271"/>
              <a:gd name="connsiteX59" fmla="*/ 3095010 w 5741575"/>
              <a:gd name="connsiteY59" fmla="*/ 332454 h 955271"/>
              <a:gd name="connsiteX60" fmla="*/ 3103742 w 5741575"/>
              <a:gd name="connsiteY60" fmla="*/ 337974 h 955271"/>
              <a:gd name="connsiteX61" fmla="*/ 3165093 w 5741575"/>
              <a:gd name="connsiteY61" fmla="*/ 329459 h 955271"/>
              <a:gd name="connsiteX62" fmla="*/ 3373785 w 5741575"/>
              <a:gd name="connsiteY62" fmla="*/ 255680 h 955271"/>
              <a:gd name="connsiteX63" fmla="*/ 3493851 w 5741575"/>
              <a:gd name="connsiteY63" fmla="*/ 240255 h 955271"/>
              <a:gd name="connsiteX64" fmla="*/ 3537470 w 5741575"/>
              <a:gd name="connsiteY64" fmla="*/ 241867 h 955271"/>
              <a:gd name="connsiteX65" fmla="*/ 3610489 w 5741575"/>
              <a:gd name="connsiteY65" fmla="*/ 244128 h 955271"/>
              <a:gd name="connsiteX66" fmla="*/ 3667539 w 5741575"/>
              <a:gd name="connsiteY66" fmla="*/ 263271 h 955271"/>
              <a:gd name="connsiteX67" fmla="*/ 3727614 w 5741575"/>
              <a:gd name="connsiteY67" fmla="*/ 258245 h 955271"/>
              <a:gd name="connsiteX68" fmla="*/ 3738369 w 5741575"/>
              <a:gd name="connsiteY68" fmla="*/ 234506 h 955271"/>
              <a:gd name="connsiteX69" fmla="*/ 3803670 w 5741575"/>
              <a:gd name="connsiteY69" fmla="*/ 236457 h 955271"/>
              <a:gd name="connsiteX70" fmla="*/ 3903080 w 5741575"/>
              <a:gd name="connsiteY70" fmla="*/ 241890 h 955271"/>
              <a:gd name="connsiteX71" fmla="*/ 4114838 w 5741575"/>
              <a:gd name="connsiteY71" fmla="*/ 238165 h 955271"/>
              <a:gd name="connsiteX72" fmla="*/ 4271023 w 5741575"/>
              <a:gd name="connsiteY72" fmla="*/ 241959 h 955271"/>
              <a:gd name="connsiteX73" fmla="*/ 4367397 w 5741575"/>
              <a:gd name="connsiteY73" fmla="*/ 271442 h 955271"/>
              <a:gd name="connsiteX74" fmla="*/ 4495366 w 5741575"/>
              <a:gd name="connsiteY74" fmla="*/ 271618 h 955271"/>
              <a:gd name="connsiteX75" fmla="*/ 4517347 w 5741575"/>
              <a:gd name="connsiteY75" fmla="*/ 275639 h 955271"/>
              <a:gd name="connsiteX76" fmla="*/ 4546116 w 5741575"/>
              <a:gd name="connsiteY76" fmla="*/ 268568 h 955271"/>
              <a:gd name="connsiteX77" fmla="*/ 4661259 w 5741575"/>
              <a:gd name="connsiteY77" fmla="*/ 238966 h 955271"/>
              <a:gd name="connsiteX78" fmla="*/ 4750403 w 5741575"/>
              <a:gd name="connsiteY78" fmla="*/ 204364 h 955271"/>
              <a:gd name="connsiteX79" fmla="*/ 4867614 w 5741575"/>
              <a:gd name="connsiteY79" fmla="*/ 208668 h 955271"/>
              <a:gd name="connsiteX80" fmla="*/ 4937036 w 5741575"/>
              <a:gd name="connsiteY80" fmla="*/ 195446 h 955271"/>
              <a:gd name="connsiteX81" fmla="*/ 5047626 w 5741575"/>
              <a:gd name="connsiteY81" fmla="*/ 149604 h 955271"/>
              <a:gd name="connsiteX82" fmla="*/ 5200247 w 5741575"/>
              <a:gd name="connsiteY82" fmla="*/ 142695 h 955271"/>
              <a:gd name="connsiteX83" fmla="*/ 5235691 w 5741575"/>
              <a:gd name="connsiteY83" fmla="*/ 173330 h 955271"/>
              <a:gd name="connsiteX84" fmla="*/ 5280133 w 5741575"/>
              <a:gd name="connsiteY84" fmla="*/ 189342 h 955271"/>
              <a:gd name="connsiteX85" fmla="*/ 5291963 w 5741575"/>
              <a:gd name="connsiteY85" fmla="*/ 139446 h 955271"/>
              <a:gd name="connsiteX86" fmla="*/ 5418472 w 5741575"/>
              <a:gd name="connsiteY86" fmla="*/ 89163 h 955271"/>
              <a:gd name="connsiteX87" fmla="*/ 5482354 w 5741575"/>
              <a:gd name="connsiteY87" fmla="*/ 69470 h 955271"/>
              <a:gd name="connsiteX88" fmla="*/ 5583280 w 5741575"/>
              <a:gd name="connsiteY88" fmla="*/ 49787 h 955271"/>
              <a:gd name="connsiteX89" fmla="*/ 5613766 w 5741575"/>
              <a:gd name="connsiteY89" fmla="*/ 41855 h 955271"/>
              <a:gd name="connsiteX90" fmla="*/ 5684952 w 5741575"/>
              <a:gd name="connsiteY90" fmla="*/ 26088 h 955271"/>
              <a:gd name="connsiteX91" fmla="*/ 5741575 w 5741575"/>
              <a:gd name="connsiteY91" fmla="*/ 0 h 955271"/>
              <a:gd name="connsiteX0" fmla="*/ 5741575 w 5741575"/>
              <a:gd name="connsiteY0" fmla="*/ 0 h 955271"/>
              <a:gd name="connsiteX1" fmla="*/ 5741575 w 5741575"/>
              <a:gd name="connsiteY1" fmla="*/ 955271 h 955271"/>
              <a:gd name="connsiteX2" fmla="*/ 0 w 5741575"/>
              <a:gd name="connsiteY2" fmla="*/ 955271 h 955271"/>
              <a:gd name="connsiteX3" fmla="*/ 8558 w 5741575"/>
              <a:gd name="connsiteY3" fmla="*/ 953971 h 955271"/>
              <a:gd name="connsiteX4" fmla="*/ 16894 w 5741575"/>
              <a:gd name="connsiteY4" fmla="*/ 953847 h 955271"/>
              <a:gd name="connsiteX5" fmla="*/ 28156 w 5741575"/>
              <a:gd name="connsiteY5" fmla="*/ 951374 h 955271"/>
              <a:gd name="connsiteX6" fmla="*/ 28293 w 5741575"/>
              <a:gd name="connsiteY6" fmla="*/ 950971 h 955271"/>
              <a:gd name="connsiteX7" fmla="*/ 39115 w 5741575"/>
              <a:gd name="connsiteY7" fmla="*/ 949326 h 955271"/>
              <a:gd name="connsiteX8" fmla="*/ 93851 w 5741575"/>
              <a:gd name="connsiteY8" fmla="*/ 945611 h 955271"/>
              <a:gd name="connsiteX9" fmla="*/ 148657 w 5741575"/>
              <a:gd name="connsiteY9" fmla="*/ 898134 h 955271"/>
              <a:gd name="connsiteX10" fmla="*/ 174554 w 5741575"/>
              <a:gd name="connsiteY10" fmla="*/ 886351 h 955271"/>
              <a:gd name="connsiteX11" fmla="*/ 187633 w 5741575"/>
              <a:gd name="connsiteY11" fmla="*/ 878226 h 955271"/>
              <a:gd name="connsiteX12" fmla="*/ 187961 w 5741575"/>
              <a:gd name="connsiteY12" fmla="*/ 876538 h 955271"/>
              <a:gd name="connsiteX13" fmla="*/ 240501 w 5741575"/>
              <a:gd name="connsiteY13" fmla="*/ 873150 h 955271"/>
              <a:gd name="connsiteX14" fmla="*/ 246345 w 5741575"/>
              <a:gd name="connsiteY14" fmla="*/ 869942 h 955271"/>
              <a:gd name="connsiteX15" fmla="*/ 282041 w 5741575"/>
              <a:gd name="connsiteY15" fmla="*/ 871263 h 955271"/>
              <a:gd name="connsiteX16" fmla="*/ 299711 w 5741575"/>
              <a:gd name="connsiteY16" fmla="*/ 870064 h 955271"/>
              <a:gd name="connsiteX17" fmla="*/ 306299 w 5741575"/>
              <a:gd name="connsiteY17" fmla="*/ 873609 h 955271"/>
              <a:gd name="connsiteX18" fmla="*/ 331571 w 5741575"/>
              <a:gd name="connsiteY18" fmla="*/ 869866 h 955271"/>
              <a:gd name="connsiteX19" fmla="*/ 333872 w 5741575"/>
              <a:gd name="connsiteY19" fmla="*/ 867971 h 955271"/>
              <a:gd name="connsiteX20" fmla="*/ 356953 w 5741575"/>
              <a:gd name="connsiteY20" fmla="*/ 870334 h 955271"/>
              <a:gd name="connsiteX21" fmla="*/ 570239 w 5741575"/>
              <a:gd name="connsiteY21" fmla="*/ 829596 h 955271"/>
              <a:gd name="connsiteX22" fmla="*/ 787156 w 5741575"/>
              <a:gd name="connsiteY22" fmla="*/ 838447 h 955271"/>
              <a:gd name="connsiteX23" fmla="*/ 948872 w 5741575"/>
              <a:gd name="connsiteY23" fmla="*/ 772201 h 955271"/>
              <a:gd name="connsiteX24" fmla="*/ 1212574 w 5741575"/>
              <a:gd name="connsiteY24" fmla="*/ 724238 h 955271"/>
              <a:gd name="connsiteX25" fmla="*/ 1280768 w 5741575"/>
              <a:gd name="connsiteY25" fmla="*/ 699122 h 955271"/>
              <a:gd name="connsiteX26" fmla="*/ 1352027 w 5741575"/>
              <a:gd name="connsiteY26" fmla="*/ 704323 h 955271"/>
              <a:gd name="connsiteX27" fmla="*/ 1374314 w 5741575"/>
              <a:gd name="connsiteY27" fmla="*/ 688815 h 955271"/>
              <a:gd name="connsiteX28" fmla="*/ 1378034 w 5741575"/>
              <a:gd name="connsiteY28" fmla="*/ 685842 h 955271"/>
              <a:gd name="connsiteX29" fmla="*/ 1395604 w 5741575"/>
              <a:gd name="connsiteY29" fmla="*/ 680460 h 955271"/>
              <a:gd name="connsiteX30" fmla="*/ 1397206 w 5741575"/>
              <a:gd name="connsiteY30" fmla="*/ 670793 h 955271"/>
              <a:gd name="connsiteX31" fmla="*/ 1421250 w 5741575"/>
              <a:gd name="connsiteY31" fmla="*/ 656855 h 955271"/>
              <a:gd name="connsiteX32" fmla="*/ 1454524 w 5741575"/>
              <a:gd name="connsiteY32" fmla="*/ 649224 h 955271"/>
              <a:gd name="connsiteX33" fmla="*/ 1616217 w 5741575"/>
              <a:gd name="connsiteY33" fmla="*/ 622107 h 955271"/>
              <a:gd name="connsiteX34" fmla="*/ 1710928 w 5741575"/>
              <a:gd name="connsiteY34" fmla="*/ 600666 h 955271"/>
              <a:gd name="connsiteX35" fmla="*/ 1743718 w 5741575"/>
              <a:gd name="connsiteY35" fmla="*/ 584327 h 955271"/>
              <a:gd name="connsiteX36" fmla="*/ 1873778 w 5741575"/>
              <a:gd name="connsiteY36" fmla="*/ 530130 h 955271"/>
              <a:gd name="connsiteX37" fmla="*/ 1988411 w 5741575"/>
              <a:gd name="connsiteY37" fmla="*/ 491599 h 955271"/>
              <a:gd name="connsiteX38" fmla="*/ 2085507 w 5741575"/>
              <a:gd name="connsiteY38" fmla="*/ 498527 h 955271"/>
              <a:gd name="connsiteX39" fmla="*/ 2090767 w 5741575"/>
              <a:gd name="connsiteY39" fmla="*/ 490616 h 955271"/>
              <a:gd name="connsiteX40" fmla="*/ 2151143 w 5741575"/>
              <a:gd name="connsiteY40" fmla="*/ 478332 h 955271"/>
              <a:gd name="connsiteX41" fmla="*/ 2378710 w 5741575"/>
              <a:gd name="connsiteY41" fmla="*/ 477570 h 955271"/>
              <a:gd name="connsiteX42" fmla="*/ 2496256 w 5741575"/>
              <a:gd name="connsiteY42" fmla="*/ 452396 h 955271"/>
              <a:gd name="connsiteX43" fmla="*/ 2535387 w 5741575"/>
              <a:gd name="connsiteY43" fmla="*/ 436645 h 955271"/>
              <a:gd name="connsiteX44" fmla="*/ 2601109 w 5741575"/>
              <a:gd name="connsiteY44" fmla="*/ 410678 h 955271"/>
              <a:gd name="connsiteX45" fmla="*/ 2643855 w 5741575"/>
              <a:gd name="connsiteY45" fmla="*/ 374482 h 955271"/>
              <a:gd name="connsiteX46" fmla="*/ 2657726 w 5741575"/>
              <a:gd name="connsiteY46" fmla="*/ 365841 h 955271"/>
              <a:gd name="connsiteX47" fmla="*/ 2687125 w 5741575"/>
              <a:gd name="connsiteY47" fmla="*/ 366820 h 955271"/>
              <a:gd name="connsiteX48" fmla="*/ 2697479 w 5741575"/>
              <a:gd name="connsiteY48" fmla="*/ 361430 h 955271"/>
              <a:gd name="connsiteX49" fmla="*/ 2701547 w 5741575"/>
              <a:gd name="connsiteY49" fmla="*/ 361545 h 955271"/>
              <a:gd name="connsiteX50" fmla="*/ 2711054 w 5741575"/>
              <a:gd name="connsiteY50" fmla="*/ 360597 h 955271"/>
              <a:gd name="connsiteX51" fmla="*/ 2710438 w 5741575"/>
              <a:gd name="connsiteY51" fmla="*/ 366958 h 955271"/>
              <a:gd name="connsiteX52" fmla="*/ 2722936 w 5741575"/>
              <a:gd name="connsiteY52" fmla="*/ 377633 h 955271"/>
              <a:gd name="connsiteX53" fmla="*/ 2777227 w 5741575"/>
              <a:gd name="connsiteY53" fmla="*/ 368972 h 955271"/>
              <a:gd name="connsiteX54" fmla="*/ 2779510 w 5741575"/>
              <a:gd name="connsiteY54" fmla="*/ 361652 h 955271"/>
              <a:gd name="connsiteX55" fmla="*/ 2786278 w 5741575"/>
              <a:gd name="connsiteY55" fmla="*/ 359869 h 955271"/>
              <a:gd name="connsiteX56" fmla="*/ 2792101 w 5741575"/>
              <a:gd name="connsiteY56" fmla="*/ 365927 h 955271"/>
              <a:gd name="connsiteX57" fmla="*/ 2885545 w 5741575"/>
              <a:gd name="connsiteY57" fmla="*/ 372818 h 955271"/>
              <a:gd name="connsiteX58" fmla="*/ 3009558 w 5741575"/>
              <a:gd name="connsiteY58" fmla="*/ 370573 h 955271"/>
              <a:gd name="connsiteX59" fmla="*/ 3095010 w 5741575"/>
              <a:gd name="connsiteY59" fmla="*/ 332454 h 955271"/>
              <a:gd name="connsiteX60" fmla="*/ 3103742 w 5741575"/>
              <a:gd name="connsiteY60" fmla="*/ 337974 h 955271"/>
              <a:gd name="connsiteX61" fmla="*/ 3165093 w 5741575"/>
              <a:gd name="connsiteY61" fmla="*/ 329459 h 955271"/>
              <a:gd name="connsiteX62" fmla="*/ 3373785 w 5741575"/>
              <a:gd name="connsiteY62" fmla="*/ 255680 h 955271"/>
              <a:gd name="connsiteX63" fmla="*/ 3493851 w 5741575"/>
              <a:gd name="connsiteY63" fmla="*/ 240255 h 955271"/>
              <a:gd name="connsiteX64" fmla="*/ 3537470 w 5741575"/>
              <a:gd name="connsiteY64" fmla="*/ 241867 h 955271"/>
              <a:gd name="connsiteX65" fmla="*/ 3610489 w 5741575"/>
              <a:gd name="connsiteY65" fmla="*/ 244128 h 955271"/>
              <a:gd name="connsiteX66" fmla="*/ 3667539 w 5741575"/>
              <a:gd name="connsiteY66" fmla="*/ 263271 h 955271"/>
              <a:gd name="connsiteX67" fmla="*/ 3727614 w 5741575"/>
              <a:gd name="connsiteY67" fmla="*/ 258245 h 955271"/>
              <a:gd name="connsiteX68" fmla="*/ 3738369 w 5741575"/>
              <a:gd name="connsiteY68" fmla="*/ 234506 h 955271"/>
              <a:gd name="connsiteX69" fmla="*/ 3803670 w 5741575"/>
              <a:gd name="connsiteY69" fmla="*/ 236457 h 955271"/>
              <a:gd name="connsiteX70" fmla="*/ 3903080 w 5741575"/>
              <a:gd name="connsiteY70" fmla="*/ 241890 h 955271"/>
              <a:gd name="connsiteX71" fmla="*/ 4114838 w 5741575"/>
              <a:gd name="connsiteY71" fmla="*/ 238165 h 955271"/>
              <a:gd name="connsiteX72" fmla="*/ 4271023 w 5741575"/>
              <a:gd name="connsiteY72" fmla="*/ 241959 h 955271"/>
              <a:gd name="connsiteX73" fmla="*/ 4367397 w 5741575"/>
              <a:gd name="connsiteY73" fmla="*/ 271442 h 955271"/>
              <a:gd name="connsiteX74" fmla="*/ 4495366 w 5741575"/>
              <a:gd name="connsiteY74" fmla="*/ 271618 h 955271"/>
              <a:gd name="connsiteX75" fmla="*/ 4517347 w 5741575"/>
              <a:gd name="connsiteY75" fmla="*/ 275639 h 955271"/>
              <a:gd name="connsiteX76" fmla="*/ 4546116 w 5741575"/>
              <a:gd name="connsiteY76" fmla="*/ 268568 h 955271"/>
              <a:gd name="connsiteX77" fmla="*/ 4661259 w 5741575"/>
              <a:gd name="connsiteY77" fmla="*/ 238966 h 955271"/>
              <a:gd name="connsiteX78" fmla="*/ 4750403 w 5741575"/>
              <a:gd name="connsiteY78" fmla="*/ 204364 h 955271"/>
              <a:gd name="connsiteX79" fmla="*/ 4867614 w 5741575"/>
              <a:gd name="connsiteY79" fmla="*/ 208668 h 955271"/>
              <a:gd name="connsiteX80" fmla="*/ 4937036 w 5741575"/>
              <a:gd name="connsiteY80" fmla="*/ 195446 h 955271"/>
              <a:gd name="connsiteX81" fmla="*/ 5047626 w 5741575"/>
              <a:gd name="connsiteY81" fmla="*/ 149604 h 955271"/>
              <a:gd name="connsiteX82" fmla="*/ 5200247 w 5741575"/>
              <a:gd name="connsiteY82" fmla="*/ 142695 h 955271"/>
              <a:gd name="connsiteX83" fmla="*/ 5235691 w 5741575"/>
              <a:gd name="connsiteY83" fmla="*/ 173330 h 955271"/>
              <a:gd name="connsiteX84" fmla="*/ 5280133 w 5741575"/>
              <a:gd name="connsiteY84" fmla="*/ 189342 h 955271"/>
              <a:gd name="connsiteX85" fmla="*/ 5291963 w 5741575"/>
              <a:gd name="connsiteY85" fmla="*/ 139446 h 955271"/>
              <a:gd name="connsiteX86" fmla="*/ 5418472 w 5741575"/>
              <a:gd name="connsiteY86" fmla="*/ 89163 h 955271"/>
              <a:gd name="connsiteX87" fmla="*/ 5482354 w 5741575"/>
              <a:gd name="connsiteY87" fmla="*/ 69470 h 955271"/>
              <a:gd name="connsiteX88" fmla="*/ 5583280 w 5741575"/>
              <a:gd name="connsiteY88" fmla="*/ 49787 h 955271"/>
              <a:gd name="connsiteX89" fmla="*/ 5613766 w 5741575"/>
              <a:gd name="connsiteY89" fmla="*/ 41855 h 955271"/>
              <a:gd name="connsiteX90" fmla="*/ 5684952 w 5741575"/>
              <a:gd name="connsiteY90" fmla="*/ 26088 h 955271"/>
              <a:gd name="connsiteX91" fmla="*/ 5741575 w 5741575"/>
              <a:gd name="connsiteY91" fmla="*/ 0 h 955271"/>
              <a:gd name="connsiteX0" fmla="*/ 5741575 w 5741575"/>
              <a:gd name="connsiteY0" fmla="*/ 0 h 955271"/>
              <a:gd name="connsiteX1" fmla="*/ 5741575 w 5741575"/>
              <a:gd name="connsiteY1" fmla="*/ 955271 h 955271"/>
              <a:gd name="connsiteX2" fmla="*/ 0 w 5741575"/>
              <a:gd name="connsiteY2" fmla="*/ 955271 h 955271"/>
              <a:gd name="connsiteX3" fmla="*/ 8558 w 5741575"/>
              <a:gd name="connsiteY3" fmla="*/ 953971 h 955271"/>
              <a:gd name="connsiteX4" fmla="*/ 16894 w 5741575"/>
              <a:gd name="connsiteY4" fmla="*/ 953847 h 955271"/>
              <a:gd name="connsiteX5" fmla="*/ 28156 w 5741575"/>
              <a:gd name="connsiteY5" fmla="*/ 951374 h 955271"/>
              <a:gd name="connsiteX6" fmla="*/ 28293 w 5741575"/>
              <a:gd name="connsiteY6" fmla="*/ 950971 h 955271"/>
              <a:gd name="connsiteX7" fmla="*/ 39115 w 5741575"/>
              <a:gd name="connsiteY7" fmla="*/ 949326 h 955271"/>
              <a:gd name="connsiteX8" fmla="*/ 93851 w 5741575"/>
              <a:gd name="connsiteY8" fmla="*/ 945611 h 955271"/>
              <a:gd name="connsiteX9" fmla="*/ 148657 w 5741575"/>
              <a:gd name="connsiteY9" fmla="*/ 898134 h 955271"/>
              <a:gd name="connsiteX10" fmla="*/ 174554 w 5741575"/>
              <a:gd name="connsiteY10" fmla="*/ 886351 h 955271"/>
              <a:gd name="connsiteX11" fmla="*/ 187633 w 5741575"/>
              <a:gd name="connsiteY11" fmla="*/ 878226 h 955271"/>
              <a:gd name="connsiteX12" fmla="*/ 187961 w 5741575"/>
              <a:gd name="connsiteY12" fmla="*/ 876538 h 955271"/>
              <a:gd name="connsiteX13" fmla="*/ 240501 w 5741575"/>
              <a:gd name="connsiteY13" fmla="*/ 873150 h 955271"/>
              <a:gd name="connsiteX14" fmla="*/ 246345 w 5741575"/>
              <a:gd name="connsiteY14" fmla="*/ 869942 h 955271"/>
              <a:gd name="connsiteX15" fmla="*/ 282041 w 5741575"/>
              <a:gd name="connsiteY15" fmla="*/ 871263 h 955271"/>
              <a:gd name="connsiteX16" fmla="*/ 299711 w 5741575"/>
              <a:gd name="connsiteY16" fmla="*/ 870064 h 955271"/>
              <a:gd name="connsiteX17" fmla="*/ 306299 w 5741575"/>
              <a:gd name="connsiteY17" fmla="*/ 873609 h 955271"/>
              <a:gd name="connsiteX18" fmla="*/ 331571 w 5741575"/>
              <a:gd name="connsiteY18" fmla="*/ 869866 h 955271"/>
              <a:gd name="connsiteX19" fmla="*/ 333872 w 5741575"/>
              <a:gd name="connsiteY19" fmla="*/ 867971 h 955271"/>
              <a:gd name="connsiteX20" fmla="*/ 356953 w 5741575"/>
              <a:gd name="connsiteY20" fmla="*/ 870334 h 955271"/>
              <a:gd name="connsiteX21" fmla="*/ 570239 w 5741575"/>
              <a:gd name="connsiteY21" fmla="*/ 829596 h 955271"/>
              <a:gd name="connsiteX22" fmla="*/ 787156 w 5741575"/>
              <a:gd name="connsiteY22" fmla="*/ 838447 h 955271"/>
              <a:gd name="connsiteX23" fmla="*/ 948872 w 5741575"/>
              <a:gd name="connsiteY23" fmla="*/ 772201 h 955271"/>
              <a:gd name="connsiteX24" fmla="*/ 1127089 w 5741575"/>
              <a:gd name="connsiteY24" fmla="*/ 746926 h 955271"/>
              <a:gd name="connsiteX25" fmla="*/ 1280768 w 5741575"/>
              <a:gd name="connsiteY25" fmla="*/ 699122 h 955271"/>
              <a:gd name="connsiteX26" fmla="*/ 1352027 w 5741575"/>
              <a:gd name="connsiteY26" fmla="*/ 704323 h 955271"/>
              <a:gd name="connsiteX27" fmla="*/ 1374314 w 5741575"/>
              <a:gd name="connsiteY27" fmla="*/ 688815 h 955271"/>
              <a:gd name="connsiteX28" fmla="*/ 1378034 w 5741575"/>
              <a:gd name="connsiteY28" fmla="*/ 685842 h 955271"/>
              <a:gd name="connsiteX29" fmla="*/ 1395604 w 5741575"/>
              <a:gd name="connsiteY29" fmla="*/ 680460 h 955271"/>
              <a:gd name="connsiteX30" fmla="*/ 1397206 w 5741575"/>
              <a:gd name="connsiteY30" fmla="*/ 670793 h 955271"/>
              <a:gd name="connsiteX31" fmla="*/ 1421250 w 5741575"/>
              <a:gd name="connsiteY31" fmla="*/ 656855 h 955271"/>
              <a:gd name="connsiteX32" fmla="*/ 1454524 w 5741575"/>
              <a:gd name="connsiteY32" fmla="*/ 649224 h 955271"/>
              <a:gd name="connsiteX33" fmla="*/ 1616217 w 5741575"/>
              <a:gd name="connsiteY33" fmla="*/ 622107 h 955271"/>
              <a:gd name="connsiteX34" fmla="*/ 1710928 w 5741575"/>
              <a:gd name="connsiteY34" fmla="*/ 600666 h 955271"/>
              <a:gd name="connsiteX35" fmla="*/ 1743718 w 5741575"/>
              <a:gd name="connsiteY35" fmla="*/ 584327 h 955271"/>
              <a:gd name="connsiteX36" fmla="*/ 1873778 w 5741575"/>
              <a:gd name="connsiteY36" fmla="*/ 530130 h 955271"/>
              <a:gd name="connsiteX37" fmla="*/ 1988411 w 5741575"/>
              <a:gd name="connsiteY37" fmla="*/ 491599 h 955271"/>
              <a:gd name="connsiteX38" fmla="*/ 2085507 w 5741575"/>
              <a:gd name="connsiteY38" fmla="*/ 498527 h 955271"/>
              <a:gd name="connsiteX39" fmla="*/ 2090767 w 5741575"/>
              <a:gd name="connsiteY39" fmla="*/ 490616 h 955271"/>
              <a:gd name="connsiteX40" fmla="*/ 2151143 w 5741575"/>
              <a:gd name="connsiteY40" fmla="*/ 478332 h 955271"/>
              <a:gd name="connsiteX41" fmla="*/ 2378710 w 5741575"/>
              <a:gd name="connsiteY41" fmla="*/ 477570 h 955271"/>
              <a:gd name="connsiteX42" fmla="*/ 2496256 w 5741575"/>
              <a:gd name="connsiteY42" fmla="*/ 452396 h 955271"/>
              <a:gd name="connsiteX43" fmla="*/ 2535387 w 5741575"/>
              <a:gd name="connsiteY43" fmla="*/ 436645 h 955271"/>
              <a:gd name="connsiteX44" fmla="*/ 2601109 w 5741575"/>
              <a:gd name="connsiteY44" fmla="*/ 410678 h 955271"/>
              <a:gd name="connsiteX45" fmla="*/ 2643855 w 5741575"/>
              <a:gd name="connsiteY45" fmla="*/ 374482 h 955271"/>
              <a:gd name="connsiteX46" fmla="*/ 2657726 w 5741575"/>
              <a:gd name="connsiteY46" fmla="*/ 365841 h 955271"/>
              <a:gd name="connsiteX47" fmla="*/ 2687125 w 5741575"/>
              <a:gd name="connsiteY47" fmla="*/ 366820 h 955271"/>
              <a:gd name="connsiteX48" fmla="*/ 2697479 w 5741575"/>
              <a:gd name="connsiteY48" fmla="*/ 361430 h 955271"/>
              <a:gd name="connsiteX49" fmla="*/ 2701547 w 5741575"/>
              <a:gd name="connsiteY49" fmla="*/ 361545 h 955271"/>
              <a:gd name="connsiteX50" fmla="*/ 2711054 w 5741575"/>
              <a:gd name="connsiteY50" fmla="*/ 360597 h 955271"/>
              <a:gd name="connsiteX51" fmla="*/ 2710438 w 5741575"/>
              <a:gd name="connsiteY51" fmla="*/ 366958 h 955271"/>
              <a:gd name="connsiteX52" fmla="*/ 2722936 w 5741575"/>
              <a:gd name="connsiteY52" fmla="*/ 377633 h 955271"/>
              <a:gd name="connsiteX53" fmla="*/ 2777227 w 5741575"/>
              <a:gd name="connsiteY53" fmla="*/ 368972 h 955271"/>
              <a:gd name="connsiteX54" fmla="*/ 2779510 w 5741575"/>
              <a:gd name="connsiteY54" fmla="*/ 361652 h 955271"/>
              <a:gd name="connsiteX55" fmla="*/ 2786278 w 5741575"/>
              <a:gd name="connsiteY55" fmla="*/ 359869 h 955271"/>
              <a:gd name="connsiteX56" fmla="*/ 2792101 w 5741575"/>
              <a:gd name="connsiteY56" fmla="*/ 365927 h 955271"/>
              <a:gd name="connsiteX57" fmla="*/ 2885545 w 5741575"/>
              <a:gd name="connsiteY57" fmla="*/ 372818 h 955271"/>
              <a:gd name="connsiteX58" fmla="*/ 3009558 w 5741575"/>
              <a:gd name="connsiteY58" fmla="*/ 370573 h 955271"/>
              <a:gd name="connsiteX59" fmla="*/ 3095010 w 5741575"/>
              <a:gd name="connsiteY59" fmla="*/ 332454 h 955271"/>
              <a:gd name="connsiteX60" fmla="*/ 3103742 w 5741575"/>
              <a:gd name="connsiteY60" fmla="*/ 337974 h 955271"/>
              <a:gd name="connsiteX61" fmla="*/ 3165093 w 5741575"/>
              <a:gd name="connsiteY61" fmla="*/ 329459 h 955271"/>
              <a:gd name="connsiteX62" fmla="*/ 3373785 w 5741575"/>
              <a:gd name="connsiteY62" fmla="*/ 255680 h 955271"/>
              <a:gd name="connsiteX63" fmla="*/ 3493851 w 5741575"/>
              <a:gd name="connsiteY63" fmla="*/ 240255 h 955271"/>
              <a:gd name="connsiteX64" fmla="*/ 3537470 w 5741575"/>
              <a:gd name="connsiteY64" fmla="*/ 241867 h 955271"/>
              <a:gd name="connsiteX65" fmla="*/ 3610489 w 5741575"/>
              <a:gd name="connsiteY65" fmla="*/ 244128 h 955271"/>
              <a:gd name="connsiteX66" fmla="*/ 3667539 w 5741575"/>
              <a:gd name="connsiteY66" fmla="*/ 263271 h 955271"/>
              <a:gd name="connsiteX67" fmla="*/ 3727614 w 5741575"/>
              <a:gd name="connsiteY67" fmla="*/ 258245 h 955271"/>
              <a:gd name="connsiteX68" fmla="*/ 3738369 w 5741575"/>
              <a:gd name="connsiteY68" fmla="*/ 234506 h 955271"/>
              <a:gd name="connsiteX69" fmla="*/ 3803670 w 5741575"/>
              <a:gd name="connsiteY69" fmla="*/ 236457 h 955271"/>
              <a:gd name="connsiteX70" fmla="*/ 3903080 w 5741575"/>
              <a:gd name="connsiteY70" fmla="*/ 241890 h 955271"/>
              <a:gd name="connsiteX71" fmla="*/ 4114838 w 5741575"/>
              <a:gd name="connsiteY71" fmla="*/ 238165 h 955271"/>
              <a:gd name="connsiteX72" fmla="*/ 4271023 w 5741575"/>
              <a:gd name="connsiteY72" fmla="*/ 241959 h 955271"/>
              <a:gd name="connsiteX73" fmla="*/ 4367397 w 5741575"/>
              <a:gd name="connsiteY73" fmla="*/ 271442 h 955271"/>
              <a:gd name="connsiteX74" fmla="*/ 4495366 w 5741575"/>
              <a:gd name="connsiteY74" fmla="*/ 271618 h 955271"/>
              <a:gd name="connsiteX75" fmla="*/ 4517347 w 5741575"/>
              <a:gd name="connsiteY75" fmla="*/ 275639 h 955271"/>
              <a:gd name="connsiteX76" fmla="*/ 4546116 w 5741575"/>
              <a:gd name="connsiteY76" fmla="*/ 268568 h 955271"/>
              <a:gd name="connsiteX77" fmla="*/ 4661259 w 5741575"/>
              <a:gd name="connsiteY77" fmla="*/ 238966 h 955271"/>
              <a:gd name="connsiteX78" fmla="*/ 4750403 w 5741575"/>
              <a:gd name="connsiteY78" fmla="*/ 204364 h 955271"/>
              <a:gd name="connsiteX79" fmla="*/ 4867614 w 5741575"/>
              <a:gd name="connsiteY79" fmla="*/ 208668 h 955271"/>
              <a:gd name="connsiteX80" fmla="*/ 4937036 w 5741575"/>
              <a:gd name="connsiteY80" fmla="*/ 195446 h 955271"/>
              <a:gd name="connsiteX81" fmla="*/ 5047626 w 5741575"/>
              <a:gd name="connsiteY81" fmla="*/ 149604 h 955271"/>
              <a:gd name="connsiteX82" fmla="*/ 5200247 w 5741575"/>
              <a:gd name="connsiteY82" fmla="*/ 142695 h 955271"/>
              <a:gd name="connsiteX83" fmla="*/ 5235691 w 5741575"/>
              <a:gd name="connsiteY83" fmla="*/ 173330 h 955271"/>
              <a:gd name="connsiteX84" fmla="*/ 5280133 w 5741575"/>
              <a:gd name="connsiteY84" fmla="*/ 189342 h 955271"/>
              <a:gd name="connsiteX85" fmla="*/ 5291963 w 5741575"/>
              <a:gd name="connsiteY85" fmla="*/ 139446 h 955271"/>
              <a:gd name="connsiteX86" fmla="*/ 5418472 w 5741575"/>
              <a:gd name="connsiteY86" fmla="*/ 89163 h 955271"/>
              <a:gd name="connsiteX87" fmla="*/ 5482354 w 5741575"/>
              <a:gd name="connsiteY87" fmla="*/ 69470 h 955271"/>
              <a:gd name="connsiteX88" fmla="*/ 5583280 w 5741575"/>
              <a:gd name="connsiteY88" fmla="*/ 49787 h 955271"/>
              <a:gd name="connsiteX89" fmla="*/ 5613766 w 5741575"/>
              <a:gd name="connsiteY89" fmla="*/ 41855 h 955271"/>
              <a:gd name="connsiteX90" fmla="*/ 5684952 w 5741575"/>
              <a:gd name="connsiteY90" fmla="*/ 26088 h 955271"/>
              <a:gd name="connsiteX91" fmla="*/ 5741575 w 5741575"/>
              <a:gd name="connsiteY91" fmla="*/ 0 h 955271"/>
              <a:gd name="connsiteX0" fmla="*/ 5741575 w 5741575"/>
              <a:gd name="connsiteY0" fmla="*/ 0 h 955271"/>
              <a:gd name="connsiteX1" fmla="*/ 5741575 w 5741575"/>
              <a:gd name="connsiteY1" fmla="*/ 955271 h 955271"/>
              <a:gd name="connsiteX2" fmla="*/ 0 w 5741575"/>
              <a:gd name="connsiteY2" fmla="*/ 955271 h 955271"/>
              <a:gd name="connsiteX3" fmla="*/ 8558 w 5741575"/>
              <a:gd name="connsiteY3" fmla="*/ 953971 h 955271"/>
              <a:gd name="connsiteX4" fmla="*/ 16894 w 5741575"/>
              <a:gd name="connsiteY4" fmla="*/ 953847 h 955271"/>
              <a:gd name="connsiteX5" fmla="*/ 28156 w 5741575"/>
              <a:gd name="connsiteY5" fmla="*/ 951374 h 955271"/>
              <a:gd name="connsiteX6" fmla="*/ 28293 w 5741575"/>
              <a:gd name="connsiteY6" fmla="*/ 950971 h 955271"/>
              <a:gd name="connsiteX7" fmla="*/ 39115 w 5741575"/>
              <a:gd name="connsiteY7" fmla="*/ 949326 h 955271"/>
              <a:gd name="connsiteX8" fmla="*/ 93851 w 5741575"/>
              <a:gd name="connsiteY8" fmla="*/ 945611 h 955271"/>
              <a:gd name="connsiteX9" fmla="*/ 148657 w 5741575"/>
              <a:gd name="connsiteY9" fmla="*/ 898134 h 955271"/>
              <a:gd name="connsiteX10" fmla="*/ 174554 w 5741575"/>
              <a:gd name="connsiteY10" fmla="*/ 886351 h 955271"/>
              <a:gd name="connsiteX11" fmla="*/ 187633 w 5741575"/>
              <a:gd name="connsiteY11" fmla="*/ 878226 h 955271"/>
              <a:gd name="connsiteX12" fmla="*/ 187961 w 5741575"/>
              <a:gd name="connsiteY12" fmla="*/ 876538 h 955271"/>
              <a:gd name="connsiteX13" fmla="*/ 240501 w 5741575"/>
              <a:gd name="connsiteY13" fmla="*/ 873150 h 955271"/>
              <a:gd name="connsiteX14" fmla="*/ 246345 w 5741575"/>
              <a:gd name="connsiteY14" fmla="*/ 869942 h 955271"/>
              <a:gd name="connsiteX15" fmla="*/ 282041 w 5741575"/>
              <a:gd name="connsiteY15" fmla="*/ 871263 h 955271"/>
              <a:gd name="connsiteX16" fmla="*/ 299711 w 5741575"/>
              <a:gd name="connsiteY16" fmla="*/ 870064 h 955271"/>
              <a:gd name="connsiteX17" fmla="*/ 306299 w 5741575"/>
              <a:gd name="connsiteY17" fmla="*/ 873609 h 955271"/>
              <a:gd name="connsiteX18" fmla="*/ 331571 w 5741575"/>
              <a:gd name="connsiteY18" fmla="*/ 869866 h 955271"/>
              <a:gd name="connsiteX19" fmla="*/ 333872 w 5741575"/>
              <a:gd name="connsiteY19" fmla="*/ 867971 h 955271"/>
              <a:gd name="connsiteX20" fmla="*/ 356953 w 5741575"/>
              <a:gd name="connsiteY20" fmla="*/ 870334 h 955271"/>
              <a:gd name="connsiteX21" fmla="*/ 570239 w 5741575"/>
              <a:gd name="connsiteY21" fmla="*/ 829596 h 955271"/>
              <a:gd name="connsiteX22" fmla="*/ 787156 w 5741575"/>
              <a:gd name="connsiteY22" fmla="*/ 838447 h 955271"/>
              <a:gd name="connsiteX23" fmla="*/ 948872 w 5741575"/>
              <a:gd name="connsiteY23" fmla="*/ 772201 h 955271"/>
              <a:gd name="connsiteX24" fmla="*/ 1127089 w 5741575"/>
              <a:gd name="connsiteY24" fmla="*/ 746926 h 955271"/>
              <a:gd name="connsiteX25" fmla="*/ 1220426 w 5741575"/>
              <a:gd name="connsiteY25" fmla="*/ 721810 h 955271"/>
              <a:gd name="connsiteX26" fmla="*/ 1352027 w 5741575"/>
              <a:gd name="connsiteY26" fmla="*/ 704323 h 955271"/>
              <a:gd name="connsiteX27" fmla="*/ 1374314 w 5741575"/>
              <a:gd name="connsiteY27" fmla="*/ 688815 h 955271"/>
              <a:gd name="connsiteX28" fmla="*/ 1378034 w 5741575"/>
              <a:gd name="connsiteY28" fmla="*/ 685842 h 955271"/>
              <a:gd name="connsiteX29" fmla="*/ 1395604 w 5741575"/>
              <a:gd name="connsiteY29" fmla="*/ 680460 h 955271"/>
              <a:gd name="connsiteX30" fmla="*/ 1397206 w 5741575"/>
              <a:gd name="connsiteY30" fmla="*/ 670793 h 955271"/>
              <a:gd name="connsiteX31" fmla="*/ 1421250 w 5741575"/>
              <a:gd name="connsiteY31" fmla="*/ 656855 h 955271"/>
              <a:gd name="connsiteX32" fmla="*/ 1454524 w 5741575"/>
              <a:gd name="connsiteY32" fmla="*/ 649224 h 955271"/>
              <a:gd name="connsiteX33" fmla="*/ 1616217 w 5741575"/>
              <a:gd name="connsiteY33" fmla="*/ 622107 h 955271"/>
              <a:gd name="connsiteX34" fmla="*/ 1710928 w 5741575"/>
              <a:gd name="connsiteY34" fmla="*/ 600666 h 955271"/>
              <a:gd name="connsiteX35" fmla="*/ 1743718 w 5741575"/>
              <a:gd name="connsiteY35" fmla="*/ 584327 h 955271"/>
              <a:gd name="connsiteX36" fmla="*/ 1873778 w 5741575"/>
              <a:gd name="connsiteY36" fmla="*/ 530130 h 955271"/>
              <a:gd name="connsiteX37" fmla="*/ 1988411 w 5741575"/>
              <a:gd name="connsiteY37" fmla="*/ 491599 h 955271"/>
              <a:gd name="connsiteX38" fmla="*/ 2085507 w 5741575"/>
              <a:gd name="connsiteY38" fmla="*/ 498527 h 955271"/>
              <a:gd name="connsiteX39" fmla="*/ 2090767 w 5741575"/>
              <a:gd name="connsiteY39" fmla="*/ 490616 h 955271"/>
              <a:gd name="connsiteX40" fmla="*/ 2151143 w 5741575"/>
              <a:gd name="connsiteY40" fmla="*/ 478332 h 955271"/>
              <a:gd name="connsiteX41" fmla="*/ 2378710 w 5741575"/>
              <a:gd name="connsiteY41" fmla="*/ 477570 h 955271"/>
              <a:gd name="connsiteX42" fmla="*/ 2496256 w 5741575"/>
              <a:gd name="connsiteY42" fmla="*/ 452396 h 955271"/>
              <a:gd name="connsiteX43" fmla="*/ 2535387 w 5741575"/>
              <a:gd name="connsiteY43" fmla="*/ 436645 h 955271"/>
              <a:gd name="connsiteX44" fmla="*/ 2601109 w 5741575"/>
              <a:gd name="connsiteY44" fmla="*/ 410678 h 955271"/>
              <a:gd name="connsiteX45" fmla="*/ 2643855 w 5741575"/>
              <a:gd name="connsiteY45" fmla="*/ 374482 h 955271"/>
              <a:gd name="connsiteX46" fmla="*/ 2657726 w 5741575"/>
              <a:gd name="connsiteY46" fmla="*/ 365841 h 955271"/>
              <a:gd name="connsiteX47" fmla="*/ 2687125 w 5741575"/>
              <a:gd name="connsiteY47" fmla="*/ 366820 h 955271"/>
              <a:gd name="connsiteX48" fmla="*/ 2697479 w 5741575"/>
              <a:gd name="connsiteY48" fmla="*/ 361430 h 955271"/>
              <a:gd name="connsiteX49" fmla="*/ 2701547 w 5741575"/>
              <a:gd name="connsiteY49" fmla="*/ 361545 h 955271"/>
              <a:gd name="connsiteX50" fmla="*/ 2711054 w 5741575"/>
              <a:gd name="connsiteY50" fmla="*/ 360597 h 955271"/>
              <a:gd name="connsiteX51" fmla="*/ 2710438 w 5741575"/>
              <a:gd name="connsiteY51" fmla="*/ 366958 h 955271"/>
              <a:gd name="connsiteX52" fmla="*/ 2722936 w 5741575"/>
              <a:gd name="connsiteY52" fmla="*/ 377633 h 955271"/>
              <a:gd name="connsiteX53" fmla="*/ 2777227 w 5741575"/>
              <a:gd name="connsiteY53" fmla="*/ 368972 h 955271"/>
              <a:gd name="connsiteX54" fmla="*/ 2779510 w 5741575"/>
              <a:gd name="connsiteY54" fmla="*/ 361652 h 955271"/>
              <a:gd name="connsiteX55" fmla="*/ 2786278 w 5741575"/>
              <a:gd name="connsiteY55" fmla="*/ 359869 h 955271"/>
              <a:gd name="connsiteX56" fmla="*/ 2792101 w 5741575"/>
              <a:gd name="connsiteY56" fmla="*/ 365927 h 955271"/>
              <a:gd name="connsiteX57" fmla="*/ 2885545 w 5741575"/>
              <a:gd name="connsiteY57" fmla="*/ 372818 h 955271"/>
              <a:gd name="connsiteX58" fmla="*/ 3009558 w 5741575"/>
              <a:gd name="connsiteY58" fmla="*/ 370573 h 955271"/>
              <a:gd name="connsiteX59" fmla="*/ 3095010 w 5741575"/>
              <a:gd name="connsiteY59" fmla="*/ 332454 h 955271"/>
              <a:gd name="connsiteX60" fmla="*/ 3103742 w 5741575"/>
              <a:gd name="connsiteY60" fmla="*/ 337974 h 955271"/>
              <a:gd name="connsiteX61" fmla="*/ 3165093 w 5741575"/>
              <a:gd name="connsiteY61" fmla="*/ 329459 h 955271"/>
              <a:gd name="connsiteX62" fmla="*/ 3373785 w 5741575"/>
              <a:gd name="connsiteY62" fmla="*/ 255680 h 955271"/>
              <a:gd name="connsiteX63" fmla="*/ 3493851 w 5741575"/>
              <a:gd name="connsiteY63" fmla="*/ 240255 h 955271"/>
              <a:gd name="connsiteX64" fmla="*/ 3537470 w 5741575"/>
              <a:gd name="connsiteY64" fmla="*/ 241867 h 955271"/>
              <a:gd name="connsiteX65" fmla="*/ 3610489 w 5741575"/>
              <a:gd name="connsiteY65" fmla="*/ 244128 h 955271"/>
              <a:gd name="connsiteX66" fmla="*/ 3667539 w 5741575"/>
              <a:gd name="connsiteY66" fmla="*/ 263271 h 955271"/>
              <a:gd name="connsiteX67" fmla="*/ 3727614 w 5741575"/>
              <a:gd name="connsiteY67" fmla="*/ 258245 h 955271"/>
              <a:gd name="connsiteX68" fmla="*/ 3738369 w 5741575"/>
              <a:gd name="connsiteY68" fmla="*/ 234506 h 955271"/>
              <a:gd name="connsiteX69" fmla="*/ 3803670 w 5741575"/>
              <a:gd name="connsiteY69" fmla="*/ 236457 h 955271"/>
              <a:gd name="connsiteX70" fmla="*/ 3903080 w 5741575"/>
              <a:gd name="connsiteY70" fmla="*/ 241890 h 955271"/>
              <a:gd name="connsiteX71" fmla="*/ 4114838 w 5741575"/>
              <a:gd name="connsiteY71" fmla="*/ 238165 h 955271"/>
              <a:gd name="connsiteX72" fmla="*/ 4271023 w 5741575"/>
              <a:gd name="connsiteY72" fmla="*/ 241959 h 955271"/>
              <a:gd name="connsiteX73" fmla="*/ 4367397 w 5741575"/>
              <a:gd name="connsiteY73" fmla="*/ 271442 h 955271"/>
              <a:gd name="connsiteX74" fmla="*/ 4495366 w 5741575"/>
              <a:gd name="connsiteY74" fmla="*/ 271618 h 955271"/>
              <a:gd name="connsiteX75" fmla="*/ 4517347 w 5741575"/>
              <a:gd name="connsiteY75" fmla="*/ 275639 h 955271"/>
              <a:gd name="connsiteX76" fmla="*/ 4546116 w 5741575"/>
              <a:gd name="connsiteY76" fmla="*/ 268568 h 955271"/>
              <a:gd name="connsiteX77" fmla="*/ 4661259 w 5741575"/>
              <a:gd name="connsiteY77" fmla="*/ 238966 h 955271"/>
              <a:gd name="connsiteX78" fmla="*/ 4750403 w 5741575"/>
              <a:gd name="connsiteY78" fmla="*/ 204364 h 955271"/>
              <a:gd name="connsiteX79" fmla="*/ 4867614 w 5741575"/>
              <a:gd name="connsiteY79" fmla="*/ 208668 h 955271"/>
              <a:gd name="connsiteX80" fmla="*/ 4937036 w 5741575"/>
              <a:gd name="connsiteY80" fmla="*/ 195446 h 955271"/>
              <a:gd name="connsiteX81" fmla="*/ 5047626 w 5741575"/>
              <a:gd name="connsiteY81" fmla="*/ 149604 h 955271"/>
              <a:gd name="connsiteX82" fmla="*/ 5200247 w 5741575"/>
              <a:gd name="connsiteY82" fmla="*/ 142695 h 955271"/>
              <a:gd name="connsiteX83" fmla="*/ 5235691 w 5741575"/>
              <a:gd name="connsiteY83" fmla="*/ 173330 h 955271"/>
              <a:gd name="connsiteX84" fmla="*/ 5280133 w 5741575"/>
              <a:gd name="connsiteY84" fmla="*/ 189342 h 955271"/>
              <a:gd name="connsiteX85" fmla="*/ 5291963 w 5741575"/>
              <a:gd name="connsiteY85" fmla="*/ 139446 h 955271"/>
              <a:gd name="connsiteX86" fmla="*/ 5418472 w 5741575"/>
              <a:gd name="connsiteY86" fmla="*/ 89163 h 955271"/>
              <a:gd name="connsiteX87" fmla="*/ 5482354 w 5741575"/>
              <a:gd name="connsiteY87" fmla="*/ 69470 h 955271"/>
              <a:gd name="connsiteX88" fmla="*/ 5583280 w 5741575"/>
              <a:gd name="connsiteY88" fmla="*/ 49787 h 955271"/>
              <a:gd name="connsiteX89" fmla="*/ 5613766 w 5741575"/>
              <a:gd name="connsiteY89" fmla="*/ 41855 h 955271"/>
              <a:gd name="connsiteX90" fmla="*/ 5684952 w 5741575"/>
              <a:gd name="connsiteY90" fmla="*/ 26088 h 955271"/>
              <a:gd name="connsiteX91" fmla="*/ 5741575 w 5741575"/>
              <a:gd name="connsiteY91" fmla="*/ 0 h 955271"/>
              <a:gd name="connsiteX0" fmla="*/ 5741575 w 5741575"/>
              <a:gd name="connsiteY0" fmla="*/ 0 h 955271"/>
              <a:gd name="connsiteX1" fmla="*/ 5741575 w 5741575"/>
              <a:gd name="connsiteY1" fmla="*/ 955271 h 955271"/>
              <a:gd name="connsiteX2" fmla="*/ 0 w 5741575"/>
              <a:gd name="connsiteY2" fmla="*/ 955271 h 955271"/>
              <a:gd name="connsiteX3" fmla="*/ 8558 w 5741575"/>
              <a:gd name="connsiteY3" fmla="*/ 953971 h 955271"/>
              <a:gd name="connsiteX4" fmla="*/ 16894 w 5741575"/>
              <a:gd name="connsiteY4" fmla="*/ 953847 h 955271"/>
              <a:gd name="connsiteX5" fmla="*/ 28156 w 5741575"/>
              <a:gd name="connsiteY5" fmla="*/ 951374 h 955271"/>
              <a:gd name="connsiteX6" fmla="*/ 28293 w 5741575"/>
              <a:gd name="connsiteY6" fmla="*/ 950971 h 955271"/>
              <a:gd name="connsiteX7" fmla="*/ 39115 w 5741575"/>
              <a:gd name="connsiteY7" fmla="*/ 949326 h 955271"/>
              <a:gd name="connsiteX8" fmla="*/ 93851 w 5741575"/>
              <a:gd name="connsiteY8" fmla="*/ 945611 h 955271"/>
              <a:gd name="connsiteX9" fmla="*/ 148657 w 5741575"/>
              <a:gd name="connsiteY9" fmla="*/ 898134 h 955271"/>
              <a:gd name="connsiteX10" fmla="*/ 174554 w 5741575"/>
              <a:gd name="connsiteY10" fmla="*/ 886351 h 955271"/>
              <a:gd name="connsiteX11" fmla="*/ 187633 w 5741575"/>
              <a:gd name="connsiteY11" fmla="*/ 878226 h 955271"/>
              <a:gd name="connsiteX12" fmla="*/ 187961 w 5741575"/>
              <a:gd name="connsiteY12" fmla="*/ 876538 h 955271"/>
              <a:gd name="connsiteX13" fmla="*/ 240501 w 5741575"/>
              <a:gd name="connsiteY13" fmla="*/ 873150 h 955271"/>
              <a:gd name="connsiteX14" fmla="*/ 246345 w 5741575"/>
              <a:gd name="connsiteY14" fmla="*/ 869942 h 955271"/>
              <a:gd name="connsiteX15" fmla="*/ 282041 w 5741575"/>
              <a:gd name="connsiteY15" fmla="*/ 871263 h 955271"/>
              <a:gd name="connsiteX16" fmla="*/ 299711 w 5741575"/>
              <a:gd name="connsiteY16" fmla="*/ 870064 h 955271"/>
              <a:gd name="connsiteX17" fmla="*/ 306299 w 5741575"/>
              <a:gd name="connsiteY17" fmla="*/ 873609 h 955271"/>
              <a:gd name="connsiteX18" fmla="*/ 331571 w 5741575"/>
              <a:gd name="connsiteY18" fmla="*/ 869866 h 955271"/>
              <a:gd name="connsiteX19" fmla="*/ 333872 w 5741575"/>
              <a:gd name="connsiteY19" fmla="*/ 867971 h 955271"/>
              <a:gd name="connsiteX20" fmla="*/ 356953 w 5741575"/>
              <a:gd name="connsiteY20" fmla="*/ 870334 h 955271"/>
              <a:gd name="connsiteX21" fmla="*/ 570239 w 5741575"/>
              <a:gd name="connsiteY21" fmla="*/ 829596 h 955271"/>
              <a:gd name="connsiteX22" fmla="*/ 787156 w 5741575"/>
              <a:gd name="connsiteY22" fmla="*/ 838447 h 955271"/>
              <a:gd name="connsiteX23" fmla="*/ 948872 w 5741575"/>
              <a:gd name="connsiteY23" fmla="*/ 772201 h 955271"/>
              <a:gd name="connsiteX24" fmla="*/ 1127089 w 5741575"/>
              <a:gd name="connsiteY24" fmla="*/ 746926 h 955271"/>
              <a:gd name="connsiteX25" fmla="*/ 1220426 w 5741575"/>
              <a:gd name="connsiteY25" fmla="*/ 721810 h 955271"/>
              <a:gd name="connsiteX26" fmla="*/ 1306771 w 5741575"/>
              <a:gd name="connsiteY26" fmla="*/ 717936 h 955271"/>
              <a:gd name="connsiteX27" fmla="*/ 1374314 w 5741575"/>
              <a:gd name="connsiteY27" fmla="*/ 688815 h 955271"/>
              <a:gd name="connsiteX28" fmla="*/ 1378034 w 5741575"/>
              <a:gd name="connsiteY28" fmla="*/ 685842 h 955271"/>
              <a:gd name="connsiteX29" fmla="*/ 1395604 w 5741575"/>
              <a:gd name="connsiteY29" fmla="*/ 680460 h 955271"/>
              <a:gd name="connsiteX30" fmla="*/ 1397206 w 5741575"/>
              <a:gd name="connsiteY30" fmla="*/ 670793 h 955271"/>
              <a:gd name="connsiteX31" fmla="*/ 1421250 w 5741575"/>
              <a:gd name="connsiteY31" fmla="*/ 656855 h 955271"/>
              <a:gd name="connsiteX32" fmla="*/ 1454524 w 5741575"/>
              <a:gd name="connsiteY32" fmla="*/ 649224 h 955271"/>
              <a:gd name="connsiteX33" fmla="*/ 1616217 w 5741575"/>
              <a:gd name="connsiteY33" fmla="*/ 622107 h 955271"/>
              <a:gd name="connsiteX34" fmla="*/ 1710928 w 5741575"/>
              <a:gd name="connsiteY34" fmla="*/ 600666 h 955271"/>
              <a:gd name="connsiteX35" fmla="*/ 1743718 w 5741575"/>
              <a:gd name="connsiteY35" fmla="*/ 584327 h 955271"/>
              <a:gd name="connsiteX36" fmla="*/ 1873778 w 5741575"/>
              <a:gd name="connsiteY36" fmla="*/ 530130 h 955271"/>
              <a:gd name="connsiteX37" fmla="*/ 1988411 w 5741575"/>
              <a:gd name="connsiteY37" fmla="*/ 491599 h 955271"/>
              <a:gd name="connsiteX38" fmla="*/ 2085507 w 5741575"/>
              <a:gd name="connsiteY38" fmla="*/ 498527 h 955271"/>
              <a:gd name="connsiteX39" fmla="*/ 2090767 w 5741575"/>
              <a:gd name="connsiteY39" fmla="*/ 490616 h 955271"/>
              <a:gd name="connsiteX40" fmla="*/ 2151143 w 5741575"/>
              <a:gd name="connsiteY40" fmla="*/ 478332 h 955271"/>
              <a:gd name="connsiteX41" fmla="*/ 2378710 w 5741575"/>
              <a:gd name="connsiteY41" fmla="*/ 477570 h 955271"/>
              <a:gd name="connsiteX42" fmla="*/ 2496256 w 5741575"/>
              <a:gd name="connsiteY42" fmla="*/ 452396 h 955271"/>
              <a:gd name="connsiteX43" fmla="*/ 2535387 w 5741575"/>
              <a:gd name="connsiteY43" fmla="*/ 436645 h 955271"/>
              <a:gd name="connsiteX44" fmla="*/ 2601109 w 5741575"/>
              <a:gd name="connsiteY44" fmla="*/ 410678 h 955271"/>
              <a:gd name="connsiteX45" fmla="*/ 2643855 w 5741575"/>
              <a:gd name="connsiteY45" fmla="*/ 374482 h 955271"/>
              <a:gd name="connsiteX46" fmla="*/ 2657726 w 5741575"/>
              <a:gd name="connsiteY46" fmla="*/ 365841 h 955271"/>
              <a:gd name="connsiteX47" fmla="*/ 2687125 w 5741575"/>
              <a:gd name="connsiteY47" fmla="*/ 366820 h 955271"/>
              <a:gd name="connsiteX48" fmla="*/ 2697479 w 5741575"/>
              <a:gd name="connsiteY48" fmla="*/ 361430 h 955271"/>
              <a:gd name="connsiteX49" fmla="*/ 2701547 w 5741575"/>
              <a:gd name="connsiteY49" fmla="*/ 361545 h 955271"/>
              <a:gd name="connsiteX50" fmla="*/ 2711054 w 5741575"/>
              <a:gd name="connsiteY50" fmla="*/ 360597 h 955271"/>
              <a:gd name="connsiteX51" fmla="*/ 2710438 w 5741575"/>
              <a:gd name="connsiteY51" fmla="*/ 366958 h 955271"/>
              <a:gd name="connsiteX52" fmla="*/ 2722936 w 5741575"/>
              <a:gd name="connsiteY52" fmla="*/ 377633 h 955271"/>
              <a:gd name="connsiteX53" fmla="*/ 2777227 w 5741575"/>
              <a:gd name="connsiteY53" fmla="*/ 368972 h 955271"/>
              <a:gd name="connsiteX54" fmla="*/ 2779510 w 5741575"/>
              <a:gd name="connsiteY54" fmla="*/ 361652 h 955271"/>
              <a:gd name="connsiteX55" fmla="*/ 2786278 w 5741575"/>
              <a:gd name="connsiteY55" fmla="*/ 359869 h 955271"/>
              <a:gd name="connsiteX56" fmla="*/ 2792101 w 5741575"/>
              <a:gd name="connsiteY56" fmla="*/ 365927 h 955271"/>
              <a:gd name="connsiteX57" fmla="*/ 2885545 w 5741575"/>
              <a:gd name="connsiteY57" fmla="*/ 372818 h 955271"/>
              <a:gd name="connsiteX58" fmla="*/ 3009558 w 5741575"/>
              <a:gd name="connsiteY58" fmla="*/ 370573 h 955271"/>
              <a:gd name="connsiteX59" fmla="*/ 3095010 w 5741575"/>
              <a:gd name="connsiteY59" fmla="*/ 332454 h 955271"/>
              <a:gd name="connsiteX60" fmla="*/ 3103742 w 5741575"/>
              <a:gd name="connsiteY60" fmla="*/ 337974 h 955271"/>
              <a:gd name="connsiteX61" fmla="*/ 3165093 w 5741575"/>
              <a:gd name="connsiteY61" fmla="*/ 329459 h 955271"/>
              <a:gd name="connsiteX62" fmla="*/ 3373785 w 5741575"/>
              <a:gd name="connsiteY62" fmla="*/ 255680 h 955271"/>
              <a:gd name="connsiteX63" fmla="*/ 3493851 w 5741575"/>
              <a:gd name="connsiteY63" fmla="*/ 240255 h 955271"/>
              <a:gd name="connsiteX64" fmla="*/ 3537470 w 5741575"/>
              <a:gd name="connsiteY64" fmla="*/ 241867 h 955271"/>
              <a:gd name="connsiteX65" fmla="*/ 3610489 w 5741575"/>
              <a:gd name="connsiteY65" fmla="*/ 244128 h 955271"/>
              <a:gd name="connsiteX66" fmla="*/ 3667539 w 5741575"/>
              <a:gd name="connsiteY66" fmla="*/ 263271 h 955271"/>
              <a:gd name="connsiteX67" fmla="*/ 3727614 w 5741575"/>
              <a:gd name="connsiteY67" fmla="*/ 258245 h 955271"/>
              <a:gd name="connsiteX68" fmla="*/ 3738369 w 5741575"/>
              <a:gd name="connsiteY68" fmla="*/ 234506 h 955271"/>
              <a:gd name="connsiteX69" fmla="*/ 3803670 w 5741575"/>
              <a:gd name="connsiteY69" fmla="*/ 236457 h 955271"/>
              <a:gd name="connsiteX70" fmla="*/ 3903080 w 5741575"/>
              <a:gd name="connsiteY70" fmla="*/ 241890 h 955271"/>
              <a:gd name="connsiteX71" fmla="*/ 4114838 w 5741575"/>
              <a:gd name="connsiteY71" fmla="*/ 238165 h 955271"/>
              <a:gd name="connsiteX72" fmla="*/ 4271023 w 5741575"/>
              <a:gd name="connsiteY72" fmla="*/ 241959 h 955271"/>
              <a:gd name="connsiteX73" fmla="*/ 4367397 w 5741575"/>
              <a:gd name="connsiteY73" fmla="*/ 271442 h 955271"/>
              <a:gd name="connsiteX74" fmla="*/ 4495366 w 5741575"/>
              <a:gd name="connsiteY74" fmla="*/ 271618 h 955271"/>
              <a:gd name="connsiteX75" fmla="*/ 4517347 w 5741575"/>
              <a:gd name="connsiteY75" fmla="*/ 275639 h 955271"/>
              <a:gd name="connsiteX76" fmla="*/ 4546116 w 5741575"/>
              <a:gd name="connsiteY76" fmla="*/ 268568 h 955271"/>
              <a:gd name="connsiteX77" fmla="*/ 4661259 w 5741575"/>
              <a:gd name="connsiteY77" fmla="*/ 238966 h 955271"/>
              <a:gd name="connsiteX78" fmla="*/ 4750403 w 5741575"/>
              <a:gd name="connsiteY78" fmla="*/ 204364 h 955271"/>
              <a:gd name="connsiteX79" fmla="*/ 4867614 w 5741575"/>
              <a:gd name="connsiteY79" fmla="*/ 208668 h 955271"/>
              <a:gd name="connsiteX80" fmla="*/ 4937036 w 5741575"/>
              <a:gd name="connsiteY80" fmla="*/ 195446 h 955271"/>
              <a:gd name="connsiteX81" fmla="*/ 5047626 w 5741575"/>
              <a:gd name="connsiteY81" fmla="*/ 149604 h 955271"/>
              <a:gd name="connsiteX82" fmla="*/ 5200247 w 5741575"/>
              <a:gd name="connsiteY82" fmla="*/ 142695 h 955271"/>
              <a:gd name="connsiteX83" fmla="*/ 5235691 w 5741575"/>
              <a:gd name="connsiteY83" fmla="*/ 173330 h 955271"/>
              <a:gd name="connsiteX84" fmla="*/ 5280133 w 5741575"/>
              <a:gd name="connsiteY84" fmla="*/ 189342 h 955271"/>
              <a:gd name="connsiteX85" fmla="*/ 5291963 w 5741575"/>
              <a:gd name="connsiteY85" fmla="*/ 139446 h 955271"/>
              <a:gd name="connsiteX86" fmla="*/ 5418472 w 5741575"/>
              <a:gd name="connsiteY86" fmla="*/ 89163 h 955271"/>
              <a:gd name="connsiteX87" fmla="*/ 5482354 w 5741575"/>
              <a:gd name="connsiteY87" fmla="*/ 69470 h 955271"/>
              <a:gd name="connsiteX88" fmla="*/ 5583280 w 5741575"/>
              <a:gd name="connsiteY88" fmla="*/ 49787 h 955271"/>
              <a:gd name="connsiteX89" fmla="*/ 5613766 w 5741575"/>
              <a:gd name="connsiteY89" fmla="*/ 41855 h 955271"/>
              <a:gd name="connsiteX90" fmla="*/ 5684952 w 5741575"/>
              <a:gd name="connsiteY90" fmla="*/ 26088 h 955271"/>
              <a:gd name="connsiteX91" fmla="*/ 5741575 w 5741575"/>
              <a:gd name="connsiteY91" fmla="*/ 0 h 955271"/>
              <a:gd name="connsiteX0" fmla="*/ 5741575 w 5741575"/>
              <a:gd name="connsiteY0" fmla="*/ 0 h 955271"/>
              <a:gd name="connsiteX1" fmla="*/ 5741575 w 5741575"/>
              <a:gd name="connsiteY1" fmla="*/ 955271 h 955271"/>
              <a:gd name="connsiteX2" fmla="*/ 0 w 5741575"/>
              <a:gd name="connsiteY2" fmla="*/ 955271 h 955271"/>
              <a:gd name="connsiteX3" fmla="*/ 8558 w 5741575"/>
              <a:gd name="connsiteY3" fmla="*/ 953971 h 955271"/>
              <a:gd name="connsiteX4" fmla="*/ 16894 w 5741575"/>
              <a:gd name="connsiteY4" fmla="*/ 953847 h 955271"/>
              <a:gd name="connsiteX5" fmla="*/ 28156 w 5741575"/>
              <a:gd name="connsiteY5" fmla="*/ 951374 h 955271"/>
              <a:gd name="connsiteX6" fmla="*/ 28293 w 5741575"/>
              <a:gd name="connsiteY6" fmla="*/ 950971 h 955271"/>
              <a:gd name="connsiteX7" fmla="*/ 39115 w 5741575"/>
              <a:gd name="connsiteY7" fmla="*/ 949326 h 955271"/>
              <a:gd name="connsiteX8" fmla="*/ 93851 w 5741575"/>
              <a:gd name="connsiteY8" fmla="*/ 945611 h 955271"/>
              <a:gd name="connsiteX9" fmla="*/ 148657 w 5741575"/>
              <a:gd name="connsiteY9" fmla="*/ 898134 h 955271"/>
              <a:gd name="connsiteX10" fmla="*/ 174554 w 5741575"/>
              <a:gd name="connsiteY10" fmla="*/ 886351 h 955271"/>
              <a:gd name="connsiteX11" fmla="*/ 187633 w 5741575"/>
              <a:gd name="connsiteY11" fmla="*/ 878226 h 955271"/>
              <a:gd name="connsiteX12" fmla="*/ 187961 w 5741575"/>
              <a:gd name="connsiteY12" fmla="*/ 876538 h 955271"/>
              <a:gd name="connsiteX13" fmla="*/ 240501 w 5741575"/>
              <a:gd name="connsiteY13" fmla="*/ 873150 h 955271"/>
              <a:gd name="connsiteX14" fmla="*/ 246345 w 5741575"/>
              <a:gd name="connsiteY14" fmla="*/ 869942 h 955271"/>
              <a:gd name="connsiteX15" fmla="*/ 282041 w 5741575"/>
              <a:gd name="connsiteY15" fmla="*/ 871263 h 955271"/>
              <a:gd name="connsiteX16" fmla="*/ 299711 w 5741575"/>
              <a:gd name="connsiteY16" fmla="*/ 870064 h 955271"/>
              <a:gd name="connsiteX17" fmla="*/ 306299 w 5741575"/>
              <a:gd name="connsiteY17" fmla="*/ 873609 h 955271"/>
              <a:gd name="connsiteX18" fmla="*/ 331571 w 5741575"/>
              <a:gd name="connsiteY18" fmla="*/ 869866 h 955271"/>
              <a:gd name="connsiteX19" fmla="*/ 333872 w 5741575"/>
              <a:gd name="connsiteY19" fmla="*/ 867971 h 955271"/>
              <a:gd name="connsiteX20" fmla="*/ 356953 w 5741575"/>
              <a:gd name="connsiteY20" fmla="*/ 870334 h 955271"/>
              <a:gd name="connsiteX21" fmla="*/ 570239 w 5741575"/>
              <a:gd name="connsiteY21" fmla="*/ 829596 h 955271"/>
              <a:gd name="connsiteX22" fmla="*/ 787156 w 5741575"/>
              <a:gd name="connsiteY22" fmla="*/ 838447 h 955271"/>
              <a:gd name="connsiteX23" fmla="*/ 948872 w 5741575"/>
              <a:gd name="connsiteY23" fmla="*/ 772201 h 955271"/>
              <a:gd name="connsiteX24" fmla="*/ 1127089 w 5741575"/>
              <a:gd name="connsiteY24" fmla="*/ 746926 h 955271"/>
              <a:gd name="connsiteX25" fmla="*/ 1220426 w 5741575"/>
              <a:gd name="connsiteY25" fmla="*/ 721810 h 955271"/>
              <a:gd name="connsiteX26" fmla="*/ 1306771 w 5741575"/>
              <a:gd name="connsiteY26" fmla="*/ 717936 h 955271"/>
              <a:gd name="connsiteX27" fmla="*/ 1374314 w 5741575"/>
              <a:gd name="connsiteY27" fmla="*/ 688815 h 955271"/>
              <a:gd name="connsiteX28" fmla="*/ 1378034 w 5741575"/>
              <a:gd name="connsiteY28" fmla="*/ 685842 h 955271"/>
              <a:gd name="connsiteX29" fmla="*/ 1395604 w 5741575"/>
              <a:gd name="connsiteY29" fmla="*/ 680460 h 955271"/>
              <a:gd name="connsiteX30" fmla="*/ 1397206 w 5741575"/>
              <a:gd name="connsiteY30" fmla="*/ 670793 h 955271"/>
              <a:gd name="connsiteX31" fmla="*/ 1421250 w 5741575"/>
              <a:gd name="connsiteY31" fmla="*/ 656855 h 955271"/>
              <a:gd name="connsiteX32" fmla="*/ 1454524 w 5741575"/>
              <a:gd name="connsiteY32" fmla="*/ 649224 h 955271"/>
              <a:gd name="connsiteX33" fmla="*/ 1616217 w 5741575"/>
              <a:gd name="connsiteY33" fmla="*/ 622107 h 955271"/>
              <a:gd name="connsiteX34" fmla="*/ 1710928 w 5741575"/>
              <a:gd name="connsiteY34" fmla="*/ 600666 h 955271"/>
              <a:gd name="connsiteX35" fmla="*/ 1743718 w 5741575"/>
              <a:gd name="connsiteY35" fmla="*/ 584327 h 955271"/>
              <a:gd name="connsiteX36" fmla="*/ 1873778 w 5741575"/>
              <a:gd name="connsiteY36" fmla="*/ 530130 h 955271"/>
              <a:gd name="connsiteX37" fmla="*/ 1988411 w 5741575"/>
              <a:gd name="connsiteY37" fmla="*/ 491599 h 955271"/>
              <a:gd name="connsiteX38" fmla="*/ 2085507 w 5741575"/>
              <a:gd name="connsiteY38" fmla="*/ 498527 h 955271"/>
              <a:gd name="connsiteX39" fmla="*/ 2090767 w 5741575"/>
              <a:gd name="connsiteY39" fmla="*/ 490616 h 955271"/>
              <a:gd name="connsiteX40" fmla="*/ 2151143 w 5741575"/>
              <a:gd name="connsiteY40" fmla="*/ 478332 h 955271"/>
              <a:gd name="connsiteX41" fmla="*/ 2378710 w 5741575"/>
              <a:gd name="connsiteY41" fmla="*/ 477570 h 955271"/>
              <a:gd name="connsiteX42" fmla="*/ 2496256 w 5741575"/>
              <a:gd name="connsiteY42" fmla="*/ 452396 h 955271"/>
              <a:gd name="connsiteX43" fmla="*/ 2535387 w 5741575"/>
              <a:gd name="connsiteY43" fmla="*/ 436645 h 955271"/>
              <a:gd name="connsiteX44" fmla="*/ 2601109 w 5741575"/>
              <a:gd name="connsiteY44" fmla="*/ 410678 h 955271"/>
              <a:gd name="connsiteX45" fmla="*/ 2643855 w 5741575"/>
              <a:gd name="connsiteY45" fmla="*/ 374482 h 955271"/>
              <a:gd name="connsiteX46" fmla="*/ 2657726 w 5741575"/>
              <a:gd name="connsiteY46" fmla="*/ 365841 h 955271"/>
              <a:gd name="connsiteX47" fmla="*/ 2687125 w 5741575"/>
              <a:gd name="connsiteY47" fmla="*/ 366820 h 955271"/>
              <a:gd name="connsiteX48" fmla="*/ 2697479 w 5741575"/>
              <a:gd name="connsiteY48" fmla="*/ 361430 h 955271"/>
              <a:gd name="connsiteX49" fmla="*/ 2701547 w 5741575"/>
              <a:gd name="connsiteY49" fmla="*/ 361545 h 955271"/>
              <a:gd name="connsiteX50" fmla="*/ 2711054 w 5741575"/>
              <a:gd name="connsiteY50" fmla="*/ 360597 h 955271"/>
              <a:gd name="connsiteX51" fmla="*/ 2710438 w 5741575"/>
              <a:gd name="connsiteY51" fmla="*/ 366958 h 955271"/>
              <a:gd name="connsiteX52" fmla="*/ 2722936 w 5741575"/>
              <a:gd name="connsiteY52" fmla="*/ 377633 h 955271"/>
              <a:gd name="connsiteX53" fmla="*/ 2777227 w 5741575"/>
              <a:gd name="connsiteY53" fmla="*/ 368972 h 955271"/>
              <a:gd name="connsiteX54" fmla="*/ 2779510 w 5741575"/>
              <a:gd name="connsiteY54" fmla="*/ 361652 h 955271"/>
              <a:gd name="connsiteX55" fmla="*/ 2786278 w 5741575"/>
              <a:gd name="connsiteY55" fmla="*/ 359869 h 955271"/>
              <a:gd name="connsiteX56" fmla="*/ 2792101 w 5741575"/>
              <a:gd name="connsiteY56" fmla="*/ 365927 h 955271"/>
              <a:gd name="connsiteX57" fmla="*/ 2885545 w 5741575"/>
              <a:gd name="connsiteY57" fmla="*/ 372818 h 955271"/>
              <a:gd name="connsiteX58" fmla="*/ 3009558 w 5741575"/>
              <a:gd name="connsiteY58" fmla="*/ 370573 h 955271"/>
              <a:gd name="connsiteX59" fmla="*/ 3095010 w 5741575"/>
              <a:gd name="connsiteY59" fmla="*/ 332454 h 955271"/>
              <a:gd name="connsiteX60" fmla="*/ 3103742 w 5741575"/>
              <a:gd name="connsiteY60" fmla="*/ 337974 h 955271"/>
              <a:gd name="connsiteX61" fmla="*/ 3165093 w 5741575"/>
              <a:gd name="connsiteY61" fmla="*/ 329459 h 955271"/>
              <a:gd name="connsiteX62" fmla="*/ 3373785 w 5741575"/>
              <a:gd name="connsiteY62" fmla="*/ 255680 h 955271"/>
              <a:gd name="connsiteX63" fmla="*/ 3493851 w 5741575"/>
              <a:gd name="connsiteY63" fmla="*/ 240255 h 955271"/>
              <a:gd name="connsiteX64" fmla="*/ 3537470 w 5741575"/>
              <a:gd name="connsiteY64" fmla="*/ 241867 h 955271"/>
              <a:gd name="connsiteX65" fmla="*/ 3610489 w 5741575"/>
              <a:gd name="connsiteY65" fmla="*/ 244128 h 955271"/>
              <a:gd name="connsiteX66" fmla="*/ 3667539 w 5741575"/>
              <a:gd name="connsiteY66" fmla="*/ 263271 h 955271"/>
              <a:gd name="connsiteX67" fmla="*/ 3727614 w 5741575"/>
              <a:gd name="connsiteY67" fmla="*/ 258245 h 955271"/>
              <a:gd name="connsiteX68" fmla="*/ 3738369 w 5741575"/>
              <a:gd name="connsiteY68" fmla="*/ 234506 h 955271"/>
              <a:gd name="connsiteX69" fmla="*/ 3803670 w 5741575"/>
              <a:gd name="connsiteY69" fmla="*/ 236457 h 955271"/>
              <a:gd name="connsiteX70" fmla="*/ 3903080 w 5741575"/>
              <a:gd name="connsiteY70" fmla="*/ 241890 h 955271"/>
              <a:gd name="connsiteX71" fmla="*/ 4114838 w 5741575"/>
              <a:gd name="connsiteY71" fmla="*/ 238165 h 955271"/>
              <a:gd name="connsiteX72" fmla="*/ 4271023 w 5741575"/>
              <a:gd name="connsiteY72" fmla="*/ 241959 h 955271"/>
              <a:gd name="connsiteX73" fmla="*/ 4367397 w 5741575"/>
              <a:gd name="connsiteY73" fmla="*/ 271442 h 955271"/>
              <a:gd name="connsiteX74" fmla="*/ 4495366 w 5741575"/>
              <a:gd name="connsiteY74" fmla="*/ 271618 h 955271"/>
              <a:gd name="connsiteX75" fmla="*/ 4517347 w 5741575"/>
              <a:gd name="connsiteY75" fmla="*/ 275639 h 955271"/>
              <a:gd name="connsiteX76" fmla="*/ 4546116 w 5741575"/>
              <a:gd name="connsiteY76" fmla="*/ 268568 h 955271"/>
              <a:gd name="connsiteX77" fmla="*/ 4661259 w 5741575"/>
              <a:gd name="connsiteY77" fmla="*/ 238966 h 955271"/>
              <a:gd name="connsiteX78" fmla="*/ 4750403 w 5741575"/>
              <a:gd name="connsiteY78" fmla="*/ 204364 h 955271"/>
              <a:gd name="connsiteX79" fmla="*/ 4867614 w 5741575"/>
              <a:gd name="connsiteY79" fmla="*/ 208668 h 955271"/>
              <a:gd name="connsiteX80" fmla="*/ 4937036 w 5741575"/>
              <a:gd name="connsiteY80" fmla="*/ 195446 h 955271"/>
              <a:gd name="connsiteX81" fmla="*/ 5047626 w 5741575"/>
              <a:gd name="connsiteY81" fmla="*/ 149604 h 955271"/>
              <a:gd name="connsiteX82" fmla="*/ 5200247 w 5741575"/>
              <a:gd name="connsiteY82" fmla="*/ 142695 h 955271"/>
              <a:gd name="connsiteX83" fmla="*/ 5235691 w 5741575"/>
              <a:gd name="connsiteY83" fmla="*/ 173330 h 955271"/>
              <a:gd name="connsiteX84" fmla="*/ 5280133 w 5741575"/>
              <a:gd name="connsiteY84" fmla="*/ 189342 h 955271"/>
              <a:gd name="connsiteX85" fmla="*/ 5291963 w 5741575"/>
              <a:gd name="connsiteY85" fmla="*/ 139446 h 955271"/>
              <a:gd name="connsiteX86" fmla="*/ 5418472 w 5741575"/>
              <a:gd name="connsiteY86" fmla="*/ 89163 h 955271"/>
              <a:gd name="connsiteX87" fmla="*/ 5482354 w 5741575"/>
              <a:gd name="connsiteY87" fmla="*/ 69470 h 955271"/>
              <a:gd name="connsiteX88" fmla="*/ 5583280 w 5741575"/>
              <a:gd name="connsiteY88" fmla="*/ 49787 h 955271"/>
              <a:gd name="connsiteX89" fmla="*/ 5613766 w 5741575"/>
              <a:gd name="connsiteY89" fmla="*/ 41855 h 955271"/>
              <a:gd name="connsiteX90" fmla="*/ 5684952 w 5741575"/>
              <a:gd name="connsiteY90" fmla="*/ 26088 h 955271"/>
              <a:gd name="connsiteX91" fmla="*/ 5741575 w 5741575"/>
              <a:gd name="connsiteY91" fmla="*/ 0 h 955271"/>
              <a:gd name="connsiteX0" fmla="*/ 5741575 w 5741575"/>
              <a:gd name="connsiteY0" fmla="*/ 0 h 955271"/>
              <a:gd name="connsiteX1" fmla="*/ 5741575 w 5741575"/>
              <a:gd name="connsiteY1" fmla="*/ 955271 h 955271"/>
              <a:gd name="connsiteX2" fmla="*/ 0 w 5741575"/>
              <a:gd name="connsiteY2" fmla="*/ 955271 h 955271"/>
              <a:gd name="connsiteX3" fmla="*/ 8558 w 5741575"/>
              <a:gd name="connsiteY3" fmla="*/ 953971 h 955271"/>
              <a:gd name="connsiteX4" fmla="*/ 16894 w 5741575"/>
              <a:gd name="connsiteY4" fmla="*/ 953847 h 955271"/>
              <a:gd name="connsiteX5" fmla="*/ 28156 w 5741575"/>
              <a:gd name="connsiteY5" fmla="*/ 951374 h 955271"/>
              <a:gd name="connsiteX6" fmla="*/ 28293 w 5741575"/>
              <a:gd name="connsiteY6" fmla="*/ 950971 h 955271"/>
              <a:gd name="connsiteX7" fmla="*/ 39115 w 5741575"/>
              <a:gd name="connsiteY7" fmla="*/ 949326 h 955271"/>
              <a:gd name="connsiteX8" fmla="*/ 93851 w 5741575"/>
              <a:gd name="connsiteY8" fmla="*/ 945611 h 955271"/>
              <a:gd name="connsiteX9" fmla="*/ 148657 w 5741575"/>
              <a:gd name="connsiteY9" fmla="*/ 898134 h 955271"/>
              <a:gd name="connsiteX10" fmla="*/ 174554 w 5741575"/>
              <a:gd name="connsiteY10" fmla="*/ 886351 h 955271"/>
              <a:gd name="connsiteX11" fmla="*/ 187633 w 5741575"/>
              <a:gd name="connsiteY11" fmla="*/ 878226 h 955271"/>
              <a:gd name="connsiteX12" fmla="*/ 187961 w 5741575"/>
              <a:gd name="connsiteY12" fmla="*/ 876538 h 955271"/>
              <a:gd name="connsiteX13" fmla="*/ 240501 w 5741575"/>
              <a:gd name="connsiteY13" fmla="*/ 873150 h 955271"/>
              <a:gd name="connsiteX14" fmla="*/ 246345 w 5741575"/>
              <a:gd name="connsiteY14" fmla="*/ 869942 h 955271"/>
              <a:gd name="connsiteX15" fmla="*/ 282041 w 5741575"/>
              <a:gd name="connsiteY15" fmla="*/ 871263 h 955271"/>
              <a:gd name="connsiteX16" fmla="*/ 299711 w 5741575"/>
              <a:gd name="connsiteY16" fmla="*/ 870064 h 955271"/>
              <a:gd name="connsiteX17" fmla="*/ 306299 w 5741575"/>
              <a:gd name="connsiteY17" fmla="*/ 873609 h 955271"/>
              <a:gd name="connsiteX18" fmla="*/ 331571 w 5741575"/>
              <a:gd name="connsiteY18" fmla="*/ 869866 h 955271"/>
              <a:gd name="connsiteX19" fmla="*/ 333872 w 5741575"/>
              <a:gd name="connsiteY19" fmla="*/ 867971 h 955271"/>
              <a:gd name="connsiteX20" fmla="*/ 477637 w 5741575"/>
              <a:gd name="connsiteY20" fmla="*/ 870334 h 955271"/>
              <a:gd name="connsiteX21" fmla="*/ 570239 w 5741575"/>
              <a:gd name="connsiteY21" fmla="*/ 829596 h 955271"/>
              <a:gd name="connsiteX22" fmla="*/ 787156 w 5741575"/>
              <a:gd name="connsiteY22" fmla="*/ 838447 h 955271"/>
              <a:gd name="connsiteX23" fmla="*/ 948872 w 5741575"/>
              <a:gd name="connsiteY23" fmla="*/ 772201 h 955271"/>
              <a:gd name="connsiteX24" fmla="*/ 1127089 w 5741575"/>
              <a:gd name="connsiteY24" fmla="*/ 746926 h 955271"/>
              <a:gd name="connsiteX25" fmla="*/ 1220426 w 5741575"/>
              <a:gd name="connsiteY25" fmla="*/ 721810 h 955271"/>
              <a:gd name="connsiteX26" fmla="*/ 1306771 w 5741575"/>
              <a:gd name="connsiteY26" fmla="*/ 717936 h 955271"/>
              <a:gd name="connsiteX27" fmla="*/ 1374314 w 5741575"/>
              <a:gd name="connsiteY27" fmla="*/ 688815 h 955271"/>
              <a:gd name="connsiteX28" fmla="*/ 1378034 w 5741575"/>
              <a:gd name="connsiteY28" fmla="*/ 685842 h 955271"/>
              <a:gd name="connsiteX29" fmla="*/ 1395604 w 5741575"/>
              <a:gd name="connsiteY29" fmla="*/ 680460 h 955271"/>
              <a:gd name="connsiteX30" fmla="*/ 1397206 w 5741575"/>
              <a:gd name="connsiteY30" fmla="*/ 670793 h 955271"/>
              <a:gd name="connsiteX31" fmla="*/ 1421250 w 5741575"/>
              <a:gd name="connsiteY31" fmla="*/ 656855 h 955271"/>
              <a:gd name="connsiteX32" fmla="*/ 1454524 w 5741575"/>
              <a:gd name="connsiteY32" fmla="*/ 649224 h 955271"/>
              <a:gd name="connsiteX33" fmla="*/ 1616217 w 5741575"/>
              <a:gd name="connsiteY33" fmla="*/ 622107 h 955271"/>
              <a:gd name="connsiteX34" fmla="*/ 1710928 w 5741575"/>
              <a:gd name="connsiteY34" fmla="*/ 600666 h 955271"/>
              <a:gd name="connsiteX35" fmla="*/ 1743718 w 5741575"/>
              <a:gd name="connsiteY35" fmla="*/ 584327 h 955271"/>
              <a:gd name="connsiteX36" fmla="*/ 1873778 w 5741575"/>
              <a:gd name="connsiteY36" fmla="*/ 530130 h 955271"/>
              <a:gd name="connsiteX37" fmla="*/ 1988411 w 5741575"/>
              <a:gd name="connsiteY37" fmla="*/ 491599 h 955271"/>
              <a:gd name="connsiteX38" fmla="*/ 2085507 w 5741575"/>
              <a:gd name="connsiteY38" fmla="*/ 498527 h 955271"/>
              <a:gd name="connsiteX39" fmla="*/ 2090767 w 5741575"/>
              <a:gd name="connsiteY39" fmla="*/ 490616 h 955271"/>
              <a:gd name="connsiteX40" fmla="*/ 2151143 w 5741575"/>
              <a:gd name="connsiteY40" fmla="*/ 478332 h 955271"/>
              <a:gd name="connsiteX41" fmla="*/ 2378710 w 5741575"/>
              <a:gd name="connsiteY41" fmla="*/ 477570 h 955271"/>
              <a:gd name="connsiteX42" fmla="*/ 2496256 w 5741575"/>
              <a:gd name="connsiteY42" fmla="*/ 452396 h 955271"/>
              <a:gd name="connsiteX43" fmla="*/ 2535387 w 5741575"/>
              <a:gd name="connsiteY43" fmla="*/ 436645 h 955271"/>
              <a:gd name="connsiteX44" fmla="*/ 2601109 w 5741575"/>
              <a:gd name="connsiteY44" fmla="*/ 410678 h 955271"/>
              <a:gd name="connsiteX45" fmla="*/ 2643855 w 5741575"/>
              <a:gd name="connsiteY45" fmla="*/ 374482 h 955271"/>
              <a:gd name="connsiteX46" fmla="*/ 2657726 w 5741575"/>
              <a:gd name="connsiteY46" fmla="*/ 365841 h 955271"/>
              <a:gd name="connsiteX47" fmla="*/ 2687125 w 5741575"/>
              <a:gd name="connsiteY47" fmla="*/ 366820 h 955271"/>
              <a:gd name="connsiteX48" fmla="*/ 2697479 w 5741575"/>
              <a:gd name="connsiteY48" fmla="*/ 361430 h 955271"/>
              <a:gd name="connsiteX49" fmla="*/ 2701547 w 5741575"/>
              <a:gd name="connsiteY49" fmla="*/ 361545 h 955271"/>
              <a:gd name="connsiteX50" fmla="*/ 2711054 w 5741575"/>
              <a:gd name="connsiteY50" fmla="*/ 360597 h 955271"/>
              <a:gd name="connsiteX51" fmla="*/ 2710438 w 5741575"/>
              <a:gd name="connsiteY51" fmla="*/ 366958 h 955271"/>
              <a:gd name="connsiteX52" fmla="*/ 2722936 w 5741575"/>
              <a:gd name="connsiteY52" fmla="*/ 377633 h 955271"/>
              <a:gd name="connsiteX53" fmla="*/ 2777227 w 5741575"/>
              <a:gd name="connsiteY53" fmla="*/ 368972 h 955271"/>
              <a:gd name="connsiteX54" fmla="*/ 2779510 w 5741575"/>
              <a:gd name="connsiteY54" fmla="*/ 361652 h 955271"/>
              <a:gd name="connsiteX55" fmla="*/ 2786278 w 5741575"/>
              <a:gd name="connsiteY55" fmla="*/ 359869 h 955271"/>
              <a:gd name="connsiteX56" fmla="*/ 2792101 w 5741575"/>
              <a:gd name="connsiteY56" fmla="*/ 365927 h 955271"/>
              <a:gd name="connsiteX57" fmla="*/ 2885545 w 5741575"/>
              <a:gd name="connsiteY57" fmla="*/ 372818 h 955271"/>
              <a:gd name="connsiteX58" fmla="*/ 3009558 w 5741575"/>
              <a:gd name="connsiteY58" fmla="*/ 370573 h 955271"/>
              <a:gd name="connsiteX59" fmla="*/ 3095010 w 5741575"/>
              <a:gd name="connsiteY59" fmla="*/ 332454 h 955271"/>
              <a:gd name="connsiteX60" fmla="*/ 3103742 w 5741575"/>
              <a:gd name="connsiteY60" fmla="*/ 337974 h 955271"/>
              <a:gd name="connsiteX61" fmla="*/ 3165093 w 5741575"/>
              <a:gd name="connsiteY61" fmla="*/ 329459 h 955271"/>
              <a:gd name="connsiteX62" fmla="*/ 3373785 w 5741575"/>
              <a:gd name="connsiteY62" fmla="*/ 255680 h 955271"/>
              <a:gd name="connsiteX63" fmla="*/ 3493851 w 5741575"/>
              <a:gd name="connsiteY63" fmla="*/ 240255 h 955271"/>
              <a:gd name="connsiteX64" fmla="*/ 3537470 w 5741575"/>
              <a:gd name="connsiteY64" fmla="*/ 241867 h 955271"/>
              <a:gd name="connsiteX65" fmla="*/ 3610489 w 5741575"/>
              <a:gd name="connsiteY65" fmla="*/ 244128 h 955271"/>
              <a:gd name="connsiteX66" fmla="*/ 3667539 w 5741575"/>
              <a:gd name="connsiteY66" fmla="*/ 263271 h 955271"/>
              <a:gd name="connsiteX67" fmla="*/ 3727614 w 5741575"/>
              <a:gd name="connsiteY67" fmla="*/ 258245 h 955271"/>
              <a:gd name="connsiteX68" fmla="*/ 3738369 w 5741575"/>
              <a:gd name="connsiteY68" fmla="*/ 234506 h 955271"/>
              <a:gd name="connsiteX69" fmla="*/ 3803670 w 5741575"/>
              <a:gd name="connsiteY69" fmla="*/ 236457 h 955271"/>
              <a:gd name="connsiteX70" fmla="*/ 3903080 w 5741575"/>
              <a:gd name="connsiteY70" fmla="*/ 241890 h 955271"/>
              <a:gd name="connsiteX71" fmla="*/ 4114838 w 5741575"/>
              <a:gd name="connsiteY71" fmla="*/ 238165 h 955271"/>
              <a:gd name="connsiteX72" fmla="*/ 4271023 w 5741575"/>
              <a:gd name="connsiteY72" fmla="*/ 241959 h 955271"/>
              <a:gd name="connsiteX73" fmla="*/ 4367397 w 5741575"/>
              <a:gd name="connsiteY73" fmla="*/ 271442 h 955271"/>
              <a:gd name="connsiteX74" fmla="*/ 4495366 w 5741575"/>
              <a:gd name="connsiteY74" fmla="*/ 271618 h 955271"/>
              <a:gd name="connsiteX75" fmla="*/ 4517347 w 5741575"/>
              <a:gd name="connsiteY75" fmla="*/ 275639 h 955271"/>
              <a:gd name="connsiteX76" fmla="*/ 4546116 w 5741575"/>
              <a:gd name="connsiteY76" fmla="*/ 268568 h 955271"/>
              <a:gd name="connsiteX77" fmla="*/ 4661259 w 5741575"/>
              <a:gd name="connsiteY77" fmla="*/ 238966 h 955271"/>
              <a:gd name="connsiteX78" fmla="*/ 4750403 w 5741575"/>
              <a:gd name="connsiteY78" fmla="*/ 204364 h 955271"/>
              <a:gd name="connsiteX79" fmla="*/ 4867614 w 5741575"/>
              <a:gd name="connsiteY79" fmla="*/ 208668 h 955271"/>
              <a:gd name="connsiteX80" fmla="*/ 4937036 w 5741575"/>
              <a:gd name="connsiteY80" fmla="*/ 195446 h 955271"/>
              <a:gd name="connsiteX81" fmla="*/ 5047626 w 5741575"/>
              <a:gd name="connsiteY81" fmla="*/ 149604 h 955271"/>
              <a:gd name="connsiteX82" fmla="*/ 5200247 w 5741575"/>
              <a:gd name="connsiteY82" fmla="*/ 142695 h 955271"/>
              <a:gd name="connsiteX83" fmla="*/ 5235691 w 5741575"/>
              <a:gd name="connsiteY83" fmla="*/ 173330 h 955271"/>
              <a:gd name="connsiteX84" fmla="*/ 5280133 w 5741575"/>
              <a:gd name="connsiteY84" fmla="*/ 189342 h 955271"/>
              <a:gd name="connsiteX85" fmla="*/ 5291963 w 5741575"/>
              <a:gd name="connsiteY85" fmla="*/ 139446 h 955271"/>
              <a:gd name="connsiteX86" fmla="*/ 5418472 w 5741575"/>
              <a:gd name="connsiteY86" fmla="*/ 89163 h 955271"/>
              <a:gd name="connsiteX87" fmla="*/ 5482354 w 5741575"/>
              <a:gd name="connsiteY87" fmla="*/ 69470 h 955271"/>
              <a:gd name="connsiteX88" fmla="*/ 5583280 w 5741575"/>
              <a:gd name="connsiteY88" fmla="*/ 49787 h 955271"/>
              <a:gd name="connsiteX89" fmla="*/ 5613766 w 5741575"/>
              <a:gd name="connsiteY89" fmla="*/ 41855 h 955271"/>
              <a:gd name="connsiteX90" fmla="*/ 5684952 w 5741575"/>
              <a:gd name="connsiteY90" fmla="*/ 26088 h 955271"/>
              <a:gd name="connsiteX91" fmla="*/ 5741575 w 5741575"/>
              <a:gd name="connsiteY91" fmla="*/ 0 h 955271"/>
              <a:gd name="connsiteX0" fmla="*/ 5741575 w 5741575"/>
              <a:gd name="connsiteY0" fmla="*/ 0 h 955271"/>
              <a:gd name="connsiteX1" fmla="*/ 5741575 w 5741575"/>
              <a:gd name="connsiteY1" fmla="*/ 955271 h 955271"/>
              <a:gd name="connsiteX2" fmla="*/ 0 w 5741575"/>
              <a:gd name="connsiteY2" fmla="*/ 955271 h 955271"/>
              <a:gd name="connsiteX3" fmla="*/ 8558 w 5741575"/>
              <a:gd name="connsiteY3" fmla="*/ 953971 h 955271"/>
              <a:gd name="connsiteX4" fmla="*/ 16894 w 5741575"/>
              <a:gd name="connsiteY4" fmla="*/ 953847 h 955271"/>
              <a:gd name="connsiteX5" fmla="*/ 28156 w 5741575"/>
              <a:gd name="connsiteY5" fmla="*/ 951374 h 955271"/>
              <a:gd name="connsiteX6" fmla="*/ 28293 w 5741575"/>
              <a:gd name="connsiteY6" fmla="*/ 950971 h 955271"/>
              <a:gd name="connsiteX7" fmla="*/ 39115 w 5741575"/>
              <a:gd name="connsiteY7" fmla="*/ 949326 h 955271"/>
              <a:gd name="connsiteX8" fmla="*/ 93851 w 5741575"/>
              <a:gd name="connsiteY8" fmla="*/ 945611 h 955271"/>
              <a:gd name="connsiteX9" fmla="*/ 148657 w 5741575"/>
              <a:gd name="connsiteY9" fmla="*/ 898134 h 955271"/>
              <a:gd name="connsiteX10" fmla="*/ 174554 w 5741575"/>
              <a:gd name="connsiteY10" fmla="*/ 886351 h 955271"/>
              <a:gd name="connsiteX11" fmla="*/ 187633 w 5741575"/>
              <a:gd name="connsiteY11" fmla="*/ 878226 h 955271"/>
              <a:gd name="connsiteX12" fmla="*/ 187961 w 5741575"/>
              <a:gd name="connsiteY12" fmla="*/ 876538 h 955271"/>
              <a:gd name="connsiteX13" fmla="*/ 240501 w 5741575"/>
              <a:gd name="connsiteY13" fmla="*/ 873150 h 955271"/>
              <a:gd name="connsiteX14" fmla="*/ 246345 w 5741575"/>
              <a:gd name="connsiteY14" fmla="*/ 869942 h 955271"/>
              <a:gd name="connsiteX15" fmla="*/ 282041 w 5741575"/>
              <a:gd name="connsiteY15" fmla="*/ 871263 h 955271"/>
              <a:gd name="connsiteX16" fmla="*/ 299711 w 5741575"/>
              <a:gd name="connsiteY16" fmla="*/ 870064 h 955271"/>
              <a:gd name="connsiteX17" fmla="*/ 306299 w 5741575"/>
              <a:gd name="connsiteY17" fmla="*/ 873609 h 955271"/>
              <a:gd name="connsiteX18" fmla="*/ 331571 w 5741575"/>
              <a:gd name="connsiteY18" fmla="*/ 869866 h 955271"/>
              <a:gd name="connsiteX19" fmla="*/ 384157 w 5741575"/>
              <a:gd name="connsiteY19" fmla="*/ 867971 h 955271"/>
              <a:gd name="connsiteX20" fmla="*/ 477637 w 5741575"/>
              <a:gd name="connsiteY20" fmla="*/ 870334 h 955271"/>
              <a:gd name="connsiteX21" fmla="*/ 570239 w 5741575"/>
              <a:gd name="connsiteY21" fmla="*/ 829596 h 955271"/>
              <a:gd name="connsiteX22" fmla="*/ 787156 w 5741575"/>
              <a:gd name="connsiteY22" fmla="*/ 838447 h 955271"/>
              <a:gd name="connsiteX23" fmla="*/ 948872 w 5741575"/>
              <a:gd name="connsiteY23" fmla="*/ 772201 h 955271"/>
              <a:gd name="connsiteX24" fmla="*/ 1127089 w 5741575"/>
              <a:gd name="connsiteY24" fmla="*/ 746926 h 955271"/>
              <a:gd name="connsiteX25" fmla="*/ 1220426 w 5741575"/>
              <a:gd name="connsiteY25" fmla="*/ 721810 h 955271"/>
              <a:gd name="connsiteX26" fmla="*/ 1306771 w 5741575"/>
              <a:gd name="connsiteY26" fmla="*/ 717936 h 955271"/>
              <a:gd name="connsiteX27" fmla="*/ 1374314 w 5741575"/>
              <a:gd name="connsiteY27" fmla="*/ 688815 h 955271"/>
              <a:gd name="connsiteX28" fmla="*/ 1378034 w 5741575"/>
              <a:gd name="connsiteY28" fmla="*/ 685842 h 955271"/>
              <a:gd name="connsiteX29" fmla="*/ 1395604 w 5741575"/>
              <a:gd name="connsiteY29" fmla="*/ 680460 h 955271"/>
              <a:gd name="connsiteX30" fmla="*/ 1397206 w 5741575"/>
              <a:gd name="connsiteY30" fmla="*/ 670793 h 955271"/>
              <a:gd name="connsiteX31" fmla="*/ 1421250 w 5741575"/>
              <a:gd name="connsiteY31" fmla="*/ 656855 h 955271"/>
              <a:gd name="connsiteX32" fmla="*/ 1454524 w 5741575"/>
              <a:gd name="connsiteY32" fmla="*/ 649224 h 955271"/>
              <a:gd name="connsiteX33" fmla="*/ 1616217 w 5741575"/>
              <a:gd name="connsiteY33" fmla="*/ 622107 h 955271"/>
              <a:gd name="connsiteX34" fmla="*/ 1710928 w 5741575"/>
              <a:gd name="connsiteY34" fmla="*/ 600666 h 955271"/>
              <a:gd name="connsiteX35" fmla="*/ 1743718 w 5741575"/>
              <a:gd name="connsiteY35" fmla="*/ 584327 h 955271"/>
              <a:gd name="connsiteX36" fmla="*/ 1873778 w 5741575"/>
              <a:gd name="connsiteY36" fmla="*/ 530130 h 955271"/>
              <a:gd name="connsiteX37" fmla="*/ 1988411 w 5741575"/>
              <a:gd name="connsiteY37" fmla="*/ 491599 h 955271"/>
              <a:gd name="connsiteX38" fmla="*/ 2085507 w 5741575"/>
              <a:gd name="connsiteY38" fmla="*/ 498527 h 955271"/>
              <a:gd name="connsiteX39" fmla="*/ 2090767 w 5741575"/>
              <a:gd name="connsiteY39" fmla="*/ 490616 h 955271"/>
              <a:gd name="connsiteX40" fmla="*/ 2151143 w 5741575"/>
              <a:gd name="connsiteY40" fmla="*/ 478332 h 955271"/>
              <a:gd name="connsiteX41" fmla="*/ 2378710 w 5741575"/>
              <a:gd name="connsiteY41" fmla="*/ 477570 h 955271"/>
              <a:gd name="connsiteX42" fmla="*/ 2496256 w 5741575"/>
              <a:gd name="connsiteY42" fmla="*/ 452396 h 955271"/>
              <a:gd name="connsiteX43" fmla="*/ 2535387 w 5741575"/>
              <a:gd name="connsiteY43" fmla="*/ 436645 h 955271"/>
              <a:gd name="connsiteX44" fmla="*/ 2601109 w 5741575"/>
              <a:gd name="connsiteY44" fmla="*/ 410678 h 955271"/>
              <a:gd name="connsiteX45" fmla="*/ 2643855 w 5741575"/>
              <a:gd name="connsiteY45" fmla="*/ 374482 h 955271"/>
              <a:gd name="connsiteX46" fmla="*/ 2657726 w 5741575"/>
              <a:gd name="connsiteY46" fmla="*/ 365841 h 955271"/>
              <a:gd name="connsiteX47" fmla="*/ 2687125 w 5741575"/>
              <a:gd name="connsiteY47" fmla="*/ 366820 h 955271"/>
              <a:gd name="connsiteX48" fmla="*/ 2697479 w 5741575"/>
              <a:gd name="connsiteY48" fmla="*/ 361430 h 955271"/>
              <a:gd name="connsiteX49" fmla="*/ 2701547 w 5741575"/>
              <a:gd name="connsiteY49" fmla="*/ 361545 h 955271"/>
              <a:gd name="connsiteX50" fmla="*/ 2711054 w 5741575"/>
              <a:gd name="connsiteY50" fmla="*/ 360597 h 955271"/>
              <a:gd name="connsiteX51" fmla="*/ 2710438 w 5741575"/>
              <a:gd name="connsiteY51" fmla="*/ 366958 h 955271"/>
              <a:gd name="connsiteX52" fmla="*/ 2722936 w 5741575"/>
              <a:gd name="connsiteY52" fmla="*/ 377633 h 955271"/>
              <a:gd name="connsiteX53" fmla="*/ 2777227 w 5741575"/>
              <a:gd name="connsiteY53" fmla="*/ 368972 h 955271"/>
              <a:gd name="connsiteX54" fmla="*/ 2779510 w 5741575"/>
              <a:gd name="connsiteY54" fmla="*/ 361652 h 955271"/>
              <a:gd name="connsiteX55" fmla="*/ 2786278 w 5741575"/>
              <a:gd name="connsiteY55" fmla="*/ 359869 h 955271"/>
              <a:gd name="connsiteX56" fmla="*/ 2792101 w 5741575"/>
              <a:gd name="connsiteY56" fmla="*/ 365927 h 955271"/>
              <a:gd name="connsiteX57" fmla="*/ 2885545 w 5741575"/>
              <a:gd name="connsiteY57" fmla="*/ 372818 h 955271"/>
              <a:gd name="connsiteX58" fmla="*/ 3009558 w 5741575"/>
              <a:gd name="connsiteY58" fmla="*/ 370573 h 955271"/>
              <a:gd name="connsiteX59" fmla="*/ 3095010 w 5741575"/>
              <a:gd name="connsiteY59" fmla="*/ 332454 h 955271"/>
              <a:gd name="connsiteX60" fmla="*/ 3103742 w 5741575"/>
              <a:gd name="connsiteY60" fmla="*/ 337974 h 955271"/>
              <a:gd name="connsiteX61" fmla="*/ 3165093 w 5741575"/>
              <a:gd name="connsiteY61" fmla="*/ 329459 h 955271"/>
              <a:gd name="connsiteX62" fmla="*/ 3373785 w 5741575"/>
              <a:gd name="connsiteY62" fmla="*/ 255680 h 955271"/>
              <a:gd name="connsiteX63" fmla="*/ 3493851 w 5741575"/>
              <a:gd name="connsiteY63" fmla="*/ 240255 h 955271"/>
              <a:gd name="connsiteX64" fmla="*/ 3537470 w 5741575"/>
              <a:gd name="connsiteY64" fmla="*/ 241867 h 955271"/>
              <a:gd name="connsiteX65" fmla="*/ 3610489 w 5741575"/>
              <a:gd name="connsiteY65" fmla="*/ 244128 h 955271"/>
              <a:gd name="connsiteX66" fmla="*/ 3667539 w 5741575"/>
              <a:gd name="connsiteY66" fmla="*/ 263271 h 955271"/>
              <a:gd name="connsiteX67" fmla="*/ 3727614 w 5741575"/>
              <a:gd name="connsiteY67" fmla="*/ 258245 h 955271"/>
              <a:gd name="connsiteX68" fmla="*/ 3738369 w 5741575"/>
              <a:gd name="connsiteY68" fmla="*/ 234506 h 955271"/>
              <a:gd name="connsiteX69" fmla="*/ 3803670 w 5741575"/>
              <a:gd name="connsiteY69" fmla="*/ 236457 h 955271"/>
              <a:gd name="connsiteX70" fmla="*/ 3903080 w 5741575"/>
              <a:gd name="connsiteY70" fmla="*/ 241890 h 955271"/>
              <a:gd name="connsiteX71" fmla="*/ 4114838 w 5741575"/>
              <a:gd name="connsiteY71" fmla="*/ 238165 h 955271"/>
              <a:gd name="connsiteX72" fmla="*/ 4271023 w 5741575"/>
              <a:gd name="connsiteY72" fmla="*/ 241959 h 955271"/>
              <a:gd name="connsiteX73" fmla="*/ 4367397 w 5741575"/>
              <a:gd name="connsiteY73" fmla="*/ 271442 h 955271"/>
              <a:gd name="connsiteX74" fmla="*/ 4495366 w 5741575"/>
              <a:gd name="connsiteY74" fmla="*/ 271618 h 955271"/>
              <a:gd name="connsiteX75" fmla="*/ 4517347 w 5741575"/>
              <a:gd name="connsiteY75" fmla="*/ 275639 h 955271"/>
              <a:gd name="connsiteX76" fmla="*/ 4546116 w 5741575"/>
              <a:gd name="connsiteY76" fmla="*/ 268568 h 955271"/>
              <a:gd name="connsiteX77" fmla="*/ 4661259 w 5741575"/>
              <a:gd name="connsiteY77" fmla="*/ 238966 h 955271"/>
              <a:gd name="connsiteX78" fmla="*/ 4750403 w 5741575"/>
              <a:gd name="connsiteY78" fmla="*/ 204364 h 955271"/>
              <a:gd name="connsiteX79" fmla="*/ 4867614 w 5741575"/>
              <a:gd name="connsiteY79" fmla="*/ 208668 h 955271"/>
              <a:gd name="connsiteX80" fmla="*/ 4937036 w 5741575"/>
              <a:gd name="connsiteY80" fmla="*/ 195446 h 955271"/>
              <a:gd name="connsiteX81" fmla="*/ 5047626 w 5741575"/>
              <a:gd name="connsiteY81" fmla="*/ 149604 h 955271"/>
              <a:gd name="connsiteX82" fmla="*/ 5200247 w 5741575"/>
              <a:gd name="connsiteY82" fmla="*/ 142695 h 955271"/>
              <a:gd name="connsiteX83" fmla="*/ 5235691 w 5741575"/>
              <a:gd name="connsiteY83" fmla="*/ 173330 h 955271"/>
              <a:gd name="connsiteX84" fmla="*/ 5280133 w 5741575"/>
              <a:gd name="connsiteY84" fmla="*/ 189342 h 955271"/>
              <a:gd name="connsiteX85" fmla="*/ 5291963 w 5741575"/>
              <a:gd name="connsiteY85" fmla="*/ 139446 h 955271"/>
              <a:gd name="connsiteX86" fmla="*/ 5418472 w 5741575"/>
              <a:gd name="connsiteY86" fmla="*/ 89163 h 955271"/>
              <a:gd name="connsiteX87" fmla="*/ 5482354 w 5741575"/>
              <a:gd name="connsiteY87" fmla="*/ 69470 h 955271"/>
              <a:gd name="connsiteX88" fmla="*/ 5583280 w 5741575"/>
              <a:gd name="connsiteY88" fmla="*/ 49787 h 955271"/>
              <a:gd name="connsiteX89" fmla="*/ 5613766 w 5741575"/>
              <a:gd name="connsiteY89" fmla="*/ 41855 h 955271"/>
              <a:gd name="connsiteX90" fmla="*/ 5684952 w 5741575"/>
              <a:gd name="connsiteY90" fmla="*/ 26088 h 955271"/>
              <a:gd name="connsiteX91" fmla="*/ 5741575 w 5741575"/>
              <a:gd name="connsiteY91" fmla="*/ 0 h 955271"/>
              <a:gd name="connsiteX0" fmla="*/ 5741575 w 5741575"/>
              <a:gd name="connsiteY0" fmla="*/ 0 h 955271"/>
              <a:gd name="connsiteX1" fmla="*/ 5741575 w 5741575"/>
              <a:gd name="connsiteY1" fmla="*/ 955271 h 955271"/>
              <a:gd name="connsiteX2" fmla="*/ 0 w 5741575"/>
              <a:gd name="connsiteY2" fmla="*/ 955271 h 955271"/>
              <a:gd name="connsiteX3" fmla="*/ 8558 w 5741575"/>
              <a:gd name="connsiteY3" fmla="*/ 953971 h 955271"/>
              <a:gd name="connsiteX4" fmla="*/ 16894 w 5741575"/>
              <a:gd name="connsiteY4" fmla="*/ 953847 h 955271"/>
              <a:gd name="connsiteX5" fmla="*/ 28156 w 5741575"/>
              <a:gd name="connsiteY5" fmla="*/ 951374 h 955271"/>
              <a:gd name="connsiteX6" fmla="*/ 28293 w 5741575"/>
              <a:gd name="connsiteY6" fmla="*/ 950971 h 955271"/>
              <a:gd name="connsiteX7" fmla="*/ 39115 w 5741575"/>
              <a:gd name="connsiteY7" fmla="*/ 949326 h 955271"/>
              <a:gd name="connsiteX8" fmla="*/ 93851 w 5741575"/>
              <a:gd name="connsiteY8" fmla="*/ 945611 h 955271"/>
              <a:gd name="connsiteX9" fmla="*/ 148657 w 5741575"/>
              <a:gd name="connsiteY9" fmla="*/ 898134 h 955271"/>
              <a:gd name="connsiteX10" fmla="*/ 174554 w 5741575"/>
              <a:gd name="connsiteY10" fmla="*/ 886351 h 955271"/>
              <a:gd name="connsiteX11" fmla="*/ 187633 w 5741575"/>
              <a:gd name="connsiteY11" fmla="*/ 878226 h 955271"/>
              <a:gd name="connsiteX12" fmla="*/ 187961 w 5741575"/>
              <a:gd name="connsiteY12" fmla="*/ 876538 h 955271"/>
              <a:gd name="connsiteX13" fmla="*/ 240501 w 5741575"/>
              <a:gd name="connsiteY13" fmla="*/ 873150 h 955271"/>
              <a:gd name="connsiteX14" fmla="*/ 246345 w 5741575"/>
              <a:gd name="connsiteY14" fmla="*/ 869942 h 955271"/>
              <a:gd name="connsiteX15" fmla="*/ 282041 w 5741575"/>
              <a:gd name="connsiteY15" fmla="*/ 871263 h 955271"/>
              <a:gd name="connsiteX16" fmla="*/ 306299 w 5741575"/>
              <a:gd name="connsiteY16" fmla="*/ 873609 h 955271"/>
              <a:gd name="connsiteX17" fmla="*/ 331571 w 5741575"/>
              <a:gd name="connsiteY17" fmla="*/ 869866 h 955271"/>
              <a:gd name="connsiteX18" fmla="*/ 384157 w 5741575"/>
              <a:gd name="connsiteY18" fmla="*/ 867971 h 955271"/>
              <a:gd name="connsiteX19" fmla="*/ 477637 w 5741575"/>
              <a:gd name="connsiteY19" fmla="*/ 870334 h 955271"/>
              <a:gd name="connsiteX20" fmla="*/ 570239 w 5741575"/>
              <a:gd name="connsiteY20" fmla="*/ 829596 h 955271"/>
              <a:gd name="connsiteX21" fmla="*/ 787156 w 5741575"/>
              <a:gd name="connsiteY21" fmla="*/ 838447 h 955271"/>
              <a:gd name="connsiteX22" fmla="*/ 948872 w 5741575"/>
              <a:gd name="connsiteY22" fmla="*/ 772201 h 955271"/>
              <a:gd name="connsiteX23" fmla="*/ 1127089 w 5741575"/>
              <a:gd name="connsiteY23" fmla="*/ 746926 h 955271"/>
              <a:gd name="connsiteX24" fmla="*/ 1220426 w 5741575"/>
              <a:gd name="connsiteY24" fmla="*/ 721810 h 955271"/>
              <a:gd name="connsiteX25" fmla="*/ 1306771 w 5741575"/>
              <a:gd name="connsiteY25" fmla="*/ 717936 h 955271"/>
              <a:gd name="connsiteX26" fmla="*/ 1374314 w 5741575"/>
              <a:gd name="connsiteY26" fmla="*/ 688815 h 955271"/>
              <a:gd name="connsiteX27" fmla="*/ 1378034 w 5741575"/>
              <a:gd name="connsiteY27" fmla="*/ 685842 h 955271"/>
              <a:gd name="connsiteX28" fmla="*/ 1395604 w 5741575"/>
              <a:gd name="connsiteY28" fmla="*/ 680460 h 955271"/>
              <a:gd name="connsiteX29" fmla="*/ 1397206 w 5741575"/>
              <a:gd name="connsiteY29" fmla="*/ 670793 h 955271"/>
              <a:gd name="connsiteX30" fmla="*/ 1421250 w 5741575"/>
              <a:gd name="connsiteY30" fmla="*/ 656855 h 955271"/>
              <a:gd name="connsiteX31" fmla="*/ 1454524 w 5741575"/>
              <a:gd name="connsiteY31" fmla="*/ 649224 h 955271"/>
              <a:gd name="connsiteX32" fmla="*/ 1616217 w 5741575"/>
              <a:gd name="connsiteY32" fmla="*/ 622107 h 955271"/>
              <a:gd name="connsiteX33" fmla="*/ 1710928 w 5741575"/>
              <a:gd name="connsiteY33" fmla="*/ 600666 h 955271"/>
              <a:gd name="connsiteX34" fmla="*/ 1743718 w 5741575"/>
              <a:gd name="connsiteY34" fmla="*/ 584327 h 955271"/>
              <a:gd name="connsiteX35" fmla="*/ 1873778 w 5741575"/>
              <a:gd name="connsiteY35" fmla="*/ 530130 h 955271"/>
              <a:gd name="connsiteX36" fmla="*/ 1988411 w 5741575"/>
              <a:gd name="connsiteY36" fmla="*/ 491599 h 955271"/>
              <a:gd name="connsiteX37" fmla="*/ 2085507 w 5741575"/>
              <a:gd name="connsiteY37" fmla="*/ 498527 h 955271"/>
              <a:gd name="connsiteX38" fmla="*/ 2090767 w 5741575"/>
              <a:gd name="connsiteY38" fmla="*/ 490616 h 955271"/>
              <a:gd name="connsiteX39" fmla="*/ 2151143 w 5741575"/>
              <a:gd name="connsiteY39" fmla="*/ 478332 h 955271"/>
              <a:gd name="connsiteX40" fmla="*/ 2378710 w 5741575"/>
              <a:gd name="connsiteY40" fmla="*/ 477570 h 955271"/>
              <a:gd name="connsiteX41" fmla="*/ 2496256 w 5741575"/>
              <a:gd name="connsiteY41" fmla="*/ 452396 h 955271"/>
              <a:gd name="connsiteX42" fmla="*/ 2535387 w 5741575"/>
              <a:gd name="connsiteY42" fmla="*/ 436645 h 955271"/>
              <a:gd name="connsiteX43" fmla="*/ 2601109 w 5741575"/>
              <a:gd name="connsiteY43" fmla="*/ 410678 h 955271"/>
              <a:gd name="connsiteX44" fmla="*/ 2643855 w 5741575"/>
              <a:gd name="connsiteY44" fmla="*/ 374482 h 955271"/>
              <a:gd name="connsiteX45" fmla="*/ 2657726 w 5741575"/>
              <a:gd name="connsiteY45" fmla="*/ 365841 h 955271"/>
              <a:gd name="connsiteX46" fmla="*/ 2687125 w 5741575"/>
              <a:gd name="connsiteY46" fmla="*/ 366820 h 955271"/>
              <a:gd name="connsiteX47" fmla="*/ 2697479 w 5741575"/>
              <a:gd name="connsiteY47" fmla="*/ 361430 h 955271"/>
              <a:gd name="connsiteX48" fmla="*/ 2701547 w 5741575"/>
              <a:gd name="connsiteY48" fmla="*/ 361545 h 955271"/>
              <a:gd name="connsiteX49" fmla="*/ 2711054 w 5741575"/>
              <a:gd name="connsiteY49" fmla="*/ 360597 h 955271"/>
              <a:gd name="connsiteX50" fmla="*/ 2710438 w 5741575"/>
              <a:gd name="connsiteY50" fmla="*/ 366958 h 955271"/>
              <a:gd name="connsiteX51" fmla="*/ 2722936 w 5741575"/>
              <a:gd name="connsiteY51" fmla="*/ 377633 h 955271"/>
              <a:gd name="connsiteX52" fmla="*/ 2777227 w 5741575"/>
              <a:gd name="connsiteY52" fmla="*/ 368972 h 955271"/>
              <a:gd name="connsiteX53" fmla="*/ 2779510 w 5741575"/>
              <a:gd name="connsiteY53" fmla="*/ 361652 h 955271"/>
              <a:gd name="connsiteX54" fmla="*/ 2786278 w 5741575"/>
              <a:gd name="connsiteY54" fmla="*/ 359869 h 955271"/>
              <a:gd name="connsiteX55" fmla="*/ 2792101 w 5741575"/>
              <a:gd name="connsiteY55" fmla="*/ 365927 h 955271"/>
              <a:gd name="connsiteX56" fmla="*/ 2885545 w 5741575"/>
              <a:gd name="connsiteY56" fmla="*/ 372818 h 955271"/>
              <a:gd name="connsiteX57" fmla="*/ 3009558 w 5741575"/>
              <a:gd name="connsiteY57" fmla="*/ 370573 h 955271"/>
              <a:gd name="connsiteX58" fmla="*/ 3095010 w 5741575"/>
              <a:gd name="connsiteY58" fmla="*/ 332454 h 955271"/>
              <a:gd name="connsiteX59" fmla="*/ 3103742 w 5741575"/>
              <a:gd name="connsiteY59" fmla="*/ 337974 h 955271"/>
              <a:gd name="connsiteX60" fmla="*/ 3165093 w 5741575"/>
              <a:gd name="connsiteY60" fmla="*/ 329459 h 955271"/>
              <a:gd name="connsiteX61" fmla="*/ 3373785 w 5741575"/>
              <a:gd name="connsiteY61" fmla="*/ 255680 h 955271"/>
              <a:gd name="connsiteX62" fmla="*/ 3493851 w 5741575"/>
              <a:gd name="connsiteY62" fmla="*/ 240255 h 955271"/>
              <a:gd name="connsiteX63" fmla="*/ 3537470 w 5741575"/>
              <a:gd name="connsiteY63" fmla="*/ 241867 h 955271"/>
              <a:gd name="connsiteX64" fmla="*/ 3610489 w 5741575"/>
              <a:gd name="connsiteY64" fmla="*/ 244128 h 955271"/>
              <a:gd name="connsiteX65" fmla="*/ 3667539 w 5741575"/>
              <a:gd name="connsiteY65" fmla="*/ 263271 h 955271"/>
              <a:gd name="connsiteX66" fmla="*/ 3727614 w 5741575"/>
              <a:gd name="connsiteY66" fmla="*/ 258245 h 955271"/>
              <a:gd name="connsiteX67" fmla="*/ 3738369 w 5741575"/>
              <a:gd name="connsiteY67" fmla="*/ 234506 h 955271"/>
              <a:gd name="connsiteX68" fmla="*/ 3803670 w 5741575"/>
              <a:gd name="connsiteY68" fmla="*/ 236457 h 955271"/>
              <a:gd name="connsiteX69" fmla="*/ 3903080 w 5741575"/>
              <a:gd name="connsiteY69" fmla="*/ 241890 h 955271"/>
              <a:gd name="connsiteX70" fmla="*/ 4114838 w 5741575"/>
              <a:gd name="connsiteY70" fmla="*/ 238165 h 955271"/>
              <a:gd name="connsiteX71" fmla="*/ 4271023 w 5741575"/>
              <a:gd name="connsiteY71" fmla="*/ 241959 h 955271"/>
              <a:gd name="connsiteX72" fmla="*/ 4367397 w 5741575"/>
              <a:gd name="connsiteY72" fmla="*/ 271442 h 955271"/>
              <a:gd name="connsiteX73" fmla="*/ 4495366 w 5741575"/>
              <a:gd name="connsiteY73" fmla="*/ 271618 h 955271"/>
              <a:gd name="connsiteX74" fmla="*/ 4517347 w 5741575"/>
              <a:gd name="connsiteY74" fmla="*/ 275639 h 955271"/>
              <a:gd name="connsiteX75" fmla="*/ 4546116 w 5741575"/>
              <a:gd name="connsiteY75" fmla="*/ 268568 h 955271"/>
              <a:gd name="connsiteX76" fmla="*/ 4661259 w 5741575"/>
              <a:gd name="connsiteY76" fmla="*/ 238966 h 955271"/>
              <a:gd name="connsiteX77" fmla="*/ 4750403 w 5741575"/>
              <a:gd name="connsiteY77" fmla="*/ 204364 h 955271"/>
              <a:gd name="connsiteX78" fmla="*/ 4867614 w 5741575"/>
              <a:gd name="connsiteY78" fmla="*/ 208668 h 955271"/>
              <a:gd name="connsiteX79" fmla="*/ 4937036 w 5741575"/>
              <a:gd name="connsiteY79" fmla="*/ 195446 h 955271"/>
              <a:gd name="connsiteX80" fmla="*/ 5047626 w 5741575"/>
              <a:gd name="connsiteY80" fmla="*/ 149604 h 955271"/>
              <a:gd name="connsiteX81" fmla="*/ 5200247 w 5741575"/>
              <a:gd name="connsiteY81" fmla="*/ 142695 h 955271"/>
              <a:gd name="connsiteX82" fmla="*/ 5235691 w 5741575"/>
              <a:gd name="connsiteY82" fmla="*/ 173330 h 955271"/>
              <a:gd name="connsiteX83" fmla="*/ 5280133 w 5741575"/>
              <a:gd name="connsiteY83" fmla="*/ 189342 h 955271"/>
              <a:gd name="connsiteX84" fmla="*/ 5291963 w 5741575"/>
              <a:gd name="connsiteY84" fmla="*/ 139446 h 955271"/>
              <a:gd name="connsiteX85" fmla="*/ 5418472 w 5741575"/>
              <a:gd name="connsiteY85" fmla="*/ 89163 h 955271"/>
              <a:gd name="connsiteX86" fmla="*/ 5482354 w 5741575"/>
              <a:gd name="connsiteY86" fmla="*/ 69470 h 955271"/>
              <a:gd name="connsiteX87" fmla="*/ 5583280 w 5741575"/>
              <a:gd name="connsiteY87" fmla="*/ 49787 h 955271"/>
              <a:gd name="connsiteX88" fmla="*/ 5613766 w 5741575"/>
              <a:gd name="connsiteY88" fmla="*/ 41855 h 955271"/>
              <a:gd name="connsiteX89" fmla="*/ 5684952 w 5741575"/>
              <a:gd name="connsiteY89" fmla="*/ 26088 h 955271"/>
              <a:gd name="connsiteX90" fmla="*/ 5741575 w 5741575"/>
              <a:gd name="connsiteY90" fmla="*/ 0 h 955271"/>
              <a:gd name="connsiteX0" fmla="*/ 5741575 w 5741575"/>
              <a:gd name="connsiteY0" fmla="*/ 0 h 955271"/>
              <a:gd name="connsiteX1" fmla="*/ 5741575 w 5741575"/>
              <a:gd name="connsiteY1" fmla="*/ 955271 h 955271"/>
              <a:gd name="connsiteX2" fmla="*/ 0 w 5741575"/>
              <a:gd name="connsiteY2" fmla="*/ 955271 h 955271"/>
              <a:gd name="connsiteX3" fmla="*/ 8558 w 5741575"/>
              <a:gd name="connsiteY3" fmla="*/ 953971 h 955271"/>
              <a:gd name="connsiteX4" fmla="*/ 16894 w 5741575"/>
              <a:gd name="connsiteY4" fmla="*/ 953847 h 955271"/>
              <a:gd name="connsiteX5" fmla="*/ 28156 w 5741575"/>
              <a:gd name="connsiteY5" fmla="*/ 951374 h 955271"/>
              <a:gd name="connsiteX6" fmla="*/ 28293 w 5741575"/>
              <a:gd name="connsiteY6" fmla="*/ 950971 h 955271"/>
              <a:gd name="connsiteX7" fmla="*/ 39115 w 5741575"/>
              <a:gd name="connsiteY7" fmla="*/ 949326 h 955271"/>
              <a:gd name="connsiteX8" fmla="*/ 93851 w 5741575"/>
              <a:gd name="connsiteY8" fmla="*/ 945611 h 955271"/>
              <a:gd name="connsiteX9" fmla="*/ 148657 w 5741575"/>
              <a:gd name="connsiteY9" fmla="*/ 898134 h 955271"/>
              <a:gd name="connsiteX10" fmla="*/ 174554 w 5741575"/>
              <a:gd name="connsiteY10" fmla="*/ 886351 h 955271"/>
              <a:gd name="connsiteX11" fmla="*/ 187633 w 5741575"/>
              <a:gd name="connsiteY11" fmla="*/ 878226 h 955271"/>
              <a:gd name="connsiteX12" fmla="*/ 187961 w 5741575"/>
              <a:gd name="connsiteY12" fmla="*/ 876538 h 955271"/>
              <a:gd name="connsiteX13" fmla="*/ 240501 w 5741575"/>
              <a:gd name="connsiteY13" fmla="*/ 873150 h 955271"/>
              <a:gd name="connsiteX14" fmla="*/ 246345 w 5741575"/>
              <a:gd name="connsiteY14" fmla="*/ 869942 h 955271"/>
              <a:gd name="connsiteX15" fmla="*/ 306299 w 5741575"/>
              <a:gd name="connsiteY15" fmla="*/ 873609 h 955271"/>
              <a:gd name="connsiteX16" fmla="*/ 331571 w 5741575"/>
              <a:gd name="connsiteY16" fmla="*/ 869866 h 955271"/>
              <a:gd name="connsiteX17" fmla="*/ 384157 w 5741575"/>
              <a:gd name="connsiteY17" fmla="*/ 867971 h 955271"/>
              <a:gd name="connsiteX18" fmla="*/ 477637 w 5741575"/>
              <a:gd name="connsiteY18" fmla="*/ 870334 h 955271"/>
              <a:gd name="connsiteX19" fmla="*/ 570239 w 5741575"/>
              <a:gd name="connsiteY19" fmla="*/ 829596 h 955271"/>
              <a:gd name="connsiteX20" fmla="*/ 787156 w 5741575"/>
              <a:gd name="connsiteY20" fmla="*/ 838447 h 955271"/>
              <a:gd name="connsiteX21" fmla="*/ 948872 w 5741575"/>
              <a:gd name="connsiteY21" fmla="*/ 772201 h 955271"/>
              <a:gd name="connsiteX22" fmla="*/ 1127089 w 5741575"/>
              <a:gd name="connsiteY22" fmla="*/ 746926 h 955271"/>
              <a:gd name="connsiteX23" fmla="*/ 1220426 w 5741575"/>
              <a:gd name="connsiteY23" fmla="*/ 721810 h 955271"/>
              <a:gd name="connsiteX24" fmla="*/ 1306771 w 5741575"/>
              <a:gd name="connsiteY24" fmla="*/ 717936 h 955271"/>
              <a:gd name="connsiteX25" fmla="*/ 1374314 w 5741575"/>
              <a:gd name="connsiteY25" fmla="*/ 688815 h 955271"/>
              <a:gd name="connsiteX26" fmla="*/ 1378034 w 5741575"/>
              <a:gd name="connsiteY26" fmla="*/ 685842 h 955271"/>
              <a:gd name="connsiteX27" fmla="*/ 1395604 w 5741575"/>
              <a:gd name="connsiteY27" fmla="*/ 680460 h 955271"/>
              <a:gd name="connsiteX28" fmla="*/ 1397206 w 5741575"/>
              <a:gd name="connsiteY28" fmla="*/ 670793 h 955271"/>
              <a:gd name="connsiteX29" fmla="*/ 1421250 w 5741575"/>
              <a:gd name="connsiteY29" fmla="*/ 656855 h 955271"/>
              <a:gd name="connsiteX30" fmla="*/ 1454524 w 5741575"/>
              <a:gd name="connsiteY30" fmla="*/ 649224 h 955271"/>
              <a:gd name="connsiteX31" fmla="*/ 1616217 w 5741575"/>
              <a:gd name="connsiteY31" fmla="*/ 622107 h 955271"/>
              <a:gd name="connsiteX32" fmla="*/ 1710928 w 5741575"/>
              <a:gd name="connsiteY32" fmla="*/ 600666 h 955271"/>
              <a:gd name="connsiteX33" fmla="*/ 1743718 w 5741575"/>
              <a:gd name="connsiteY33" fmla="*/ 584327 h 955271"/>
              <a:gd name="connsiteX34" fmla="*/ 1873778 w 5741575"/>
              <a:gd name="connsiteY34" fmla="*/ 530130 h 955271"/>
              <a:gd name="connsiteX35" fmla="*/ 1988411 w 5741575"/>
              <a:gd name="connsiteY35" fmla="*/ 491599 h 955271"/>
              <a:gd name="connsiteX36" fmla="*/ 2085507 w 5741575"/>
              <a:gd name="connsiteY36" fmla="*/ 498527 h 955271"/>
              <a:gd name="connsiteX37" fmla="*/ 2090767 w 5741575"/>
              <a:gd name="connsiteY37" fmla="*/ 490616 h 955271"/>
              <a:gd name="connsiteX38" fmla="*/ 2151143 w 5741575"/>
              <a:gd name="connsiteY38" fmla="*/ 478332 h 955271"/>
              <a:gd name="connsiteX39" fmla="*/ 2378710 w 5741575"/>
              <a:gd name="connsiteY39" fmla="*/ 477570 h 955271"/>
              <a:gd name="connsiteX40" fmla="*/ 2496256 w 5741575"/>
              <a:gd name="connsiteY40" fmla="*/ 452396 h 955271"/>
              <a:gd name="connsiteX41" fmla="*/ 2535387 w 5741575"/>
              <a:gd name="connsiteY41" fmla="*/ 436645 h 955271"/>
              <a:gd name="connsiteX42" fmla="*/ 2601109 w 5741575"/>
              <a:gd name="connsiteY42" fmla="*/ 410678 h 955271"/>
              <a:gd name="connsiteX43" fmla="*/ 2643855 w 5741575"/>
              <a:gd name="connsiteY43" fmla="*/ 374482 h 955271"/>
              <a:gd name="connsiteX44" fmla="*/ 2657726 w 5741575"/>
              <a:gd name="connsiteY44" fmla="*/ 365841 h 955271"/>
              <a:gd name="connsiteX45" fmla="*/ 2687125 w 5741575"/>
              <a:gd name="connsiteY45" fmla="*/ 366820 h 955271"/>
              <a:gd name="connsiteX46" fmla="*/ 2697479 w 5741575"/>
              <a:gd name="connsiteY46" fmla="*/ 361430 h 955271"/>
              <a:gd name="connsiteX47" fmla="*/ 2701547 w 5741575"/>
              <a:gd name="connsiteY47" fmla="*/ 361545 h 955271"/>
              <a:gd name="connsiteX48" fmla="*/ 2711054 w 5741575"/>
              <a:gd name="connsiteY48" fmla="*/ 360597 h 955271"/>
              <a:gd name="connsiteX49" fmla="*/ 2710438 w 5741575"/>
              <a:gd name="connsiteY49" fmla="*/ 366958 h 955271"/>
              <a:gd name="connsiteX50" fmla="*/ 2722936 w 5741575"/>
              <a:gd name="connsiteY50" fmla="*/ 377633 h 955271"/>
              <a:gd name="connsiteX51" fmla="*/ 2777227 w 5741575"/>
              <a:gd name="connsiteY51" fmla="*/ 368972 h 955271"/>
              <a:gd name="connsiteX52" fmla="*/ 2779510 w 5741575"/>
              <a:gd name="connsiteY52" fmla="*/ 361652 h 955271"/>
              <a:gd name="connsiteX53" fmla="*/ 2786278 w 5741575"/>
              <a:gd name="connsiteY53" fmla="*/ 359869 h 955271"/>
              <a:gd name="connsiteX54" fmla="*/ 2792101 w 5741575"/>
              <a:gd name="connsiteY54" fmla="*/ 365927 h 955271"/>
              <a:gd name="connsiteX55" fmla="*/ 2885545 w 5741575"/>
              <a:gd name="connsiteY55" fmla="*/ 372818 h 955271"/>
              <a:gd name="connsiteX56" fmla="*/ 3009558 w 5741575"/>
              <a:gd name="connsiteY56" fmla="*/ 370573 h 955271"/>
              <a:gd name="connsiteX57" fmla="*/ 3095010 w 5741575"/>
              <a:gd name="connsiteY57" fmla="*/ 332454 h 955271"/>
              <a:gd name="connsiteX58" fmla="*/ 3103742 w 5741575"/>
              <a:gd name="connsiteY58" fmla="*/ 337974 h 955271"/>
              <a:gd name="connsiteX59" fmla="*/ 3165093 w 5741575"/>
              <a:gd name="connsiteY59" fmla="*/ 329459 h 955271"/>
              <a:gd name="connsiteX60" fmla="*/ 3373785 w 5741575"/>
              <a:gd name="connsiteY60" fmla="*/ 255680 h 955271"/>
              <a:gd name="connsiteX61" fmla="*/ 3493851 w 5741575"/>
              <a:gd name="connsiteY61" fmla="*/ 240255 h 955271"/>
              <a:gd name="connsiteX62" fmla="*/ 3537470 w 5741575"/>
              <a:gd name="connsiteY62" fmla="*/ 241867 h 955271"/>
              <a:gd name="connsiteX63" fmla="*/ 3610489 w 5741575"/>
              <a:gd name="connsiteY63" fmla="*/ 244128 h 955271"/>
              <a:gd name="connsiteX64" fmla="*/ 3667539 w 5741575"/>
              <a:gd name="connsiteY64" fmla="*/ 263271 h 955271"/>
              <a:gd name="connsiteX65" fmla="*/ 3727614 w 5741575"/>
              <a:gd name="connsiteY65" fmla="*/ 258245 h 955271"/>
              <a:gd name="connsiteX66" fmla="*/ 3738369 w 5741575"/>
              <a:gd name="connsiteY66" fmla="*/ 234506 h 955271"/>
              <a:gd name="connsiteX67" fmla="*/ 3803670 w 5741575"/>
              <a:gd name="connsiteY67" fmla="*/ 236457 h 955271"/>
              <a:gd name="connsiteX68" fmla="*/ 3903080 w 5741575"/>
              <a:gd name="connsiteY68" fmla="*/ 241890 h 955271"/>
              <a:gd name="connsiteX69" fmla="*/ 4114838 w 5741575"/>
              <a:gd name="connsiteY69" fmla="*/ 238165 h 955271"/>
              <a:gd name="connsiteX70" fmla="*/ 4271023 w 5741575"/>
              <a:gd name="connsiteY70" fmla="*/ 241959 h 955271"/>
              <a:gd name="connsiteX71" fmla="*/ 4367397 w 5741575"/>
              <a:gd name="connsiteY71" fmla="*/ 271442 h 955271"/>
              <a:gd name="connsiteX72" fmla="*/ 4495366 w 5741575"/>
              <a:gd name="connsiteY72" fmla="*/ 271618 h 955271"/>
              <a:gd name="connsiteX73" fmla="*/ 4517347 w 5741575"/>
              <a:gd name="connsiteY73" fmla="*/ 275639 h 955271"/>
              <a:gd name="connsiteX74" fmla="*/ 4546116 w 5741575"/>
              <a:gd name="connsiteY74" fmla="*/ 268568 h 955271"/>
              <a:gd name="connsiteX75" fmla="*/ 4661259 w 5741575"/>
              <a:gd name="connsiteY75" fmla="*/ 238966 h 955271"/>
              <a:gd name="connsiteX76" fmla="*/ 4750403 w 5741575"/>
              <a:gd name="connsiteY76" fmla="*/ 204364 h 955271"/>
              <a:gd name="connsiteX77" fmla="*/ 4867614 w 5741575"/>
              <a:gd name="connsiteY77" fmla="*/ 208668 h 955271"/>
              <a:gd name="connsiteX78" fmla="*/ 4937036 w 5741575"/>
              <a:gd name="connsiteY78" fmla="*/ 195446 h 955271"/>
              <a:gd name="connsiteX79" fmla="*/ 5047626 w 5741575"/>
              <a:gd name="connsiteY79" fmla="*/ 149604 h 955271"/>
              <a:gd name="connsiteX80" fmla="*/ 5200247 w 5741575"/>
              <a:gd name="connsiteY80" fmla="*/ 142695 h 955271"/>
              <a:gd name="connsiteX81" fmla="*/ 5235691 w 5741575"/>
              <a:gd name="connsiteY81" fmla="*/ 173330 h 955271"/>
              <a:gd name="connsiteX82" fmla="*/ 5280133 w 5741575"/>
              <a:gd name="connsiteY82" fmla="*/ 189342 h 955271"/>
              <a:gd name="connsiteX83" fmla="*/ 5291963 w 5741575"/>
              <a:gd name="connsiteY83" fmla="*/ 139446 h 955271"/>
              <a:gd name="connsiteX84" fmla="*/ 5418472 w 5741575"/>
              <a:gd name="connsiteY84" fmla="*/ 89163 h 955271"/>
              <a:gd name="connsiteX85" fmla="*/ 5482354 w 5741575"/>
              <a:gd name="connsiteY85" fmla="*/ 69470 h 955271"/>
              <a:gd name="connsiteX86" fmla="*/ 5583280 w 5741575"/>
              <a:gd name="connsiteY86" fmla="*/ 49787 h 955271"/>
              <a:gd name="connsiteX87" fmla="*/ 5613766 w 5741575"/>
              <a:gd name="connsiteY87" fmla="*/ 41855 h 955271"/>
              <a:gd name="connsiteX88" fmla="*/ 5684952 w 5741575"/>
              <a:gd name="connsiteY88" fmla="*/ 26088 h 955271"/>
              <a:gd name="connsiteX89" fmla="*/ 5741575 w 5741575"/>
              <a:gd name="connsiteY89" fmla="*/ 0 h 955271"/>
              <a:gd name="connsiteX0" fmla="*/ 5741575 w 5741575"/>
              <a:gd name="connsiteY0" fmla="*/ 0 h 955271"/>
              <a:gd name="connsiteX1" fmla="*/ 5741575 w 5741575"/>
              <a:gd name="connsiteY1" fmla="*/ 955271 h 955271"/>
              <a:gd name="connsiteX2" fmla="*/ 0 w 5741575"/>
              <a:gd name="connsiteY2" fmla="*/ 955271 h 955271"/>
              <a:gd name="connsiteX3" fmla="*/ 8558 w 5741575"/>
              <a:gd name="connsiteY3" fmla="*/ 953971 h 955271"/>
              <a:gd name="connsiteX4" fmla="*/ 16894 w 5741575"/>
              <a:gd name="connsiteY4" fmla="*/ 953847 h 955271"/>
              <a:gd name="connsiteX5" fmla="*/ 28156 w 5741575"/>
              <a:gd name="connsiteY5" fmla="*/ 951374 h 955271"/>
              <a:gd name="connsiteX6" fmla="*/ 28293 w 5741575"/>
              <a:gd name="connsiteY6" fmla="*/ 950971 h 955271"/>
              <a:gd name="connsiteX7" fmla="*/ 39115 w 5741575"/>
              <a:gd name="connsiteY7" fmla="*/ 949326 h 955271"/>
              <a:gd name="connsiteX8" fmla="*/ 93851 w 5741575"/>
              <a:gd name="connsiteY8" fmla="*/ 922923 h 955271"/>
              <a:gd name="connsiteX9" fmla="*/ 148657 w 5741575"/>
              <a:gd name="connsiteY9" fmla="*/ 898134 h 955271"/>
              <a:gd name="connsiteX10" fmla="*/ 174554 w 5741575"/>
              <a:gd name="connsiteY10" fmla="*/ 886351 h 955271"/>
              <a:gd name="connsiteX11" fmla="*/ 187633 w 5741575"/>
              <a:gd name="connsiteY11" fmla="*/ 878226 h 955271"/>
              <a:gd name="connsiteX12" fmla="*/ 187961 w 5741575"/>
              <a:gd name="connsiteY12" fmla="*/ 876538 h 955271"/>
              <a:gd name="connsiteX13" fmla="*/ 240501 w 5741575"/>
              <a:gd name="connsiteY13" fmla="*/ 873150 h 955271"/>
              <a:gd name="connsiteX14" fmla="*/ 246345 w 5741575"/>
              <a:gd name="connsiteY14" fmla="*/ 869942 h 955271"/>
              <a:gd name="connsiteX15" fmla="*/ 306299 w 5741575"/>
              <a:gd name="connsiteY15" fmla="*/ 873609 h 955271"/>
              <a:gd name="connsiteX16" fmla="*/ 331571 w 5741575"/>
              <a:gd name="connsiteY16" fmla="*/ 869866 h 955271"/>
              <a:gd name="connsiteX17" fmla="*/ 384157 w 5741575"/>
              <a:gd name="connsiteY17" fmla="*/ 867971 h 955271"/>
              <a:gd name="connsiteX18" fmla="*/ 477637 w 5741575"/>
              <a:gd name="connsiteY18" fmla="*/ 870334 h 955271"/>
              <a:gd name="connsiteX19" fmla="*/ 570239 w 5741575"/>
              <a:gd name="connsiteY19" fmla="*/ 829596 h 955271"/>
              <a:gd name="connsiteX20" fmla="*/ 787156 w 5741575"/>
              <a:gd name="connsiteY20" fmla="*/ 838447 h 955271"/>
              <a:gd name="connsiteX21" fmla="*/ 948872 w 5741575"/>
              <a:gd name="connsiteY21" fmla="*/ 772201 h 955271"/>
              <a:gd name="connsiteX22" fmla="*/ 1127089 w 5741575"/>
              <a:gd name="connsiteY22" fmla="*/ 746926 h 955271"/>
              <a:gd name="connsiteX23" fmla="*/ 1220426 w 5741575"/>
              <a:gd name="connsiteY23" fmla="*/ 721810 h 955271"/>
              <a:gd name="connsiteX24" fmla="*/ 1306771 w 5741575"/>
              <a:gd name="connsiteY24" fmla="*/ 717936 h 955271"/>
              <a:gd name="connsiteX25" fmla="*/ 1374314 w 5741575"/>
              <a:gd name="connsiteY25" fmla="*/ 688815 h 955271"/>
              <a:gd name="connsiteX26" fmla="*/ 1378034 w 5741575"/>
              <a:gd name="connsiteY26" fmla="*/ 685842 h 955271"/>
              <a:gd name="connsiteX27" fmla="*/ 1395604 w 5741575"/>
              <a:gd name="connsiteY27" fmla="*/ 680460 h 955271"/>
              <a:gd name="connsiteX28" fmla="*/ 1397206 w 5741575"/>
              <a:gd name="connsiteY28" fmla="*/ 670793 h 955271"/>
              <a:gd name="connsiteX29" fmla="*/ 1421250 w 5741575"/>
              <a:gd name="connsiteY29" fmla="*/ 656855 h 955271"/>
              <a:gd name="connsiteX30" fmla="*/ 1454524 w 5741575"/>
              <a:gd name="connsiteY30" fmla="*/ 649224 h 955271"/>
              <a:gd name="connsiteX31" fmla="*/ 1616217 w 5741575"/>
              <a:gd name="connsiteY31" fmla="*/ 622107 h 955271"/>
              <a:gd name="connsiteX32" fmla="*/ 1710928 w 5741575"/>
              <a:gd name="connsiteY32" fmla="*/ 600666 h 955271"/>
              <a:gd name="connsiteX33" fmla="*/ 1743718 w 5741575"/>
              <a:gd name="connsiteY33" fmla="*/ 584327 h 955271"/>
              <a:gd name="connsiteX34" fmla="*/ 1873778 w 5741575"/>
              <a:gd name="connsiteY34" fmla="*/ 530130 h 955271"/>
              <a:gd name="connsiteX35" fmla="*/ 1988411 w 5741575"/>
              <a:gd name="connsiteY35" fmla="*/ 491599 h 955271"/>
              <a:gd name="connsiteX36" fmla="*/ 2085507 w 5741575"/>
              <a:gd name="connsiteY36" fmla="*/ 498527 h 955271"/>
              <a:gd name="connsiteX37" fmla="*/ 2090767 w 5741575"/>
              <a:gd name="connsiteY37" fmla="*/ 490616 h 955271"/>
              <a:gd name="connsiteX38" fmla="*/ 2151143 w 5741575"/>
              <a:gd name="connsiteY38" fmla="*/ 478332 h 955271"/>
              <a:gd name="connsiteX39" fmla="*/ 2378710 w 5741575"/>
              <a:gd name="connsiteY39" fmla="*/ 477570 h 955271"/>
              <a:gd name="connsiteX40" fmla="*/ 2496256 w 5741575"/>
              <a:gd name="connsiteY40" fmla="*/ 452396 h 955271"/>
              <a:gd name="connsiteX41" fmla="*/ 2535387 w 5741575"/>
              <a:gd name="connsiteY41" fmla="*/ 436645 h 955271"/>
              <a:gd name="connsiteX42" fmla="*/ 2601109 w 5741575"/>
              <a:gd name="connsiteY42" fmla="*/ 410678 h 955271"/>
              <a:gd name="connsiteX43" fmla="*/ 2643855 w 5741575"/>
              <a:gd name="connsiteY43" fmla="*/ 374482 h 955271"/>
              <a:gd name="connsiteX44" fmla="*/ 2657726 w 5741575"/>
              <a:gd name="connsiteY44" fmla="*/ 365841 h 955271"/>
              <a:gd name="connsiteX45" fmla="*/ 2687125 w 5741575"/>
              <a:gd name="connsiteY45" fmla="*/ 366820 h 955271"/>
              <a:gd name="connsiteX46" fmla="*/ 2697479 w 5741575"/>
              <a:gd name="connsiteY46" fmla="*/ 361430 h 955271"/>
              <a:gd name="connsiteX47" fmla="*/ 2701547 w 5741575"/>
              <a:gd name="connsiteY47" fmla="*/ 361545 h 955271"/>
              <a:gd name="connsiteX48" fmla="*/ 2711054 w 5741575"/>
              <a:gd name="connsiteY48" fmla="*/ 360597 h 955271"/>
              <a:gd name="connsiteX49" fmla="*/ 2710438 w 5741575"/>
              <a:gd name="connsiteY49" fmla="*/ 366958 h 955271"/>
              <a:gd name="connsiteX50" fmla="*/ 2722936 w 5741575"/>
              <a:gd name="connsiteY50" fmla="*/ 377633 h 955271"/>
              <a:gd name="connsiteX51" fmla="*/ 2777227 w 5741575"/>
              <a:gd name="connsiteY51" fmla="*/ 368972 h 955271"/>
              <a:gd name="connsiteX52" fmla="*/ 2779510 w 5741575"/>
              <a:gd name="connsiteY52" fmla="*/ 361652 h 955271"/>
              <a:gd name="connsiteX53" fmla="*/ 2786278 w 5741575"/>
              <a:gd name="connsiteY53" fmla="*/ 359869 h 955271"/>
              <a:gd name="connsiteX54" fmla="*/ 2792101 w 5741575"/>
              <a:gd name="connsiteY54" fmla="*/ 365927 h 955271"/>
              <a:gd name="connsiteX55" fmla="*/ 2885545 w 5741575"/>
              <a:gd name="connsiteY55" fmla="*/ 372818 h 955271"/>
              <a:gd name="connsiteX56" fmla="*/ 3009558 w 5741575"/>
              <a:gd name="connsiteY56" fmla="*/ 370573 h 955271"/>
              <a:gd name="connsiteX57" fmla="*/ 3095010 w 5741575"/>
              <a:gd name="connsiteY57" fmla="*/ 332454 h 955271"/>
              <a:gd name="connsiteX58" fmla="*/ 3103742 w 5741575"/>
              <a:gd name="connsiteY58" fmla="*/ 337974 h 955271"/>
              <a:gd name="connsiteX59" fmla="*/ 3165093 w 5741575"/>
              <a:gd name="connsiteY59" fmla="*/ 329459 h 955271"/>
              <a:gd name="connsiteX60" fmla="*/ 3373785 w 5741575"/>
              <a:gd name="connsiteY60" fmla="*/ 255680 h 955271"/>
              <a:gd name="connsiteX61" fmla="*/ 3493851 w 5741575"/>
              <a:gd name="connsiteY61" fmla="*/ 240255 h 955271"/>
              <a:gd name="connsiteX62" fmla="*/ 3537470 w 5741575"/>
              <a:gd name="connsiteY62" fmla="*/ 241867 h 955271"/>
              <a:gd name="connsiteX63" fmla="*/ 3610489 w 5741575"/>
              <a:gd name="connsiteY63" fmla="*/ 244128 h 955271"/>
              <a:gd name="connsiteX64" fmla="*/ 3667539 w 5741575"/>
              <a:gd name="connsiteY64" fmla="*/ 263271 h 955271"/>
              <a:gd name="connsiteX65" fmla="*/ 3727614 w 5741575"/>
              <a:gd name="connsiteY65" fmla="*/ 258245 h 955271"/>
              <a:gd name="connsiteX66" fmla="*/ 3738369 w 5741575"/>
              <a:gd name="connsiteY66" fmla="*/ 234506 h 955271"/>
              <a:gd name="connsiteX67" fmla="*/ 3803670 w 5741575"/>
              <a:gd name="connsiteY67" fmla="*/ 236457 h 955271"/>
              <a:gd name="connsiteX68" fmla="*/ 3903080 w 5741575"/>
              <a:gd name="connsiteY68" fmla="*/ 241890 h 955271"/>
              <a:gd name="connsiteX69" fmla="*/ 4114838 w 5741575"/>
              <a:gd name="connsiteY69" fmla="*/ 238165 h 955271"/>
              <a:gd name="connsiteX70" fmla="*/ 4271023 w 5741575"/>
              <a:gd name="connsiteY70" fmla="*/ 241959 h 955271"/>
              <a:gd name="connsiteX71" fmla="*/ 4367397 w 5741575"/>
              <a:gd name="connsiteY71" fmla="*/ 271442 h 955271"/>
              <a:gd name="connsiteX72" fmla="*/ 4495366 w 5741575"/>
              <a:gd name="connsiteY72" fmla="*/ 271618 h 955271"/>
              <a:gd name="connsiteX73" fmla="*/ 4517347 w 5741575"/>
              <a:gd name="connsiteY73" fmla="*/ 275639 h 955271"/>
              <a:gd name="connsiteX74" fmla="*/ 4546116 w 5741575"/>
              <a:gd name="connsiteY74" fmla="*/ 268568 h 955271"/>
              <a:gd name="connsiteX75" fmla="*/ 4661259 w 5741575"/>
              <a:gd name="connsiteY75" fmla="*/ 238966 h 955271"/>
              <a:gd name="connsiteX76" fmla="*/ 4750403 w 5741575"/>
              <a:gd name="connsiteY76" fmla="*/ 204364 h 955271"/>
              <a:gd name="connsiteX77" fmla="*/ 4867614 w 5741575"/>
              <a:gd name="connsiteY77" fmla="*/ 208668 h 955271"/>
              <a:gd name="connsiteX78" fmla="*/ 4937036 w 5741575"/>
              <a:gd name="connsiteY78" fmla="*/ 195446 h 955271"/>
              <a:gd name="connsiteX79" fmla="*/ 5047626 w 5741575"/>
              <a:gd name="connsiteY79" fmla="*/ 149604 h 955271"/>
              <a:gd name="connsiteX80" fmla="*/ 5200247 w 5741575"/>
              <a:gd name="connsiteY80" fmla="*/ 142695 h 955271"/>
              <a:gd name="connsiteX81" fmla="*/ 5235691 w 5741575"/>
              <a:gd name="connsiteY81" fmla="*/ 173330 h 955271"/>
              <a:gd name="connsiteX82" fmla="*/ 5280133 w 5741575"/>
              <a:gd name="connsiteY82" fmla="*/ 189342 h 955271"/>
              <a:gd name="connsiteX83" fmla="*/ 5291963 w 5741575"/>
              <a:gd name="connsiteY83" fmla="*/ 139446 h 955271"/>
              <a:gd name="connsiteX84" fmla="*/ 5418472 w 5741575"/>
              <a:gd name="connsiteY84" fmla="*/ 89163 h 955271"/>
              <a:gd name="connsiteX85" fmla="*/ 5482354 w 5741575"/>
              <a:gd name="connsiteY85" fmla="*/ 69470 h 955271"/>
              <a:gd name="connsiteX86" fmla="*/ 5583280 w 5741575"/>
              <a:gd name="connsiteY86" fmla="*/ 49787 h 955271"/>
              <a:gd name="connsiteX87" fmla="*/ 5613766 w 5741575"/>
              <a:gd name="connsiteY87" fmla="*/ 41855 h 955271"/>
              <a:gd name="connsiteX88" fmla="*/ 5684952 w 5741575"/>
              <a:gd name="connsiteY88" fmla="*/ 26088 h 955271"/>
              <a:gd name="connsiteX89" fmla="*/ 5741575 w 5741575"/>
              <a:gd name="connsiteY89" fmla="*/ 0 h 955271"/>
              <a:gd name="connsiteX0" fmla="*/ 5741575 w 5741575"/>
              <a:gd name="connsiteY0" fmla="*/ 0 h 955271"/>
              <a:gd name="connsiteX1" fmla="*/ 5741575 w 5741575"/>
              <a:gd name="connsiteY1" fmla="*/ 955271 h 955271"/>
              <a:gd name="connsiteX2" fmla="*/ 0 w 5741575"/>
              <a:gd name="connsiteY2" fmla="*/ 955271 h 955271"/>
              <a:gd name="connsiteX3" fmla="*/ 8558 w 5741575"/>
              <a:gd name="connsiteY3" fmla="*/ 953971 h 955271"/>
              <a:gd name="connsiteX4" fmla="*/ 16894 w 5741575"/>
              <a:gd name="connsiteY4" fmla="*/ 953847 h 955271"/>
              <a:gd name="connsiteX5" fmla="*/ 28156 w 5741575"/>
              <a:gd name="connsiteY5" fmla="*/ 951374 h 955271"/>
              <a:gd name="connsiteX6" fmla="*/ 28293 w 5741575"/>
              <a:gd name="connsiteY6" fmla="*/ 950971 h 955271"/>
              <a:gd name="connsiteX7" fmla="*/ 39115 w 5741575"/>
              <a:gd name="connsiteY7" fmla="*/ 949326 h 955271"/>
              <a:gd name="connsiteX8" fmla="*/ 148657 w 5741575"/>
              <a:gd name="connsiteY8" fmla="*/ 898134 h 955271"/>
              <a:gd name="connsiteX9" fmla="*/ 174554 w 5741575"/>
              <a:gd name="connsiteY9" fmla="*/ 886351 h 955271"/>
              <a:gd name="connsiteX10" fmla="*/ 187633 w 5741575"/>
              <a:gd name="connsiteY10" fmla="*/ 878226 h 955271"/>
              <a:gd name="connsiteX11" fmla="*/ 187961 w 5741575"/>
              <a:gd name="connsiteY11" fmla="*/ 876538 h 955271"/>
              <a:gd name="connsiteX12" fmla="*/ 240501 w 5741575"/>
              <a:gd name="connsiteY12" fmla="*/ 873150 h 955271"/>
              <a:gd name="connsiteX13" fmla="*/ 246345 w 5741575"/>
              <a:gd name="connsiteY13" fmla="*/ 869942 h 955271"/>
              <a:gd name="connsiteX14" fmla="*/ 306299 w 5741575"/>
              <a:gd name="connsiteY14" fmla="*/ 873609 h 955271"/>
              <a:gd name="connsiteX15" fmla="*/ 331571 w 5741575"/>
              <a:gd name="connsiteY15" fmla="*/ 869866 h 955271"/>
              <a:gd name="connsiteX16" fmla="*/ 384157 w 5741575"/>
              <a:gd name="connsiteY16" fmla="*/ 867971 h 955271"/>
              <a:gd name="connsiteX17" fmla="*/ 477637 w 5741575"/>
              <a:gd name="connsiteY17" fmla="*/ 870334 h 955271"/>
              <a:gd name="connsiteX18" fmla="*/ 570239 w 5741575"/>
              <a:gd name="connsiteY18" fmla="*/ 829596 h 955271"/>
              <a:gd name="connsiteX19" fmla="*/ 787156 w 5741575"/>
              <a:gd name="connsiteY19" fmla="*/ 838447 h 955271"/>
              <a:gd name="connsiteX20" fmla="*/ 948872 w 5741575"/>
              <a:gd name="connsiteY20" fmla="*/ 772201 h 955271"/>
              <a:gd name="connsiteX21" fmla="*/ 1127089 w 5741575"/>
              <a:gd name="connsiteY21" fmla="*/ 746926 h 955271"/>
              <a:gd name="connsiteX22" fmla="*/ 1220426 w 5741575"/>
              <a:gd name="connsiteY22" fmla="*/ 721810 h 955271"/>
              <a:gd name="connsiteX23" fmla="*/ 1306771 w 5741575"/>
              <a:gd name="connsiteY23" fmla="*/ 717936 h 955271"/>
              <a:gd name="connsiteX24" fmla="*/ 1374314 w 5741575"/>
              <a:gd name="connsiteY24" fmla="*/ 688815 h 955271"/>
              <a:gd name="connsiteX25" fmla="*/ 1378034 w 5741575"/>
              <a:gd name="connsiteY25" fmla="*/ 685842 h 955271"/>
              <a:gd name="connsiteX26" fmla="*/ 1395604 w 5741575"/>
              <a:gd name="connsiteY26" fmla="*/ 680460 h 955271"/>
              <a:gd name="connsiteX27" fmla="*/ 1397206 w 5741575"/>
              <a:gd name="connsiteY27" fmla="*/ 670793 h 955271"/>
              <a:gd name="connsiteX28" fmla="*/ 1421250 w 5741575"/>
              <a:gd name="connsiteY28" fmla="*/ 656855 h 955271"/>
              <a:gd name="connsiteX29" fmla="*/ 1454524 w 5741575"/>
              <a:gd name="connsiteY29" fmla="*/ 649224 h 955271"/>
              <a:gd name="connsiteX30" fmla="*/ 1616217 w 5741575"/>
              <a:gd name="connsiteY30" fmla="*/ 622107 h 955271"/>
              <a:gd name="connsiteX31" fmla="*/ 1710928 w 5741575"/>
              <a:gd name="connsiteY31" fmla="*/ 600666 h 955271"/>
              <a:gd name="connsiteX32" fmla="*/ 1743718 w 5741575"/>
              <a:gd name="connsiteY32" fmla="*/ 584327 h 955271"/>
              <a:gd name="connsiteX33" fmla="*/ 1873778 w 5741575"/>
              <a:gd name="connsiteY33" fmla="*/ 530130 h 955271"/>
              <a:gd name="connsiteX34" fmla="*/ 1988411 w 5741575"/>
              <a:gd name="connsiteY34" fmla="*/ 491599 h 955271"/>
              <a:gd name="connsiteX35" fmla="*/ 2085507 w 5741575"/>
              <a:gd name="connsiteY35" fmla="*/ 498527 h 955271"/>
              <a:gd name="connsiteX36" fmla="*/ 2090767 w 5741575"/>
              <a:gd name="connsiteY36" fmla="*/ 490616 h 955271"/>
              <a:gd name="connsiteX37" fmla="*/ 2151143 w 5741575"/>
              <a:gd name="connsiteY37" fmla="*/ 478332 h 955271"/>
              <a:gd name="connsiteX38" fmla="*/ 2378710 w 5741575"/>
              <a:gd name="connsiteY38" fmla="*/ 477570 h 955271"/>
              <a:gd name="connsiteX39" fmla="*/ 2496256 w 5741575"/>
              <a:gd name="connsiteY39" fmla="*/ 452396 h 955271"/>
              <a:gd name="connsiteX40" fmla="*/ 2535387 w 5741575"/>
              <a:gd name="connsiteY40" fmla="*/ 436645 h 955271"/>
              <a:gd name="connsiteX41" fmla="*/ 2601109 w 5741575"/>
              <a:gd name="connsiteY41" fmla="*/ 410678 h 955271"/>
              <a:gd name="connsiteX42" fmla="*/ 2643855 w 5741575"/>
              <a:gd name="connsiteY42" fmla="*/ 374482 h 955271"/>
              <a:gd name="connsiteX43" fmla="*/ 2657726 w 5741575"/>
              <a:gd name="connsiteY43" fmla="*/ 365841 h 955271"/>
              <a:gd name="connsiteX44" fmla="*/ 2687125 w 5741575"/>
              <a:gd name="connsiteY44" fmla="*/ 366820 h 955271"/>
              <a:gd name="connsiteX45" fmla="*/ 2697479 w 5741575"/>
              <a:gd name="connsiteY45" fmla="*/ 361430 h 955271"/>
              <a:gd name="connsiteX46" fmla="*/ 2701547 w 5741575"/>
              <a:gd name="connsiteY46" fmla="*/ 361545 h 955271"/>
              <a:gd name="connsiteX47" fmla="*/ 2711054 w 5741575"/>
              <a:gd name="connsiteY47" fmla="*/ 360597 h 955271"/>
              <a:gd name="connsiteX48" fmla="*/ 2710438 w 5741575"/>
              <a:gd name="connsiteY48" fmla="*/ 366958 h 955271"/>
              <a:gd name="connsiteX49" fmla="*/ 2722936 w 5741575"/>
              <a:gd name="connsiteY49" fmla="*/ 377633 h 955271"/>
              <a:gd name="connsiteX50" fmla="*/ 2777227 w 5741575"/>
              <a:gd name="connsiteY50" fmla="*/ 368972 h 955271"/>
              <a:gd name="connsiteX51" fmla="*/ 2779510 w 5741575"/>
              <a:gd name="connsiteY51" fmla="*/ 361652 h 955271"/>
              <a:gd name="connsiteX52" fmla="*/ 2786278 w 5741575"/>
              <a:gd name="connsiteY52" fmla="*/ 359869 h 955271"/>
              <a:gd name="connsiteX53" fmla="*/ 2792101 w 5741575"/>
              <a:gd name="connsiteY53" fmla="*/ 365927 h 955271"/>
              <a:gd name="connsiteX54" fmla="*/ 2885545 w 5741575"/>
              <a:gd name="connsiteY54" fmla="*/ 372818 h 955271"/>
              <a:gd name="connsiteX55" fmla="*/ 3009558 w 5741575"/>
              <a:gd name="connsiteY55" fmla="*/ 370573 h 955271"/>
              <a:gd name="connsiteX56" fmla="*/ 3095010 w 5741575"/>
              <a:gd name="connsiteY56" fmla="*/ 332454 h 955271"/>
              <a:gd name="connsiteX57" fmla="*/ 3103742 w 5741575"/>
              <a:gd name="connsiteY57" fmla="*/ 337974 h 955271"/>
              <a:gd name="connsiteX58" fmla="*/ 3165093 w 5741575"/>
              <a:gd name="connsiteY58" fmla="*/ 329459 h 955271"/>
              <a:gd name="connsiteX59" fmla="*/ 3373785 w 5741575"/>
              <a:gd name="connsiteY59" fmla="*/ 255680 h 955271"/>
              <a:gd name="connsiteX60" fmla="*/ 3493851 w 5741575"/>
              <a:gd name="connsiteY60" fmla="*/ 240255 h 955271"/>
              <a:gd name="connsiteX61" fmla="*/ 3537470 w 5741575"/>
              <a:gd name="connsiteY61" fmla="*/ 241867 h 955271"/>
              <a:gd name="connsiteX62" fmla="*/ 3610489 w 5741575"/>
              <a:gd name="connsiteY62" fmla="*/ 244128 h 955271"/>
              <a:gd name="connsiteX63" fmla="*/ 3667539 w 5741575"/>
              <a:gd name="connsiteY63" fmla="*/ 263271 h 955271"/>
              <a:gd name="connsiteX64" fmla="*/ 3727614 w 5741575"/>
              <a:gd name="connsiteY64" fmla="*/ 258245 h 955271"/>
              <a:gd name="connsiteX65" fmla="*/ 3738369 w 5741575"/>
              <a:gd name="connsiteY65" fmla="*/ 234506 h 955271"/>
              <a:gd name="connsiteX66" fmla="*/ 3803670 w 5741575"/>
              <a:gd name="connsiteY66" fmla="*/ 236457 h 955271"/>
              <a:gd name="connsiteX67" fmla="*/ 3903080 w 5741575"/>
              <a:gd name="connsiteY67" fmla="*/ 241890 h 955271"/>
              <a:gd name="connsiteX68" fmla="*/ 4114838 w 5741575"/>
              <a:gd name="connsiteY68" fmla="*/ 238165 h 955271"/>
              <a:gd name="connsiteX69" fmla="*/ 4271023 w 5741575"/>
              <a:gd name="connsiteY69" fmla="*/ 241959 h 955271"/>
              <a:gd name="connsiteX70" fmla="*/ 4367397 w 5741575"/>
              <a:gd name="connsiteY70" fmla="*/ 271442 h 955271"/>
              <a:gd name="connsiteX71" fmla="*/ 4495366 w 5741575"/>
              <a:gd name="connsiteY71" fmla="*/ 271618 h 955271"/>
              <a:gd name="connsiteX72" fmla="*/ 4517347 w 5741575"/>
              <a:gd name="connsiteY72" fmla="*/ 275639 h 955271"/>
              <a:gd name="connsiteX73" fmla="*/ 4546116 w 5741575"/>
              <a:gd name="connsiteY73" fmla="*/ 268568 h 955271"/>
              <a:gd name="connsiteX74" fmla="*/ 4661259 w 5741575"/>
              <a:gd name="connsiteY74" fmla="*/ 238966 h 955271"/>
              <a:gd name="connsiteX75" fmla="*/ 4750403 w 5741575"/>
              <a:gd name="connsiteY75" fmla="*/ 204364 h 955271"/>
              <a:gd name="connsiteX76" fmla="*/ 4867614 w 5741575"/>
              <a:gd name="connsiteY76" fmla="*/ 208668 h 955271"/>
              <a:gd name="connsiteX77" fmla="*/ 4937036 w 5741575"/>
              <a:gd name="connsiteY77" fmla="*/ 195446 h 955271"/>
              <a:gd name="connsiteX78" fmla="*/ 5047626 w 5741575"/>
              <a:gd name="connsiteY78" fmla="*/ 149604 h 955271"/>
              <a:gd name="connsiteX79" fmla="*/ 5200247 w 5741575"/>
              <a:gd name="connsiteY79" fmla="*/ 142695 h 955271"/>
              <a:gd name="connsiteX80" fmla="*/ 5235691 w 5741575"/>
              <a:gd name="connsiteY80" fmla="*/ 173330 h 955271"/>
              <a:gd name="connsiteX81" fmla="*/ 5280133 w 5741575"/>
              <a:gd name="connsiteY81" fmla="*/ 189342 h 955271"/>
              <a:gd name="connsiteX82" fmla="*/ 5291963 w 5741575"/>
              <a:gd name="connsiteY82" fmla="*/ 139446 h 955271"/>
              <a:gd name="connsiteX83" fmla="*/ 5418472 w 5741575"/>
              <a:gd name="connsiteY83" fmla="*/ 89163 h 955271"/>
              <a:gd name="connsiteX84" fmla="*/ 5482354 w 5741575"/>
              <a:gd name="connsiteY84" fmla="*/ 69470 h 955271"/>
              <a:gd name="connsiteX85" fmla="*/ 5583280 w 5741575"/>
              <a:gd name="connsiteY85" fmla="*/ 49787 h 955271"/>
              <a:gd name="connsiteX86" fmla="*/ 5613766 w 5741575"/>
              <a:gd name="connsiteY86" fmla="*/ 41855 h 955271"/>
              <a:gd name="connsiteX87" fmla="*/ 5684952 w 5741575"/>
              <a:gd name="connsiteY87" fmla="*/ 26088 h 955271"/>
              <a:gd name="connsiteX88" fmla="*/ 5741575 w 5741575"/>
              <a:gd name="connsiteY88" fmla="*/ 0 h 955271"/>
              <a:gd name="connsiteX0" fmla="*/ 5741575 w 5741575"/>
              <a:gd name="connsiteY0" fmla="*/ 0 h 955271"/>
              <a:gd name="connsiteX1" fmla="*/ 5741575 w 5741575"/>
              <a:gd name="connsiteY1" fmla="*/ 955271 h 955271"/>
              <a:gd name="connsiteX2" fmla="*/ 0 w 5741575"/>
              <a:gd name="connsiteY2" fmla="*/ 955271 h 955271"/>
              <a:gd name="connsiteX3" fmla="*/ 8558 w 5741575"/>
              <a:gd name="connsiteY3" fmla="*/ 953971 h 955271"/>
              <a:gd name="connsiteX4" fmla="*/ 16894 w 5741575"/>
              <a:gd name="connsiteY4" fmla="*/ 953847 h 955271"/>
              <a:gd name="connsiteX5" fmla="*/ 28156 w 5741575"/>
              <a:gd name="connsiteY5" fmla="*/ 951374 h 955271"/>
              <a:gd name="connsiteX6" fmla="*/ 28293 w 5741575"/>
              <a:gd name="connsiteY6" fmla="*/ 950971 h 955271"/>
              <a:gd name="connsiteX7" fmla="*/ 59229 w 5741575"/>
              <a:gd name="connsiteY7" fmla="*/ 903950 h 955271"/>
              <a:gd name="connsiteX8" fmla="*/ 148657 w 5741575"/>
              <a:gd name="connsiteY8" fmla="*/ 898134 h 955271"/>
              <a:gd name="connsiteX9" fmla="*/ 174554 w 5741575"/>
              <a:gd name="connsiteY9" fmla="*/ 886351 h 955271"/>
              <a:gd name="connsiteX10" fmla="*/ 187633 w 5741575"/>
              <a:gd name="connsiteY10" fmla="*/ 878226 h 955271"/>
              <a:gd name="connsiteX11" fmla="*/ 187961 w 5741575"/>
              <a:gd name="connsiteY11" fmla="*/ 876538 h 955271"/>
              <a:gd name="connsiteX12" fmla="*/ 240501 w 5741575"/>
              <a:gd name="connsiteY12" fmla="*/ 873150 h 955271"/>
              <a:gd name="connsiteX13" fmla="*/ 246345 w 5741575"/>
              <a:gd name="connsiteY13" fmla="*/ 869942 h 955271"/>
              <a:gd name="connsiteX14" fmla="*/ 306299 w 5741575"/>
              <a:gd name="connsiteY14" fmla="*/ 873609 h 955271"/>
              <a:gd name="connsiteX15" fmla="*/ 331571 w 5741575"/>
              <a:gd name="connsiteY15" fmla="*/ 869866 h 955271"/>
              <a:gd name="connsiteX16" fmla="*/ 384157 w 5741575"/>
              <a:gd name="connsiteY16" fmla="*/ 867971 h 955271"/>
              <a:gd name="connsiteX17" fmla="*/ 477637 w 5741575"/>
              <a:gd name="connsiteY17" fmla="*/ 870334 h 955271"/>
              <a:gd name="connsiteX18" fmla="*/ 570239 w 5741575"/>
              <a:gd name="connsiteY18" fmla="*/ 829596 h 955271"/>
              <a:gd name="connsiteX19" fmla="*/ 787156 w 5741575"/>
              <a:gd name="connsiteY19" fmla="*/ 838447 h 955271"/>
              <a:gd name="connsiteX20" fmla="*/ 948872 w 5741575"/>
              <a:gd name="connsiteY20" fmla="*/ 772201 h 955271"/>
              <a:gd name="connsiteX21" fmla="*/ 1127089 w 5741575"/>
              <a:gd name="connsiteY21" fmla="*/ 746926 h 955271"/>
              <a:gd name="connsiteX22" fmla="*/ 1220426 w 5741575"/>
              <a:gd name="connsiteY22" fmla="*/ 721810 h 955271"/>
              <a:gd name="connsiteX23" fmla="*/ 1306771 w 5741575"/>
              <a:gd name="connsiteY23" fmla="*/ 717936 h 955271"/>
              <a:gd name="connsiteX24" fmla="*/ 1374314 w 5741575"/>
              <a:gd name="connsiteY24" fmla="*/ 688815 h 955271"/>
              <a:gd name="connsiteX25" fmla="*/ 1378034 w 5741575"/>
              <a:gd name="connsiteY25" fmla="*/ 685842 h 955271"/>
              <a:gd name="connsiteX26" fmla="*/ 1395604 w 5741575"/>
              <a:gd name="connsiteY26" fmla="*/ 680460 h 955271"/>
              <a:gd name="connsiteX27" fmla="*/ 1397206 w 5741575"/>
              <a:gd name="connsiteY27" fmla="*/ 670793 h 955271"/>
              <a:gd name="connsiteX28" fmla="*/ 1421250 w 5741575"/>
              <a:gd name="connsiteY28" fmla="*/ 656855 h 955271"/>
              <a:gd name="connsiteX29" fmla="*/ 1454524 w 5741575"/>
              <a:gd name="connsiteY29" fmla="*/ 649224 h 955271"/>
              <a:gd name="connsiteX30" fmla="*/ 1616217 w 5741575"/>
              <a:gd name="connsiteY30" fmla="*/ 622107 h 955271"/>
              <a:gd name="connsiteX31" fmla="*/ 1710928 w 5741575"/>
              <a:gd name="connsiteY31" fmla="*/ 600666 h 955271"/>
              <a:gd name="connsiteX32" fmla="*/ 1743718 w 5741575"/>
              <a:gd name="connsiteY32" fmla="*/ 584327 h 955271"/>
              <a:gd name="connsiteX33" fmla="*/ 1873778 w 5741575"/>
              <a:gd name="connsiteY33" fmla="*/ 530130 h 955271"/>
              <a:gd name="connsiteX34" fmla="*/ 1988411 w 5741575"/>
              <a:gd name="connsiteY34" fmla="*/ 491599 h 955271"/>
              <a:gd name="connsiteX35" fmla="*/ 2085507 w 5741575"/>
              <a:gd name="connsiteY35" fmla="*/ 498527 h 955271"/>
              <a:gd name="connsiteX36" fmla="*/ 2090767 w 5741575"/>
              <a:gd name="connsiteY36" fmla="*/ 490616 h 955271"/>
              <a:gd name="connsiteX37" fmla="*/ 2151143 w 5741575"/>
              <a:gd name="connsiteY37" fmla="*/ 478332 h 955271"/>
              <a:gd name="connsiteX38" fmla="*/ 2378710 w 5741575"/>
              <a:gd name="connsiteY38" fmla="*/ 477570 h 955271"/>
              <a:gd name="connsiteX39" fmla="*/ 2496256 w 5741575"/>
              <a:gd name="connsiteY39" fmla="*/ 452396 h 955271"/>
              <a:gd name="connsiteX40" fmla="*/ 2535387 w 5741575"/>
              <a:gd name="connsiteY40" fmla="*/ 436645 h 955271"/>
              <a:gd name="connsiteX41" fmla="*/ 2601109 w 5741575"/>
              <a:gd name="connsiteY41" fmla="*/ 410678 h 955271"/>
              <a:gd name="connsiteX42" fmla="*/ 2643855 w 5741575"/>
              <a:gd name="connsiteY42" fmla="*/ 374482 h 955271"/>
              <a:gd name="connsiteX43" fmla="*/ 2657726 w 5741575"/>
              <a:gd name="connsiteY43" fmla="*/ 365841 h 955271"/>
              <a:gd name="connsiteX44" fmla="*/ 2687125 w 5741575"/>
              <a:gd name="connsiteY44" fmla="*/ 366820 h 955271"/>
              <a:gd name="connsiteX45" fmla="*/ 2697479 w 5741575"/>
              <a:gd name="connsiteY45" fmla="*/ 361430 h 955271"/>
              <a:gd name="connsiteX46" fmla="*/ 2701547 w 5741575"/>
              <a:gd name="connsiteY46" fmla="*/ 361545 h 955271"/>
              <a:gd name="connsiteX47" fmla="*/ 2711054 w 5741575"/>
              <a:gd name="connsiteY47" fmla="*/ 360597 h 955271"/>
              <a:gd name="connsiteX48" fmla="*/ 2710438 w 5741575"/>
              <a:gd name="connsiteY48" fmla="*/ 366958 h 955271"/>
              <a:gd name="connsiteX49" fmla="*/ 2722936 w 5741575"/>
              <a:gd name="connsiteY49" fmla="*/ 377633 h 955271"/>
              <a:gd name="connsiteX50" fmla="*/ 2777227 w 5741575"/>
              <a:gd name="connsiteY50" fmla="*/ 368972 h 955271"/>
              <a:gd name="connsiteX51" fmla="*/ 2779510 w 5741575"/>
              <a:gd name="connsiteY51" fmla="*/ 361652 h 955271"/>
              <a:gd name="connsiteX52" fmla="*/ 2786278 w 5741575"/>
              <a:gd name="connsiteY52" fmla="*/ 359869 h 955271"/>
              <a:gd name="connsiteX53" fmla="*/ 2792101 w 5741575"/>
              <a:gd name="connsiteY53" fmla="*/ 365927 h 955271"/>
              <a:gd name="connsiteX54" fmla="*/ 2885545 w 5741575"/>
              <a:gd name="connsiteY54" fmla="*/ 372818 h 955271"/>
              <a:gd name="connsiteX55" fmla="*/ 3009558 w 5741575"/>
              <a:gd name="connsiteY55" fmla="*/ 370573 h 955271"/>
              <a:gd name="connsiteX56" fmla="*/ 3095010 w 5741575"/>
              <a:gd name="connsiteY56" fmla="*/ 332454 h 955271"/>
              <a:gd name="connsiteX57" fmla="*/ 3103742 w 5741575"/>
              <a:gd name="connsiteY57" fmla="*/ 337974 h 955271"/>
              <a:gd name="connsiteX58" fmla="*/ 3165093 w 5741575"/>
              <a:gd name="connsiteY58" fmla="*/ 329459 h 955271"/>
              <a:gd name="connsiteX59" fmla="*/ 3373785 w 5741575"/>
              <a:gd name="connsiteY59" fmla="*/ 255680 h 955271"/>
              <a:gd name="connsiteX60" fmla="*/ 3493851 w 5741575"/>
              <a:gd name="connsiteY60" fmla="*/ 240255 h 955271"/>
              <a:gd name="connsiteX61" fmla="*/ 3537470 w 5741575"/>
              <a:gd name="connsiteY61" fmla="*/ 241867 h 955271"/>
              <a:gd name="connsiteX62" fmla="*/ 3610489 w 5741575"/>
              <a:gd name="connsiteY62" fmla="*/ 244128 h 955271"/>
              <a:gd name="connsiteX63" fmla="*/ 3667539 w 5741575"/>
              <a:gd name="connsiteY63" fmla="*/ 263271 h 955271"/>
              <a:gd name="connsiteX64" fmla="*/ 3727614 w 5741575"/>
              <a:gd name="connsiteY64" fmla="*/ 258245 h 955271"/>
              <a:gd name="connsiteX65" fmla="*/ 3738369 w 5741575"/>
              <a:gd name="connsiteY65" fmla="*/ 234506 h 955271"/>
              <a:gd name="connsiteX66" fmla="*/ 3803670 w 5741575"/>
              <a:gd name="connsiteY66" fmla="*/ 236457 h 955271"/>
              <a:gd name="connsiteX67" fmla="*/ 3903080 w 5741575"/>
              <a:gd name="connsiteY67" fmla="*/ 241890 h 955271"/>
              <a:gd name="connsiteX68" fmla="*/ 4114838 w 5741575"/>
              <a:gd name="connsiteY68" fmla="*/ 238165 h 955271"/>
              <a:gd name="connsiteX69" fmla="*/ 4271023 w 5741575"/>
              <a:gd name="connsiteY69" fmla="*/ 241959 h 955271"/>
              <a:gd name="connsiteX70" fmla="*/ 4367397 w 5741575"/>
              <a:gd name="connsiteY70" fmla="*/ 271442 h 955271"/>
              <a:gd name="connsiteX71" fmla="*/ 4495366 w 5741575"/>
              <a:gd name="connsiteY71" fmla="*/ 271618 h 955271"/>
              <a:gd name="connsiteX72" fmla="*/ 4517347 w 5741575"/>
              <a:gd name="connsiteY72" fmla="*/ 275639 h 955271"/>
              <a:gd name="connsiteX73" fmla="*/ 4546116 w 5741575"/>
              <a:gd name="connsiteY73" fmla="*/ 268568 h 955271"/>
              <a:gd name="connsiteX74" fmla="*/ 4661259 w 5741575"/>
              <a:gd name="connsiteY74" fmla="*/ 238966 h 955271"/>
              <a:gd name="connsiteX75" fmla="*/ 4750403 w 5741575"/>
              <a:gd name="connsiteY75" fmla="*/ 204364 h 955271"/>
              <a:gd name="connsiteX76" fmla="*/ 4867614 w 5741575"/>
              <a:gd name="connsiteY76" fmla="*/ 208668 h 955271"/>
              <a:gd name="connsiteX77" fmla="*/ 4937036 w 5741575"/>
              <a:gd name="connsiteY77" fmla="*/ 195446 h 955271"/>
              <a:gd name="connsiteX78" fmla="*/ 5047626 w 5741575"/>
              <a:gd name="connsiteY78" fmla="*/ 149604 h 955271"/>
              <a:gd name="connsiteX79" fmla="*/ 5200247 w 5741575"/>
              <a:gd name="connsiteY79" fmla="*/ 142695 h 955271"/>
              <a:gd name="connsiteX80" fmla="*/ 5235691 w 5741575"/>
              <a:gd name="connsiteY80" fmla="*/ 173330 h 955271"/>
              <a:gd name="connsiteX81" fmla="*/ 5280133 w 5741575"/>
              <a:gd name="connsiteY81" fmla="*/ 189342 h 955271"/>
              <a:gd name="connsiteX82" fmla="*/ 5291963 w 5741575"/>
              <a:gd name="connsiteY82" fmla="*/ 139446 h 955271"/>
              <a:gd name="connsiteX83" fmla="*/ 5418472 w 5741575"/>
              <a:gd name="connsiteY83" fmla="*/ 89163 h 955271"/>
              <a:gd name="connsiteX84" fmla="*/ 5482354 w 5741575"/>
              <a:gd name="connsiteY84" fmla="*/ 69470 h 955271"/>
              <a:gd name="connsiteX85" fmla="*/ 5583280 w 5741575"/>
              <a:gd name="connsiteY85" fmla="*/ 49787 h 955271"/>
              <a:gd name="connsiteX86" fmla="*/ 5613766 w 5741575"/>
              <a:gd name="connsiteY86" fmla="*/ 41855 h 955271"/>
              <a:gd name="connsiteX87" fmla="*/ 5684952 w 5741575"/>
              <a:gd name="connsiteY87" fmla="*/ 26088 h 955271"/>
              <a:gd name="connsiteX88" fmla="*/ 5741575 w 5741575"/>
              <a:gd name="connsiteY88" fmla="*/ 0 h 955271"/>
              <a:gd name="connsiteX0" fmla="*/ 5741575 w 5741575"/>
              <a:gd name="connsiteY0" fmla="*/ 0 h 955271"/>
              <a:gd name="connsiteX1" fmla="*/ 5741575 w 5741575"/>
              <a:gd name="connsiteY1" fmla="*/ 955271 h 955271"/>
              <a:gd name="connsiteX2" fmla="*/ 0 w 5741575"/>
              <a:gd name="connsiteY2" fmla="*/ 955271 h 955271"/>
              <a:gd name="connsiteX3" fmla="*/ 8558 w 5741575"/>
              <a:gd name="connsiteY3" fmla="*/ 953971 h 955271"/>
              <a:gd name="connsiteX4" fmla="*/ 16894 w 5741575"/>
              <a:gd name="connsiteY4" fmla="*/ 953847 h 955271"/>
              <a:gd name="connsiteX5" fmla="*/ 28156 w 5741575"/>
              <a:gd name="connsiteY5" fmla="*/ 951374 h 955271"/>
              <a:gd name="connsiteX6" fmla="*/ 28293 w 5741575"/>
              <a:gd name="connsiteY6" fmla="*/ 950971 h 955271"/>
              <a:gd name="connsiteX7" fmla="*/ 59229 w 5741575"/>
              <a:gd name="connsiteY7" fmla="*/ 903950 h 955271"/>
              <a:gd name="connsiteX8" fmla="*/ 148657 w 5741575"/>
              <a:gd name="connsiteY8" fmla="*/ 898134 h 955271"/>
              <a:gd name="connsiteX9" fmla="*/ 174554 w 5741575"/>
              <a:gd name="connsiteY9" fmla="*/ 886351 h 955271"/>
              <a:gd name="connsiteX10" fmla="*/ 187633 w 5741575"/>
              <a:gd name="connsiteY10" fmla="*/ 878226 h 955271"/>
              <a:gd name="connsiteX11" fmla="*/ 187961 w 5741575"/>
              <a:gd name="connsiteY11" fmla="*/ 876538 h 955271"/>
              <a:gd name="connsiteX12" fmla="*/ 240501 w 5741575"/>
              <a:gd name="connsiteY12" fmla="*/ 873150 h 955271"/>
              <a:gd name="connsiteX13" fmla="*/ 246345 w 5741575"/>
              <a:gd name="connsiteY13" fmla="*/ 869942 h 955271"/>
              <a:gd name="connsiteX14" fmla="*/ 306299 w 5741575"/>
              <a:gd name="connsiteY14" fmla="*/ 873609 h 955271"/>
              <a:gd name="connsiteX15" fmla="*/ 331571 w 5741575"/>
              <a:gd name="connsiteY15" fmla="*/ 869866 h 955271"/>
              <a:gd name="connsiteX16" fmla="*/ 384157 w 5741575"/>
              <a:gd name="connsiteY16" fmla="*/ 867971 h 955271"/>
              <a:gd name="connsiteX17" fmla="*/ 477637 w 5741575"/>
              <a:gd name="connsiteY17" fmla="*/ 870334 h 955271"/>
              <a:gd name="connsiteX18" fmla="*/ 570239 w 5741575"/>
              <a:gd name="connsiteY18" fmla="*/ 829596 h 955271"/>
              <a:gd name="connsiteX19" fmla="*/ 772070 w 5741575"/>
              <a:gd name="connsiteY19" fmla="*/ 820296 h 955271"/>
              <a:gd name="connsiteX20" fmla="*/ 948872 w 5741575"/>
              <a:gd name="connsiteY20" fmla="*/ 772201 h 955271"/>
              <a:gd name="connsiteX21" fmla="*/ 1127089 w 5741575"/>
              <a:gd name="connsiteY21" fmla="*/ 746926 h 955271"/>
              <a:gd name="connsiteX22" fmla="*/ 1220426 w 5741575"/>
              <a:gd name="connsiteY22" fmla="*/ 721810 h 955271"/>
              <a:gd name="connsiteX23" fmla="*/ 1306771 w 5741575"/>
              <a:gd name="connsiteY23" fmla="*/ 717936 h 955271"/>
              <a:gd name="connsiteX24" fmla="*/ 1374314 w 5741575"/>
              <a:gd name="connsiteY24" fmla="*/ 688815 h 955271"/>
              <a:gd name="connsiteX25" fmla="*/ 1378034 w 5741575"/>
              <a:gd name="connsiteY25" fmla="*/ 685842 h 955271"/>
              <a:gd name="connsiteX26" fmla="*/ 1395604 w 5741575"/>
              <a:gd name="connsiteY26" fmla="*/ 680460 h 955271"/>
              <a:gd name="connsiteX27" fmla="*/ 1397206 w 5741575"/>
              <a:gd name="connsiteY27" fmla="*/ 670793 h 955271"/>
              <a:gd name="connsiteX28" fmla="*/ 1421250 w 5741575"/>
              <a:gd name="connsiteY28" fmla="*/ 656855 h 955271"/>
              <a:gd name="connsiteX29" fmla="*/ 1454524 w 5741575"/>
              <a:gd name="connsiteY29" fmla="*/ 649224 h 955271"/>
              <a:gd name="connsiteX30" fmla="*/ 1616217 w 5741575"/>
              <a:gd name="connsiteY30" fmla="*/ 622107 h 955271"/>
              <a:gd name="connsiteX31" fmla="*/ 1710928 w 5741575"/>
              <a:gd name="connsiteY31" fmla="*/ 600666 h 955271"/>
              <a:gd name="connsiteX32" fmla="*/ 1743718 w 5741575"/>
              <a:gd name="connsiteY32" fmla="*/ 584327 h 955271"/>
              <a:gd name="connsiteX33" fmla="*/ 1873778 w 5741575"/>
              <a:gd name="connsiteY33" fmla="*/ 530130 h 955271"/>
              <a:gd name="connsiteX34" fmla="*/ 1988411 w 5741575"/>
              <a:gd name="connsiteY34" fmla="*/ 491599 h 955271"/>
              <a:gd name="connsiteX35" fmla="*/ 2085507 w 5741575"/>
              <a:gd name="connsiteY35" fmla="*/ 498527 h 955271"/>
              <a:gd name="connsiteX36" fmla="*/ 2090767 w 5741575"/>
              <a:gd name="connsiteY36" fmla="*/ 490616 h 955271"/>
              <a:gd name="connsiteX37" fmla="*/ 2151143 w 5741575"/>
              <a:gd name="connsiteY37" fmla="*/ 478332 h 955271"/>
              <a:gd name="connsiteX38" fmla="*/ 2378710 w 5741575"/>
              <a:gd name="connsiteY38" fmla="*/ 477570 h 955271"/>
              <a:gd name="connsiteX39" fmla="*/ 2496256 w 5741575"/>
              <a:gd name="connsiteY39" fmla="*/ 452396 h 955271"/>
              <a:gd name="connsiteX40" fmla="*/ 2535387 w 5741575"/>
              <a:gd name="connsiteY40" fmla="*/ 436645 h 955271"/>
              <a:gd name="connsiteX41" fmla="*/ 2601109 w 5741575"/>
              <a:gd name="connsiteY41" fmla="*/ 410678 h 955271"/>
              <a:gd name="connsiteX42" fmla="*/ 2643855 w 5741575"/>
              <a:gd name="connsiteY42" fmla="*/ 374482 h 955271"/>
              <a:gd name="connsiteX43" fmla="*/ 2657726 w 5741575"/>
              <a:gd name="connsiteY43" fmla="*/ 365841 h 955271"/>
              <a:gd name="connsiteX44" fmla="*/ 2687125 w 5741575"/>
              <a:gd name="connsiteY44" fmla="*/ 366820 h 955271"/>
              <a:gd name="connsiteX45" fmla="*/ 2697479 w 5741575"/>
              <a:gd name="connsiteY45" fmla="*/ 361430 h 955271"/>
              <a:gd name="connsiteX46" fmla="*/ 2701547 w 5741575"/>
              <a:gd name="connsiteY46" fmla="*/ 361545 h 955271"/>
              <a:gd name="connsiteX47" fmla="*/ 2711054 w 5741575"/>
              <a:gd name="connsiteY47" fmla="*/ 360597 h 955271"/>
              <a:gd name="connsiteX48" fmla="*/ 2710438 w 5741575"/>
              <a:gd name="connsiteY48" fmla="*/ 366958 h 955271"/>
              <a:gd name="connsiteX49" fmla="*/ 2722936 w 5741575"/>
              <a:gd name="connsiteY49" fmla="*/ 377633 h 955271"/>
              <a:gd name="connsiteX50" fmla="*/ 2777227 w 5741575"/>
              <a:gd name="connsiteY50" fmla="*/ 368972 h 955271"/>
              <a:gd name="connsiteX51" fmla="*/ 2779510 w 5741575"/>
              <a:gd name="connsiteY51" fmla="*/ 361652 h 955271"/>
              <a:gd name="connsiteX52" fmla="*/ 2786278 w 5741575"/>
              <a:gd name="connsiteY52" fmla="*/ 359869 h 955271"/>
              <a:gd name="connsiteX53" fmla="*/ 2792101 w 5741575"/>
              <a:gd name="connsiteY53" fmla="*/ 365927 h 955271"/>
              <a:gd name="connsiteX54" fmla="*/ 2885545 w 5741575"/>
              <a:gd name="connsiteY54" fmla="*/ 372818 h 955271"/>
              <a:gd name="connsiteX55" fmla="*/ 3009558 w 5741575"/>
              <a:gd name="connsiteY55" fmla="*/ 370573 h 955271"/>
              <a:gd name="connsiteX56" fmla="*/ 3095010 w 5741575"/>
              <a:gd name="connsiteY56" fmla="*/ 332454 h 955271"/>
              <a:gd name="connsiteX57" fmla="*/ 3103742 w 5741575"/>
              <a:gd name="connsiteY57" fmla="*/ 337974 h 955271"/>
              <a:gd name="connsiteX58" fmla="*/ 3165093 w 5741575"/>
              <a:gd name="connsiteY58" fmla="*/ 329459 h 955271"/>
              <a:gd name="connsiteX59" fmla="*/ 3373785 w 5741575"/>
              <a:gd name="connsiteY59" fmla="*/ 255680 h 955271"/>
              <a:gd name="connsiteX60" fmla="*/ 3493851 w 5741575"/>
              <a:gd name="connsiteY60" fmla="*/ 240255 h 955271"/>
              <a:gd name="connsiteX61" fmla="*/ 3537470 w 5741575"/>
              <a:gd name="connsiteY61" fmla="*/ 241867 h 955271"/>
              <a:gd name="connsiteX62" fmla="*/ 3610489 w 5741575"/>
              <a:gd name="connsiteY62" fmla="*/ 244128 h 955271"/>
              <a:gd name="connsiteX63" fmla="*/ 3667539 w 5741575"/>
              <a:gd name="connsiteY63" fmla="*/ 263271 h 955271"/>
              <a:gd name="connsiteX64" fmla="*/ 3727614 w 5741575"/>
              <a:gd name="connsiteY64" fmla="*/ 258245 h 955271"/>
              <a:gd name="connsiteX65" fmla="*/ 3738369 w 5741575"/>
              <a:gd name="connsiteY65" fmla="*/ 234506 h 955271"/>
              <a:gd name="connsiteX66" fmla="*/ 3803670 w 5741575"/>
              <a:gd name="connsiteY66" fmla="*/ 236457 h 955271"/>
              <a:gd name="connsiteX67" fmla="*/ 3903080 w 5741575"/>
              <a:gd name="connsiteY67" fmla="*/ 241890 h 955271"/>
              <a:gd name="connsiteX68" fmla="*/ 4114838 w 5741575"/>
              <a:gd name="connsiteY68" fmla="*/ 238165 h 955271"/>
              <a:gd name="connsiteX69" fmla="*/ 4271023 w 5741575"/>
              <a:gd name="connsiteY69" fmla="*/ 241959 h 955271"/>
              <a:gd name="connsiteX70" fmla="*/ 4367397 w 5741575"/>
              <a:gd name="connsiteY70" fmla="*/ 271442 h 955271"/>
              <a:gd name="connsiteX71" fmla="*/ 4495366 w 5741575"/>
              <a:gd name="connsiteY71" fmla="*/ 271618 h 955271"/>
              <a:gd name="connsiteX72" fmla="*/ 4517347 w 5741575"/>
              <a:gd name="connsiteY72" fmla="*/ 275639 h 955271"/>
              <a:gd name="connsiteX73" fmla="*/ 4546116 w 5741575"/>
              <a:gd name="connsiteY73" fmla="*/ 268568 h 955271"/>
              <a:gd name="connsiteX74" fmla="*/ 4661259 w 5741575"/>
              <a:gd name="connsiteY74" fmla="*/ 238966 h 955271"/>
              <a:gd name="connsiteX75" fmla="*/ 4750403 w 5741575"/>
              <a:gd name="connsiteY75" fmla="*/ 204364 h 955271"/>
              <a:gd name="connsiteX76" fmla="*/ 4867614 w 5741575"/>
              <a:gd name="connsiteY76" fmla="*/ 208668 h 955271"/>
              <a:gd name="connsiteX77" fmla="*/ 4937036 w 5741575"/>
              <a:gd name="connsiteY77" fmla="*/ 195446 h 955271"/>
              <a:gd name="connsiteX78" fmla="*/ 5047626 w 5741575"/>
              <a:gd name="connsiteY78" fmla="*/ 149604 h 955271"/>
              <a:gd name="connsiteX79" fmla="*/ 5200247 w 5741575"/>
              <a:gd name="connsiteY79" fmla="*/ 142695 h 955271"/>
              <a:gd name="connsiteX80" fmla="*/ 5235691 w 5741575"/>
              <a:gd name="connsiteY80" fmla="*/ 173330 h 955271"/>
              <a:gd name="connsiteX81" fmla="*/ 5280133 w 5741575"/>
              <a:gd name="connsiteY81" fmla="*/ 189342 h 955271"/>
              <a:gd name="connsiteX82" fmla="*/ 5291963 w 5741575"/>
              <a:gd name="connsiteY82" fmla="*/ 139446 h 955271"/>
              <a:gd name="connsiteX83" fmla="*/ 5418472 w 5741575"/>
              <a:gd name="connsiteY83" fmla="*/ 89163 h 955271"/>
              <a:gd name="connsiteX84" fmla="*/ 5482354 w 5741575"/>
              <a:gd name="connsiteY84" fmla="*/ 69470 h 955271"/>
              <a:gd name="connsiteX85" fmla="*/ 5583280 w 5741575"/>
              <a:gd name="connsiteY85" fmla="*/ 49787 h 955271"/>
              <a:gd name="connsiteX86" fmla="*/ 5613766 w 5741575"/>
              <a:gd name="connsiteY86" fmla="*/ 41855 h 955271"/>
              <a:gd name="connsiteX87" fmla="*/ 5684952 w 5741575"/>
              <a:gd name="connsiteY87" fmla="*/ 26088 h 955271"/>
              <a:gd name="connsiteX88" fmla="*/ 5741575 w 5741575"/>
              <a:gd name="connsiteY88" fmla="*/ 0 h 955271"/>
              <a:gd name="connsiteX0" fmla="*/ 5741575 w 5741575"/>
              <a:gd name="connsiteY0" fmla="*/ 0 h 955271"/>
              <a:gd name="connsiteX1" fmla="*/ 5741575 w 5741575"/>
              <a:gd name="connsiteY1" fmla="*/ 955271 h 955271"/>
              <a:gd name="connsiteX2" fmla="*/ 0 w 5741575"/>
              <a:gd name="connsiteY2" fmla="*/ 955271 h 955271"/>
              <a:gd name="connsiteX3" fmla="*/ 8558 w 5741575"/>
              <a:gd name="connsiteY3" fmla="*/ 953971 h 955271"/>
              <a:gd name="connsiteX4" fmla="*/ 16894 w 5741575"/>
              <a:gd name="connsiteY4" fmla="*/ 953847 h 955271"/>
              <a:gd name="connsiteX5" fmla="*/ 28156 w 5741575"/>
              <a:gd name="connsiteY5" fmla="*/ 951374 h 955271"/>
              <a:gd name="connsiteX6" fmla="*/ 28293 w 5741575"/>
              <a:gd name="connsiteY6" fmla="*/ 950971 h 955271"/>
              <a:gd name="connsiteX7" fmla="*/ 59229 w 5741575"/>
              <a:gd name="connsiteY7" fmla="*/ 903950 h 955271"/>
              <a:gd name="connsiteX8" fmla="*/ 148657 w 5741575"/>
              <a:gd name="connsiteY8" fmla="*/ 898134 h 955271"/>
              <a:gd name="connsiteX9" fmla="*/ 174554 w 5741575"/>
              <a:gd name="connsiteY9" fmla="*/ 886351 h 955271"/>
              <a:gd name="connsiteX10" fmla="*/ 187633 w 5741575"/>
              <a:gd name="connsiteY10" fmla="*/ 878226 h 955271"/>
              <a:gd name="connsiteX11" fmla="*/ 187961 w 5741575"/>
              <a:gd name="connsiteY11" fmla="*/ 876538 h 955271"/>
              <a:gd name="connsiteX12" fmla="*/ 240501 w 5741575"/>
              <a:gd name="connsiteY12" fmla="*/ 873150 h 955271"/>
              <a:gd name="connsiteX13" fmla="*/ 246345 w 5741575"/>
              <a:gd name="connsiteY13" fmla="*/ 869942 h 955271"/>
              <a:gd name="connsiteX14" fmla="*/ 306299 w 5741575"/>
              <a:gd name="connsiteY14" fmla="*/ 873609 h 955271"/>
              <a:gd name="connsiteX15" fmla="*/ 331571 w 5741575"/>
              <a:gd name="connsiteY15" fmla="*/ 869866 h 955271"/>
              <a:gd name="connsiteX16" fmla="*/ 384157 w 5741575"/>
              <a:gd name="connsiteY16" fmla="*/ 867971 h 955271"/>
              <a:gd name="connsiteX17" fmla="*/ 477637 w 5741575"/>
              <a:gd name="connsiteY17" fmla="*/ 870334 h 955271"/>
              <a:gd name="connsiteX18" fmla="*/ 570239 w 5741575"/>
              <a:gd name="connsiteY18" fmla="*/ 829596 h 955271"/>
              <a:gd name="connsiteX19" fmla="*/ 772070 w 5741575"/>
              <a:gd name="connsiteY19" fmla="*/ 820296 h 955271"/>
              <a:gd name="connsiteX20" fmla="*/ 948872 w 5741575"/>
              <a:gd name="connsiteY20" fmla="*/ 772201 h 955271"/>
              <a:gd name="connsiteX21" fmla="*/ 1127089 w 5741575"/>
              <a:gd name="connsiteY21" fmla="*/ 746926 h 955271"/>
              <a:gd name="connsiteX22" fmla="*/ 1220426 w 5741575"/>
              <a:gd name="connsiteY22" fmla="*/ 721810 h 955271"/>
              <a:gd name="connsiteX23" fmla="*/ 1306771 w 5741575"/>
              <a:gd name="connsiteY23" fmla="*/ 717936 h 955271"/>
              <a:gd name="connsiteX24" fmla="*/ 1374314 w 5741575"/>
              <a:gd name="connsiteY24" fmla="*/ 688815 h 955271"/>
              <a:gd name="connsiteX25" fmla="*/ 1378034 w 5741575"/>
              <a:gd name="connsiteY25" fmla="*/ 685842 h 955271"/>
              <a:gd name="connsiteX26" fmla="*/ 1395604 w 5741575"/>
              <a:gd name="connsiteY26" fmla="*/ 680460 h 955271"/>
              <a:gd name="connsiteX27" fmla="*/ 1397206 w 5741575"/>
              <a:gd name="connsiteY27" fmla="*/ 670793 h 955271"/>
              <a:gd name="connsiteX28" fmla="*/ 1421250 w 5741575"/>
              <a:gd name="connsiteY28" fmla="*/ 656855 h 955271"/>
              <a:gd name="connsiteX29" fmla="*/ 1454524 w 5741575"/>
              <a:gd name="connsiteY29" fmla="*/ 649224 h 955271"/>
              <a:gd name="connsiteX30" fmla="*/ 1616217 w 5741575"/>
              <a:gd name="connsiteY30" fmla="*/ 622107 h 955271"/>
              <a:gd name="connsiteX31" fmla="*/ 1710928 w 5741575"/>
              <a:gd name="connsiteY31" fmla="*/ 600666 h 955271"/>
              <a:gd name="connsiteX32" fmla="*/ 1743718 w 5741575"/>
              <a:gd name="connsiteY32" fmla="*/ 584327 h 955271"/>
              <a:gd name="connsiteX33" fmla="*/ 1873778 w 5741575"/>
              <a:gd name="connsiteY33" fmla="*/ 530130 h 955271"/>
              <a:gd name="connsiteX34" fmla="*/ 1988411 w 5741575"/>
              <a:gd name="connsiteY34" fmla="*/ 491599 h 955271"/>
              <a:gd name="connsiteX35" fmla="*/ 2085507 w 5741575"/>
              <a:gd name="connsiteY35" fmla="*/ 498527 h 955271"/>
              <a:gd name="connsiteX36" fmla="*/ 2090767 w 5741575"/>
              <a:gd name="connsiteY36" fmla="*/ 490616 h 955271"/>
              <a:gd name="connsiteX37" fmla="*/ 2151143 w 5741575"/>
              <a:gd name="connsiteY37" fmla="*/ 478332 h 955271"/>
              <a:gd name="connsiteX38" fmla="*/ 2378710 w 5741575"/>
              <a:gd name="connsiteY38" fmla="*/ 477570 h 955271"/>
              <a:gd name="connsiteX39" fmla="*/ 2496256 w 5741575"/>
              <a:gd name="connsiteY39" fmla="*/ 452396 h 955271"/>
              <a:gd name="connsiteX40" fmla="*/ 2535387 w 5741575"/>
              <a:gd name="connsiteY40" fmla="*/ 436645 h 955271"/>
              <a:gd name="connsiteX41" fmla="*/ 2601109 w 5741575"/>
              <a:gd name="connsiteY41" fmla="*/ 410678 h 955271"/>
              <a:gd name="connsiteX42" fmla="*/ 2643855 w 5741575"/>
              <a:gd name="connsiteY42" fmla="*/ 374482 h 955271"/>
              <a:gd name="connsiteX43" fmla="*/ 2657726 w 5741575"/>
              <a:gd name="connsiteY43" fmla="*/ 365841 h 955271"/>
              <a:gd name="connsiteX44" fmla="*/ 2687125 w 5741575"/>
              <a:gd name="connsiteY44" fmla="*/ 366820 h 955271"/>
              <a:gd name="connsiteX45" fmla="*/ 2697479 w 5741575"/>
              <a:gd name="connsiteY45" fmla="*/ 361430 h 955271"/>
              <a:gd name="connsiteX46" fmla="*/ 2701547 w 5741575"/>
              <a:gd name="connsiteY46" fmla="*/ 361545 h 955271"/>
              <a:gd name="connsiteX47" fmla="*/ 2711054 w 5741575"/>
              <a:gd name="connsiteY47" fmla="*/ 360597 h 955271"/>
              <a:gd name="connsiteX48" fmla="*/ 2710438 w 5741575"/>
              <a:gd name="connsiteY48" fmla="*/ 366958 h 955271"/>
              <a:gd name="connsiteX49" fmla="*/ 2722936 w 5741575"/>
              <a:gd name="connsiteY49" fmla="*/ 377633 h 955271"/>
              <a:gd name="connsiteX50" fmla="*/ 2777227 w 5741575"/>
              <a:gd name="connsiteY50" fmla="*/ 368972 h 955271"/>
              <a:gd name="connsiteX51" fmla="*/ 2779510 w 5741575"/>
              <a:gd name="connsiteY51" fmla="*/ 361652 h 955271"/>
              <a:gd name="connsiteX52" fmla="*/ 2786278 w 5741575"/>
              <a:gd name="connsiteY52" fmla="*/ 359869 h 955271"/>
              <a:gd name="connsiteX53" fmla="*/ 2792101 w 5741575"/>
              <a:gd name="connsiteY53" fmla="*/ 365927 h 955271"/>
              <a:gd name="connsiteX54" fmla="*/ 2885545 w 5741575"/>
              <a:gd name="connsiteY54" fmla="*/ 372818 h 955271"/>
              <a:gd name="connsiteX55" fmla="*/ 3009558 w 5741575"/>
              <a:gd name="connsiteY55" fmla="*/ 370573 h 955271"/>
              <a:gd name="connsiteX56" fmla="*/ 3095010 w 5741575"/>
              <a:gd name="connsiteY56" fmla="*/ 332454 h 955271"/>
              <a:gd name="connsiteX57" fmla="*/ 3103742 w 5741575"/>
              <a:gd name="connsiteY57" fmla="*/ 337974 h 955271"/>
              <a:gd name="connsiteX58" fmla="*/ 3165093 w 5741575"/>
              <a:gd name="connsiteY58" fmla="*/ 329459 h 955271"/>
              <a:gd name="connsiteX59" fmla="*/ 3373785 w 5741575"/>
              <a:gd name="connsiteY59" fmla="*/ 255680 h 955271"/>
              <a:gd name="connsiteX60" fmla="*/ 3493851 w 5741575"/>
              <a:gd name="connsiteY60" fmla="*/ 240255 h 955271"/>
              <a:gd name="connsiteX61" fmla="*/ 3537470 w 5741575"/>
              <a:gd name="connsiteY61" fmla="*/ 241867 h 955271"/>
              <a:gd name="connsiteX62" fmla="*/ 3610489 w 5741575"/>
              <a:gd name="connsiteY62" fmla="*/ 244128 h 955271"/>
              <a:gd name="connsiteX63" fmla="*/ 3667539 w 5741575"/>
              <a:gd name="connsiteY63" fmla="*/ 263271 h 955271"/>
              <a:gd name="connsiteX64" fmla="*/ 3727614 w 5741575"/>
              <a:gd name="connsiteY64" fmla="*/ 258245 h 955271"/>
              <a:gd name="connsiteX65" fmla="*/ 3738369 w 5741575"/>
              <a:gd name="connsiteY65" fmla="*/ 234506 h 955271"/>
              <a:gd name="connsiteX66" fmla="*/ 3803670 w 5741575"/>
              <a:gd name="connsiteY66" fmla="*/ 236457 h 955271"/>
              <a:gd name="connsiteX67" fmla="*/ 3903080 w 5741575"/>
              <a:gd name="connsiteY67" fmla="*/ 241890 h 955271"/>
              <a:gd name="connsiteX68" fmla="*/ 4114838 w 5741575"/>
              <a:gd name="connsiteY68" fmla="*/ 238165 h 955271"/>
              <a:gd name="connsiteX69" fmla="*/ 4271023 w 5741575"/>
              <a:gd name="connsiteY69" fmla="*/ 241959 h 955271"/>
              <a:gd name="connsiteX70" fmla="*/ 4367397 w 5741575"/>
              <a:gd name="connsiteY70" fmla="*/ 271442 h 955271"/>
              <a:gd name="connsiteX71" fmla="*/ 4495366 w 5741575"/>
              <a:gd name="connsiteY71" fmla="*/ 271618 h 955271"/>
              <a:gd name="connsiteX72" fmla="*/ 4517347 w 5741575"/>
              <a:gd name="connsiteY72" fmla="*/ 275639 h 955271"/>
              <a:gd name="connsiteX73" fmla="*/ 4546116 w 5741575"/>
              <a:gd name="connsiteY73" fmla="*/ 268568 h 955271"/>
              <a:gd name="connsiteX74" fmla="*/ 4661259 w 5741575"/>
              <a:gd name="connsiteY74" fmla="*/ 238966 h 955271"/>
              <a:gd name="connsiteX75" fmla="*/ 4750403 w 5741575"/>
              <a:gd name="connsiteY75" fmla="*/ 204364 h 955271"/>
              <a:gd name="connsiteX76" fmla="*/ 4867614 w 5741575"/>
              <a:gd name="connsiteY76" fmla="*/ 208668 h 955271"/>
              <a:gd name="connsiteX77" fmla="*/ 4937036 w 5741575"/>
              <a:gd name="connsiteY77" fmla="*/ 195446 h 955271"/>
              <a:gd name="connsiteX78" fmla="*/ 5047626 w 5741575"/>
              <a:gd name="connsiteY78" fmla="*/ 149604 h 955271"/>
              <a:gd name="connsiteX79" fmla="*/ 5200247 w 5741575"/>
              <a:gd name="connsiteY79" fmla="*/ 142695 h 955271"/>
              <a:gd name="connsiteX80" fmla="*/ 5235691 w 5741575"/>
              <a:gd name="connsiteY80" fmla="*/ 173330 h 955271"/>
              <a:gd name="connsiteX81" fmla="*/ 5280133 w 5741575"/>
              <a:gd name="connsiteY81" fmla="*/ 189342 h 955271"/>
              <a:gd name="connsiteX82" fmla="*/ 5291963 w 5741575"/>
              <a:gd name="connsiteY82" fmla="*/ 139446 h 955271"/>
              <a:gd name="connsiteX83" fmla="*/ 5418472 w 5741575"/>
              <a:gd name="connsiteY83" fmla="*/ 89163 h 955271"/>
              <a:gd name="connsiteX84" fmla="*/ 5482354 w 5741575"/>
              <a:gd name="connsiteY84" fmla="*/ 69470 h 955271"/>
              <a:gd name="connsiteX85" fmla="*/ 5583280 w 5741575"/>
              <a:gd name="connsiteY85" fmla="*/ 49787 h 955271"/>
              <a:gd name="connsiteX86" fmla="*/ 5613766 w 5741575"/>
              <a:gd name="connsiteY86" fmla="*/ 41855 h 955271"/>
              <a:gd name="connsiteX87" fmla="*/ 5684952 w 5741575"/>
              <a:gd name="connsiteY87" fmla="*/ 26088 h 955271"/>
              <a:gd name="connsiteX88" fmla="*/ 5741575 w 5741575"/>
              <a:gd name="connsiteY88" fmla="*/ 0 h 955271"/>
              <a:gd name="connsiteX0" fmla="*/ 5741575 w 5741575"/>
              <a:gd name="connsiteY0" fmla="*/ 0 h 955271"/>
              <a:gd name="connsiteX1" fmla="*/ 5741575 w 5741575"/>
              <a:gd name="connsiteY1" fmla="*/ 955271 h 955271"/>
              <a:gd name="connsiteX2" fmla="*/ 0 w 5741575"/>
              <a:gd name="connsiteY2" fmla="*/ 955271 h 955271"/>
              <a:gd name="connsiteX3" fmla="*/ 8558 w 5741575"/>
              <a:gd name="connsiteY3" fmla="*/ 953971 h 955271"/>
              <a:gd name="connsiteX4" fmla="*/ 16894 w 5741575"/>
              <a:gd name="connsiteY4" fmla="*/ 953847 h 955271"/>
              <a:gd name="connsiteX5" fmla="*/ 28156 w 5741575"/>
              <a:gd name="connsiteY5" fmla="*/ 951374 h 955271"/>
              <a:gd name="connsiteX6" fmla="*/ 28293 w 5741575"/>
              <a:gd name="connsiteY6" fmla="*/ 950971 h 955271"/>
              <a:gd name="connsiteX7" fmla="*/ 59229 w 5741575"/>
              <a:gd name="connsiteY7" fmla="*/ 903950 h 955271"/>
              <a:gd name="connsiteX8" fmla="*/ 148657 w 5741575"/>
              <a:gd name="connsiteY8" fmla="*/ 898134 h 955271"/>
              <a:gd name="connsiteX9" fmla="*/ 174554 w 5741575"/>
              <a:gd name="connsiteY9" fmla="*/ 886351 h 955271"/>
              <a:gd name="connsiteX10" fmla="*/ 187633 w 5741575"/>
              <a:gd name="connsiteY10" fmla="*/ 878226 h 955271"/>
              <a:gd name="connsiteX11" fmla="*/ 187961 w 5741575"/>
              <a:gd name="connsiteY11" fmla="*/ 876538 h 955271"/>
              <a:gd name="connsiteX12" fmla="*/ 240501 w 5741575"/>
              <a:gd name="connsiteY12" fmla="*/ 873150 h 955271"/>
              <a:gd name="connsiteX13" fmla="*/ 246345 w 5741575"/>
              <a:gd name="connsiteY13" fmla="*/ 869942 h 955271"/>
              <a:gd name="connsiteX14" fmla="*/ 306299 w 5741575"/>
              <a:gd name="connsiteY14" fmla="*/ 873609 h 955271"/>
              <a:gd name="connsiteX15" fmla="*/ 331571 w 5741575"/>
              <a:gd name="connsiteY15" fmla="*/ 869866 h 955271"/>
              <a:gd name="connsiteX16" fmla="*/ 384157 w 5741575"/>
              <a:gd name="connsiteY16" fmla="*/ 867971 h 955271"/>
              <a:gd name="connsiteX17" fmla="*/ 477637 w 5741575"/>
              <a:gd name="connsiteY17" fmla="*/ 870334 h 955271"/>
              <a:gd name="connsiteX18" fmla="*/ 570239 w 5741575"/>
              <a:gd name="connsiteY18" fmla="*/ 829596 h 955271"/>
              <a:gd name="connsiteX19" fmla="*/ 772070 w 5741575"/>
              <a:gd name="connsiteY19" fmla="*/ 820296 h 955271"/>
              <a:gd name="connsiteX20" fmla="*/ 948872 w 5741575"/>
              <a:gd name="connsiteY20" fmla="*/ 772201 h 955271"/>
              <a:gd name="connsiteX21" fmla="*/ 1127089 w 5741575"/>
              <a:gd name="connsiteY21" fmla="*/ 746926 h 955271"/>
              <a:gd name="connsiteX22" fmla="*/ 1220426 w 5741575"/>
              <a:gd name="connsiteY22" fmla="*/ 721810 h 955271"/>
              <a:gd name="connsiteX23" fmla="*/ 1306771 w 5741575"/>
              <a:gd name="connsiteY23" fmla="*/ 717936 h 955271"/>
              <a:gd name="connsiteX24" fmla="*/ 1374314 w 5741575"/>
              <a:gd name="connsiteY24" fmla="*/ 688815 h 955271"/>
              <a:gd name="connsiteX25" fmla="*/ 1378034 w 5741575"/>
              <a:gd name="connsiteY25" fmla="*/ 685842 h 955271"/>
              <a:gd name="connsiteX26" fmla="*/ 1395604 w 5741575"/>
              <a:gd name="connsiteY26" fmla="*/ 680460 h 955271"/>
              <a:gd name="connsiteX27" fmla="*/ 1397206 w 5741575"/>
              <a:gd name="connsiteY27" fmla="*/ 670793 h 955271"/>
              <a:gd name="connsiteX28" fmla="*/ 1421250 w 5741575"/>
              <a:gd name="connsiteY28" fmla="*/ 656855 h 955271"/>
              <a:gd name="connsiteX29" fmla="*/ 1494753 w 5741575"/>
              <a:gd name="connsiteY29" fmla="*/ 644686 h 955271"/>
              <a:gd name="connsiteX30" fmla="*/ 1616217 w 5741575"/>
              <a:gd name="connsiteY30" fmla="*/ 622107 h 955271"/>
              <a:gd name="connsiteX31" fmla="*/ 1710928 w 5741575"/>
              <a:gd name="connsiteY31" fmla="*/ 600666 h 955271"/>
              <a:gd name="connsiteX32" fmla="*/ 1743718 w 5741575"/>
              <a:gd name="connsiteY32" fmla="*/ 584327 h 955271"/>
              <a:gd name="connsiteX33" fmla="*/ 1873778 w 5741575"/>
              <a:gd name="connsiteY33" fmla="*/ 530130 h 955271"/>
              <a:gd name="connsiteX34" fmla="*/ 1988411 w 5741575"/>
              <a:gd name="connsiteY34" fmla="*/ 491599 h 955271"/>
              <a:gd name="connsiteX35" fmla="*/ 2085507 w 5741575"/>
              <a:gd name="connsiteY35" fmla="*/ 498527 h 955271"/>
              <a:gd name="connsiteX36" fmla="*/ 2090767 w 5741575"/>
              <a:gd name="connsiteY36" fmla="*/ 490616 h 955271"/>
              <a:gd name="connsiteX37" fmla="*/ 2151143 w 5741575"/>
              <a:gd name="connsiteY37" fmla="*/ 478332 h 955271"/>
              <a:gd name="connsiteX38" fmla="*/ 2378710 w 5741575"/>
              <a:gd name="connsiteY38" fmla="*/ 477570 h 955271"/>
              <a:gd name="connsiteX39" fmla="*/ 2496256 w 5741575"/>
              <a:gd name="connsiteY39" fmla="*/ 452396 h 955271"/>
              <a:gd name="connsiteX40" fmla="*/ 2535387 w 5741575"/>
              <a:gd name="connsiteY40" fmla="*/ 436645 h 955271"/>
              <a:gd name="connsiteX41" fmla="*/ 2601109 w 5741575"/>
              <a:gd name="connsiteY41" fmla="*/ 410678 h 955271"/>
              <a:gd name="connsiteX42" fmla="*/ 2643855 w 5741575"/>
              <a:gd name="connsiteY42" fmla="*/ 374482 h 955271"/>
              <a:gd name="connsiteX43" fmla="*/ 2657726 w 5741575"/>
              <a:gd name="connsiteY43" fmla="*/ 365841 h 955271"/>
              <a:gd name="connsiteX44" fmla="*/ 2687125 w 5741575"/>
              <a:gd name="connsiteY44" fmla="*/ 366820 h 955271"/>
              <a:gd name="connsiteX45" fmla="*/ 2697479 w 5741575"/>
              <a:gd name="connsiteY45" fmla="*/ 361430 h 955271"/>
              <a:gd name="connsiteX46" fmla="*/ 2701547 w 5741575"/>
              <a:gd name="connsiteY46" fmla="*/ 361545 h 955271"/>
              <a:gd name="connsiteX47" fmla="*/ 2711054 w 5741575"/>
              <a:gd name="connsiteY47" fmla="*/ 360597 h 955271"/>
              <a:gd name="connsiteX48" fmla="*/ 2710438 w 5741575"/>
              <a:gd name="connsiteY48" fmla="*/ 366958 h 955271"/>
              <a:gd name="connsiteX49" fmla="*/ 2722936 w 5741575"/>
              <a:gd name="connsiteY49" fmla="*/ 377633 h 955271"/>
              <a:gd name="connsiteX50" fmla="*/ 2777227 w 5741575"/>
              <a:gd name="connsiteY50" fmla="*/ 368972 h 955271"/>
              <a:gd name="connsiteX51" fmla="*/ 2779510 w 5741575"/>
              <a:gd name="connsiteY51" fmla="*/ 361652 h 955271"/>
              <a:gd name="connsiteX52" fmla="*/ 2786278 w 5741575"/>
              <a:gd name="connsiteY52" fmla="*/ 359869 h 955271"/>
              <a:gd name="connsiteX53" fmla="*/ 2792101 w 5741575"/>
              <a:gd name="connsiteY53" fmla="*/ 365927 h 955271"/>
              <a:gd name="connsiteX54" fmla="*/ 2885545 w 5741575"/>
              <a:gd name="connsiteY54" fmla="*/ 372818 h 955271"/>
              <a:gd name="connsiteX55" fmla="*/ 3009558 w 5741575"/>
              <a:gd name="connsiteY55" fmla="*/ 370573 h 955271"/>
              <a:gd name="connsiteX56" fmla="*/ 3095010 w 5741575"/>
              <a:gd name="connsiteY56" fmla="*/ 332454 h 955271"/>
              <a:gd name="connsiteX57" fmla="*/ 3103742 w 5741575"/>
              <a:gd name="connsiteY57" fmla="*/ 337974 h 955271"/>
              <a:gd name="connsiteX58" fmla="*/ 3165093 w 5741575"/>
              <a:gd name="connsiteY58" fmla="*/ 329459 h 955271"/>
              <a:gd name="connsiteX59" fmla="*/ 3373785 w 5741575"/>
              <a:gd name="connsiteY59" fmla="*/ 255680 h 955271"/>
              <a:gd name="connsiteX60" fmla="*/ 3493851 w 5741575"/>
              <a:gd name="connsiteY60" fmla="*/ 240255 h 955271"/>
              <a:gd name="connsiteX61" fmla="*/ 3537470 w 5741575"/>
              <a:gd name="connsiteY61" fmla="*/ 241867 h 955271"/>
              <a:gd name="connsiteX62" fmla="*/ 3610489 w 5741575"/>
              <a:gd name="connsiteY62" fmla="*/ 244128 h 955271"/>
              <a:gd name="connsiteX63" fmla="*/ 3667539 w 5741575"/>
              <a:gd name="connsiteY63" fmla="*/ 263271 h 955271"/>
              <a:gd name="connsiteX64" fmla="*/ 3727614 w 5741575"/>
              <a:gd name="connsiteY64" fmla="*/ 258245 h 955271"/>
              <a:gd name="connsiteX65" fmla="*/ 3738369 w 5741575"/>
              <a:gd name="connsiteY65" fmla="*/ 234506 h 955271"/>
              <a:gd name="connsiteX66" fmla="*/ 3803670 w 5741575"/>
              <a:gd name="connsiteY66" fmla="*/ 236457 h 955271"/>
              <a:gd name="connsiteX67" fmla="*/ 3903080 w 5741575"/>
              <a:gd name="connsiteY67" fmla="*/ 241890 h 955271"/>
              <a:gd name="connsiteX68" fmla="*/ 4114838 w 5741575"/>
              <a:gd name="connsiteY68" fmla="*/ 238165 h 955271"/>
              <a:gd name="connsiteX69" fmla="*/ 4271023 w 5741575"/>
              <a:gd name="connsiteY69" fmla="*/ 241959 h 955271"/>
              <a:gd name="connsiteX70" fmla="*/ 4367397 w 5741575"/>
              <a:gd name="connsiteY70" fmla="*/ 271442 h 955271"/>
              <a:gd name="connsiteX71" fmla="*/ 4495366 w 5741575"/>
              <a:gd name="connsiteY71" fmla="*/ 271618 h 955271"/>
              <a:gd name="connsiteX72" fmla="*/ 4517347 w 5741575"/>
              <a:gd name="connsiteY72" fmla="*/ 275639 h 955271"/>
              <a:gd name="connsiteX73" fmla="*/ 4546116 w 5741575"/>
              <a:gd name="connsiteY73" fmla="*/ 268568 h 955271"/>
              <a:gd name="connsiteX74" fmla="*/ 4661259 w 5741575"/>
              <a:gd name="connsiteY74" fmla="*/ 238966 h 955271"/>
              <a:gd name="connsiteX75" fmla="*/ 4750403 w 5741575"/>
              <a:gd name="connsiteY75" fmla="*/ 204364 h 955271"/>
              <a:gd name="connsiteX76" fmla="*/ 4867614 w 5741575"/>
              <a:gd name="connsiteY76" fmla="*/ 208668 h 955271"/>
              <a:gd name="connsiteX77" fmla="*/ 4937036 w 5741575"/>
              <a:gd name="connsiteY77" fmla="*/ 195446 h 955271"/>
              <a:gd name="connsiteX78" fmla="*/ 5047626 w 5741575"/>
              <a:gd name="connsiteY78" fmla="*/ 149604 h 955271"/>
              <a:gd name="connsiteX79" fmla="*/ 5200247 w 5741575"/>
              <a:gd name="connsiteY79" fmla="*/ 142695 h 955271"/>
              <a:gd name="connsiteX80" fmla="*/ 5235691 w 5741575"/>
              <a:gd name="connsiteY80" fmla="*/ 173330 h 955271"/>
              <a:gd name="connsiteX81" fmla="*/ 5280133 w 5741575"/>
              <a:gd name="connsiteY81" fmla="*/ 189342 h 955271"/>
              <a:gd name="connsiteX82" fmla="*/ 5291963 w 5741575"/>
              <a:gd name="connsiteY82" fmla="*/ 139446 h 955271"/>
              <a:gd name="connsiteX83" fmla="*/ 5418472 w 5741575"/>
              <a:gd name="connsiteY83" fmla="*/ 89163 h 955271"/>
              <a:gd name="connsiteX84" fmla="*/ 5482354 w 5741575"/>
              <a:gd name="connsiteY84" fmla="*/ 69470 h 955271"/>
              <a:gd name="connsiteX85" fmla="*/ 5583280 w 5741575"/>
              <a:gd name="connsiteY85" fmla="*/ 49787 h 955271"/>
              <a:gd name="connsiteX86" fmla="*/ 5613766 w 5741575"/>
              <a:gd name="connsiteY86" fmla="*/ 41855 h 955271"/>
              <a:gd name="connsiteX87" fmla="*/ 5684952 w 5741575"/>
              <a:gd name="connsiteY87" fmla="*/ 26088 h 955271"/>
              <a:gd name="connsiteX88" fmla="*/ 5741575 w 5741575"/>
              <a:gd name="connsiteY88" fmla="*/ 0 h 955271"/>
              <a:gd name="connsiteX0" fmla="*/ 5741575 w 5741575"/>
              <a:gd name="connsiteY0" fmla="*/ 0 h 955271"/>
              <a:gd name="connsiteX1" fmla="*/ 5741575 w 5741575"/>
              <a:gd name="connsiteY1" fmla="*/ 955271 h 955271"/>
              <a:gd name="connsiteX2" fmla="*/ 0 w 5741575"/>
              <a:gd name="connsiteY2" fmla="*/ 955271 h 955271"/>
              <a:gd name="connsiteX3" fmla="*/ 8558 w 5741575"/>
              <a:gd name="connsiteY3" fmla="*/ 953971 h 955271"/>
              <a:gd name="connsiteX4" fmla="*/ 16894 w 5741575"/>
              <a:gd name="connsiteY4" fmla="*/ 953847 h 955271"/>
              <a:gd name="connsiteX5" fmla="*/ 28156 w 5741575"/>
              <a:gd name="connsiteY5" fmla="*/ 951374 h 955271"/>
              <a:gd name="connsiteX6" fmla="*/ 28293 w 5741575"/>
              <a:gd name="connsiteY6" fmla="*/ 950971 h 955271"/>
              <a:gd name="connsiteX7" fmla="*/ 59229 w 5741575"/>
              <a:gd name="connsiteY7" fmla="*/ 903950 h 955271"/>
              <a:gd name="connsiteX8" fmla="*/ 148657 w 5741575"/>
              <a:gd name="connsiteY8" fmla="*/ 898134 h 955271"/>
              <a:gd name="connsiteX9" fmla="*/ 174554 w 5741575"/>
              <a:gd name="connsiteY9" fmla="*/ 886351 h 955271"/>
              <a:gd name="connsiteX10" fmla="*/ 187633 w 5741575"/>
              <a:gd name="connsiteY10" fmla="*/ 878226 h 955271"/>
              <a:gd name="connsiteX11" fmla="*/ 187961 w 5741575"/>
              <a:gd name="connsiteY11" fmla="*/ 876538 h 955271"/>
              <a:gd name="connsiteX12" fmla="*/ 240501 w 5741575"/>
              <a:gd name="connsiteY12" fmla="*/ 873150 h 955271"/>
              <a:gd name="connsiteX13" fmla="*/ 246345 w 5741575"/>
              <a:gd name="connsiteY13" fmla="*/ 869942 h 955271"/>
              <a:gd name="connsiteX14" fmla="*/ 306299 w 5741575"/>
              <a:gd name="connsiteY14" fmla="*/ 873609 h 955271"/>
              <a:gd name="connsiteX15" fmla="*/ 331571 w 5741575"/>
              <a:gd name="connsiteY15" fmla="*/ 869866 h 955271"/>
              <a:gd name="connsiteX16" fmla="*/ 384157 w 5741575"/>
              <a:gd name="connsiteY16" fmla="*/ 867971 h 955271"/>
              <a:gd name="connsiteX17" fmla="*/ 477637 w 5741575"/>
              <a:gd name="connsiteY17" fmla="*/ 870334 h 955271"/>
              <a:gd name="connsiteX18" fmla="*/ 570239 w 5741575"/>
              <a:gd name="connsiteY18" fmla="*/ 829596 h 955271"/>
              <a:gd name="connsiteX19" fmla="*/ 772070 w 5741575"/>
              <a:gd name="connsiteY19" fmla="*/ 820296 h 955271"/>
              <a:gd name="connsiteX20" fmla="*/ 948872 w 5741575"/>
              <a:gd name="connsiteY20" fmla="*/ 772201 h 955271"/>
              <a:gd name="connsiteX21" fmla="*/ 1127089 w 5741575"/>
              <a:gd name="connsiteY21" fmla="*/ 746926 h 955271"/>
              <a:gd name="connsiteX22" fmla="*/ 1220426 w 5741575"/>
              <a:gd name="connsiteY22" fmla="*/ 721810 h 955271"/>
              <a:gd name="connsiteX23" fmla="*/ 1306771 w 5741575"/>
              <a:gd name="connsiteY23" fmla="*/ 717936 h 955271"/>
              <a:gd name="connsiteX24" fmla="*/ 1374314 w 5741575"/>
              <a:gd name="connsiteY24" fmla="*/ 688815 h 955271"/>
              <a:gd name="connsiteX25" fmla="*/ 1378034 w 5741575"/>
              <a:gd name="connsiteY25" fmla="*/ 685842 h 955271"/>
              <a:gd name="connsiteX26" fmla="*/ 1395604 w 5741575"/>
              <a:gd name="connsiteY26" fmla="*/ 680460 h 955271"/>
              <a:gd name="connsiteX27" fmla="*/ 1397206 w 5741575"/>
              <a:gd name="connsiteY27" fmla="*/ 670793 h 955271"/>
              <a:gd name="connsiteX28" fmla="*/ 1441364 w 5741575"/>
              <a:gd name="connsiteY28" fmla="*/ 661393 h 955271"/>
              <a:gd name="connsiteX29" fmla="*/ 1494753 w 5741575"/>
              <a:gd name="connsiteY29" fmla="*/ 644686 h 955271"/>
              <a:gd name="connsiteX30" fmla="*/ 1616217 w 5741575"/>
              <a:gd name="connsiteY30" fmla="*/ 622107 h 955271"/>
              <a:gd name="connsiteX31" fmla="*/ 1710928 w 5741575"/>
              <a:gd name="connsiteY31" fmla="*/ 600666 h 955271"/>
              <a:gd name="connsiteX32" fmla="*/ 1743718 w 5741575"/>
              <a:gd name="connsiteY32" fmla="*/ 584327 h 955271"/>
              <a:gd name="connsiteX33" fmla="*/ 1873778 w 5741575"/>
              <a:gd name="connsiteY33" fmla="*/ 530130 h 955271"/>
              <a:gd name="connsiteX34" fmla="*/ 1988411 w 5741575"/>
              <a:gd name="connsiteY34" fmla="*/ 491599 h 955271"/>
              <a:gd name="connsiteX35" fmla="*/ 2085507 w 5741575"/>
              <a:gd name="connsiteY35" fmla="*/ 498527 h 955271"/>
              <a:gd name="connsiteX36" fmla="*/ 2090767 w 5741575"/>
              <a:gd name="connsiteY36" fmla="*/ 490616 h 955271"/>
              <a:gd name="connsiteX37" fmla="*/ 2151143 w 5741575"/>
              <a:gd name="connsiteY37" fmla="*/ 478332 h 955271"/>
              <a:gd name="connsiteX38" fmla="*/ 2378710 w 5741575"/>
              <a:gd name="connsiteY38" fmla="*/ 477570 h 955271"/>
              <a:gd name="connsiteX39" fmla="*/ 2496256 w 5741575"/>
              <a:gd name="connsiteY39" fmla="*/ 452396 h 955271"/>
              <a:gd name="connsiteX40" fmla="*/ 2535387 w 5741575"/>
              <a:gd name="connsiteY40" fmla="*/ 436645 h 955271"/>
              <a:gd name="connsiteX41" fmla="*/ 2601109 w 5741575"/>
              <a:gd name="connsiteY41" fmla="*/ 410678 h 955271"/>
              <a:gd name="connsiteX42" fmla="*/ 2643855 w 5741575"/>
              <a:gd name="connsiteY42" fmla="*/ 374482 h 955271"/>
              <a:gd name="connsiteX43" fmla="*/ 2657726 w 5741575"/>
              <a:gd name="connsiteY43" fmla="*/ 365841 h 955271"/>
              <a:gd name="connsiteX44" fmla="*/ 2687125 w 5741575"/>
              <a:gd name="connsiteY44" fmla="*/ 366820 h 955271"/>
              <a:gd name="connsiteX45" fmla="*/ 2697479 w 5741575"/>
              <a:gd name="connsiteY45" fmla="*/ 361430 h 955271"/>
              <a:gd name="connsiteX46" fmla="*/ 2701547 w 5741575"/>
              <a:gd name="connsiteY46" fmla="*/ 361545 h 955271"/>
              <a:gd name="connsiteX47" fmla="*/ 2711054 w 5741575"/>
              <a:gd name="connsiteY47" fmla="*/ 360597 h 955271"/>
              <a:gd name="connsiteX48" fmla="*/ 2710438 w 5741575"/>
              <a:gd name="connsiteY48" fmla="*/ 366958 h 955271"/>
              <a:gd name="connsiteX49" fmla="*/ 2722936 w 5741575"/>
              <a:gd name="connsiteY49" fmla="*/ 377633 h 955271"/>
              <a:gd name="connsiteX50" fmla="*/ 2777227 w 5741575"/>
              <a:gd name="connsiteY50" fmla="*/ 368972 h 955271"/>
              <a:gd name="connsiteX51" fmla="*/ 2779510 w 5741575"/>
              <a:gd name="connsiteY51" fmla="*/ 361652 h 955271"/>
              <a:gd name="connsiteX52" fmla="*/ 2786278 w 5741575"/>
              <a:gd name="connsiteY52" fmla="*/ 359869 h 955271"/>
              <a:gd name="connsiteX53" fmla="*/ 2792101 w 5741575"/>
              <a:gd name="connsiteY53" fmla="*/ 365927 h 955271"/>
              <a:gd name="connsiteX54" fmla="*/ 2885545 w 5741575"/>
              <a:gd name="connsiteY54" fmla="*/ 372818 h 955271"/>
              <a:gd name="connsiteX55" fmla="*/ 3009558 w 5741575"/>
              <a:gd name="connsiteY55" fmla="*/ 370573 h 955271"/>
              <a:gd name="connsiteX56" fmla="*/ 3095010 w 5741575"/>
              <a:gd name="connsiteY56" fmla="*/ 332454 h 955271"/>
              <a:gd name="connsiteX57" fmla="*/ 3103742 w 5741575"/>
              <a:gd name="connsiteY57" fmla="*/ 337974 h 955271"/>
              <a:gd name="connsiteX58" fmla="*/ 3165093 w 5741575"/>
              <a:gd name="connsiteY58" fmla="*/ 329459 h 955271"/>
              <a:gd name="connsiteX59" fmla="*/ 3373785 w 5741575"/>
              <a:gd name="connsiteY59" fmla="*/ 255680 h 955271"/>
              <a:gd name="connsiteX60" fmla="*/ 3493851 w 5741575"/>
              <a:gd name="connsiteY60" fmla="*/ 240255 h 955271"/>
              <a:gd name="connsiteX61" fmla="*/ 3537470 w 5741575"/>
              <a:gd name="connsiteY61" fmla="*/ 241867 h 955271"/>
              <a:gd name="connsiteX62" fmla="*/ 3610489 w 5741575"/>
              <a:gd name="connsiteY62" fmla="*/ 244128 h 955271"/>
              <a:gd name="connsiteX63" fmla="*/ 3667539 w 5741575"/>
              <a:gd name="connsiteY63" fmla="*/ 263271 h 955271"/>
              <a:gd name="connsiteX64" fmla="*/ 3727614 w 5741575"/>
              <a:gd name="connsiteY64" fmla="*/ 258245 h 955271"/>
              <a:gd name="connsiteX65" fmla="*/ 3738369 w 5741575"/>
              <a:gd name="connsiteY65" fmla="*/ 234506 h 955271"/>
              <a:gd name="connsiteX66" fmla="*/ 3803670 w 5741575"/>
              <a:gd name="connsiteY66" fmla="*/ 236457 h 955271"/>
              <a:gd name="connsiteX67" fmla="*/ 3903080 w 5741575"/>
              <a:gd name="connsiteY67" fmla="*/ 241890 h 955271"/>
              <a:gd name="connsiteX68" fmla="*/ 4114838 w 5741575"/>
              <a:gd name="connsiteY68" fmla="*/ 238165 h 955271"/>
              <a:gd name="connsiteX69" fmla="*/ 4271023 w 5741575"/>
              <a:gd name="connsiteY69" fmla="*/ 241959 h 955271"/>
              <a:gd name="connsiteX70" fmla="*/ 4367397 w 5741575"/>
              <a:gd name="connsiteY70" fmla="*/ 271442 h 955271"/>
              <a:gd name="connsiteX71" fmla="*/ 4495366 w 5741575"/>
              <a:gd name="connsiteY71" fmla="*/ 271618 h 955271"/>
              <a:gd name="connsiteX72" fmla="*/ 4517347 w 5741575"/>
              <a:gd name="connsiteY72" fmla="*/ 275639 h 955271"/>
              <a:gd name="connsiteX73" fmla="*/ 4546116 w 5741575"/>
              <a:gd name="connsiteY73" fmla="*/ 268568 h 955271"/>
              <a:gd name="connsiteX74" fmla="*/ 4661259 w 5741575"/>
              <a:gd name="connsiteY74" fmla="*/ 238966 h 955271"/>
              <a:gd name="connsiteX75" fmla="*/ 4750403 w 5741575"/>
              <a:gd name="connsiteY75" fmla="*/ 204364 h 955271"/>
              <a:gd name="connsiteX76" fmla="*/ 4867614 w 5741575"/>
              <a:gd name="connsiteY76" fmla="*/ 208668 h 955271"/>
              <a:gd name="connsiteX77" fmla="*/ 4937036 w 5741575"/>
              <a:gd name="connsiteY77" fmla="*/ 195446 h 955271"/>
              <a:gd name="connsiteX78" fmla="*/ 5047626 w 5741575"/>
              <a:gd name="connsiteY78" fmla="*/ 149604 h 955271"/>
              <a:gd name="connsiteX79" fmla="*/ 5200247 w 5741575"/>
              <a:gd name="connsiteY79" fmla="*/ 142695 h 955271"/>
              <a:gd name="connsiteX80" fmla="*/ 5235691 w 5741575"/>
              <a:gd name="connsiteY80" fmla="*/ 173330 h 955271"/>
              <a:gd name="connsiteX81" fmla="*/ 5280133 w 5741575"/>
              <a:gd name="connsiteY81" fmla="*/ 189342 h 955271"/>
              <a:gd name="connsiteX82" fmla="*/ 5291963 w 5741575"/>
              <a:gd name="connsiteY82" fmla="*/ 139446 h 955271"/>
              <a:gd name="connsiteX83" fmla="*/ 5418472 w 5741575"/>
              <a:gd name="connsiteY83" fmla="*/ 89163 h 955271"/>
              <a:gd name="connsiteX84" fmla="*/ 5482354 w 5741575"/>
              <a:gd name="connsiteY84" fmla="*/ 69470 h 955271"/>
              <a:gd name="connsiteX85" fmla="*/ 5583280 w 5741575"/>
              <a:gd name="connsiteY85" fmla="*/ 49787 h 955271"/>
              <a:gd name="connsiteX86" fmla="*/ 5613766 w 5741575"/>
              <a:gd name="connsiteY86" fmla="*/ 41855 h 955271"/>
              <a:gd name="connsiteX87" fmla="*/ 5684952 w 5741575"/>
              <a:gd name="connsiteY87" fmla="*/ 26088 h 955271"/>
              <a:gd name="connsiteX88" fmla="*/ 5741575 w 5741575"/>
              <a:gd name="connsiteY88" fmla="*/ 0 h 955271"/>
              <a:gd name="connsiteX0" fmla="*/ 5741575 w 5741575"/>
              <a:gd name="connsiteY0" fmla="*/ 0 h 955271"/>
              <a:gd name="connsiteX1" fmla="*/ 5741575 w 5741575"/>
              <a:gd name="connsiteY1" fmla="*/ 955271 h 955271"/>
              <a:gd name="connsiteX2" fmla="*/ 0 w 5741575"/>
              <a:gd name="connsiteY2" fmla="*/ 955271 h 955271"/>
              <a:gd name="connsiteX3" fmla="*/ 8558 w 5741575"/>
              <a:gd name="connsiteY3" fmla="*/ 953971 h 955271"/>
              <a:gd name="connsiteX4" fmla="*/ 16894 w 5741575"/>
              <a:gd name="connsiteY4" fmla="*/ 953847 h 955271"/>
              <a:gd name="connsiteX5" fmla="*/ 28156 w 5741575"/>
              <a:gd name="connsiteY5" fmla="*/ 951374 h 955271"/>
              <a:gd name="connsiteX6" fmla="*/ 28293 w 5741575"/>
              <a:gd name="connsiteY6" fmla="*/ 950971 h 955271"/>
              <a:gd name="connsiteX7" fmla="*/ 59229 w 5741575"/>
              <a:gd name="connsiteY7" fmla="*/ 903950 h 955271"/>
              <a:gd name="connsiteX8" fmla="*/ 148657 w 5741575"/>
              <a:gd name="connsiteY8" fmla="*/ 898134 h 955271"/>
              <a:gd name="connsiteX9" fmla="*/ 174554 w 5741575"/>
              <a:gd name="connsiteY9" fmla="*/ 886351 h 955271"/>
              <a:gd name="connsiteX10" fmla="*/ 187633 w 5741575"/>
              <a:gd name="connsiteY10" fmla="*/ 878226 h 955271"/>
              <a:gd name="connsiteX11" fmla="*/ 187961 w 5741575"/>
              <a:gd name="connsiteY11" fmla="*/ 876538 h 955271"/>
              <a:gd name="connsiteX12" fmla="*/ 240501 w 5741575"/>
              <a:gd name="connsiteY12" fmla="*/ 873150 h 955271"/>
              <a:gd name="connsiteX13" fmla="*/ 246345 w 5741575"/>
              <a:gd name="connsiteY13" fmla="*/ 869942 h 955271"/>
              <a:gd name="connsiteX14" fmla="*/ 306299 w 5741575"/>
              <a:gd name="connsiteY14" fmla="*/ 873609 h 955271"/>
              <a:gd name="connsiteX15" fmla="*/ 331571 w 5741575"/>
              <a:gd name="connsiteY15" fmla="*/ 869866 h 955271"/>
              <a:gd name="connsiteX16" fmla="*/ 384157 w 5741575"/>
              <a:gd name="connsiteY16" fmla="*/ 867971 h 955271"/>
              <a:gd name="connsiteX17" fmla="*/ 477637 w 5741575"/>
              <a:gd name="connsiteY17" fmla="*/ 870334 h 955271"/>
              <a:gd name="connsiteX18" fmla="*/ 570239 w 5741575"/>
              <a:gd name="connsiteY18" fmla="*/ 829596 h 955271"/>
              <a:gd name="connsiteX19" fmla="*/ 772070 w 5741575"/>
              <a:gd name="connsiteY19" fmla="*/ 820296 h 955271"/>
              <a:gd name="connsiteX20" fmla="*/ 948872 w 5741575"/>
              <a:gd name="connsiteY20" fmla="*/ 772201 h 955271"/>
              <a:gd name="connsiteX21" fmla="*/ 1127089 w 5741575"/>
              <a:gd name="connsiteY21" fmla="*/ 746926 h 955271"/>
              <a:gd name="connsiteX22" fmla="*/ 1220426 w 5741575"/>
              <a:gd name="connsiteY22" fmla="*/ 721810 h 955271"/>
              <a:gd name="connsiteX23" fmla="*/ 1306771 w 5741575"/>
              <a:gd name="connsiteY23" fmla="*/ 717936 h 955271"/>
              <a:gd name="connsiteX24" fmla="*/ 1374314 w 5741575"/>
              <a:gd name="connsiteY24" fmla="*/ 688815 h 955271"/>
              <a:gd name="connsiteX25" fmla="*/ 1378034 w 5741575"/>
              <a:gd name="connsiteY25" fmla="*/ 685842 h 955271"/>
              <a:gd name="connsiteX26" fmla="*/ 1395604 w 5741575"/>
              <a:gd name="connsiteY26" fmla="*/ 680460 h 955271"/>
              <a:gd name="connsiteX27" fmla="*/ 1397206 w 5741575"/>
              <a:gd name="connsiteY27" fmla="*/ 670793 h 955271"/>
              <a:gd name="connsiteX28" fmla="*/ 1494753 w 5741575"/>
              <a:gd name="connsiteY28" fmla="*/ 644686 h 955271"/>
              <a:gd name="connsiteX29" fmla="*/ 1616217 w 5741575"/>
              <a:gd name="connsiteY29" fmla="*/ 622107 h 955271"/>
              <a:gd name="connsiteX30" fmla="*/ 1710928 w 5741575"/>
              <a:gd name="connsiteY30" fmla="*/ 600666 h 955271"/>
              <a:gd name="connsiteX31" fmla="*/ 1743718 w 5741575"/>
              <a:gd name="connsiteY31" fmla="*/ 584327 h 955271"/>
              <a:gd name="connsiteX32" fmla="*/ 1873778 w 5741575"/>
              <a:gd name="connsiteY32" fmla="*/ 530130 h 955271"/>
              <a:gd name="connsiteX33" fmla="*/ 1988411 w 5741575"/>
              <a:gd name="connsiteY33" fmla="*/ 491599 h 955271"/>
              <a:gd name="connsiteX34" fmla="*/ 2085507 w 5741575"/>
              <a:gd name="connsiteY34" fmla="*/ 498527 h 955271"/>
              <a:gd name="connsiteX35" fmla="*/ 2090767 w 5741575"/>
              <a:gd name="connsiteY35" fmla="*/ 490616 h 955271"/>
              <a:gd name="connsiteX36" fmla="*/ 2151143 w 5741575"/>
              <a:gd name="connsiteY36" fmla="*/ 478332 h 955271"/>
              <a:gd name="connsiteX37" fmla="*/ 2378710 w 5741575"/>
              <a:gd name="connsiteY37" fmla="*/ 477570 h 955271"/>
              <a:gd name="connsiteX38" fmla="*/ 2496256 w 5741575"/>
              <a:gd name="connsiteY38" fmla="*/ 452396 h 955271"/>
              <a:gd name="connsiteX39" fmla="*/ 2535387 w 5741575"/>
              <a:gd name="connsiteY39" fmla="*/ 436645 h 955271"/>
              <a:gd name="connsiteX40" fmla="*/ 2601109 w 5741575"/>
              <a:gd name="connsiteY40" fmla="*/ 410678 h 955271"/>
              <a:gd name="connsiteX41" fmla="*/ 2643855 w 5741575"/>
              <a:gd name="connsiteY41" fmla="*/ 374482 h 955271"/>
              <a:gd name="connsiteX42" fmla="*/ 2657726 w 5741575"/>
              <a:gd name="connsiteY42" fmla="*/ 365841 h 955271"/>
              <a:gd name="connsiteX43" fmla="*/ 2687125 w 5741575"/>
              <a:gd name="connsiteY43" fmla="*/ 366820 h 955271"/>
              <a:gd name="connsiteX44" fmla="*/ 2697479 w 5741575"/>
              <a:gd name="connsiteY44" fmla="*/ 361430 h 955271"/>
              <a:gd name="connsiteX45" fmla="*/ 2701547 w 5741575"/>
              <a:gd name="connsiteY45" fmla="*/ 361545 h 955271"/>
              <a:gd name="connsiteX46" fmla="*/ 2711054 w 5741575"/>
              <a:gd name="connsiteY46" fmla="*/ 360597 h 955271"/>
              <a:gd name="connsiteX47" fmla="*/ 2710438 w 5741575"/>
              <a:gd name="connsiteY47" fmla="*/ 366958 h 955271"/>
              <a:gd name="connsiteX48" fmla="*/ 2722936 w 5741575"/>
              <a:gd name="connsiteY48" fmla="*/ 377633 h 955271"/>
              <a:gd name="connsiteX49" fmla="*/ 2777227 w 5741575"/>
              <a:gd name="connsiteY49" fmla="*/ 368972 h 955271"/>
              <a:gd name="connsiteX50" fmla="*/ 2779510 w 5741575"/>
              <a:gd name="connsiteY50" fmla="*/ 361652 h 955271"/>
              <a:gd name="connsiteX51" fmla="*/ 2786278 w 5741575"/>
              <a:gd name="connsiteY51" fmla="*/ 359869 h 955271"/>
              <a:gd name="connsiteX52" fmla="*/ 2792101 w 5741575"/>
              <a:gd name="connsiteY52" fmla="*/ 365927 h 955271"/>
              <a:gd name="connsiteX53" fmla="*/ 2885545 w 5741575"/>
              <a:gd name="connsiteY53" fmla="*/ 372818 h 955271"/>
              <a:gd name="connsiteX54" fmla="*/ 3009558 w 5741575"/>
              <a:gd name="connsiteY54" fmla="*/ 370573 h 955271"/>
              <a:gd name="connsiteX55" fmla="*/ 3095010 w 5741575"/>
              <a:gd name="connsiteY55" fmla="*/ 332454 h 955271"/>
              <a:gd name="connsiteX56" fmla="*/ 3103742 w 5741575"/>
              <a:gd name="connsiteY56" fmla="*/ 337974 h 955271"/>
              <a:gd name="connsiteX57" fmla="*/ 3165093 w 5741575"/>
              <a:gd name="connsiteY57" fmla="*/ 329459 h 955271"/>
              <a:gd name="connsiteX58" fmla="*/ 3373785 w 5741575"/>
              <a:gd name="connsiteY58" fmla="*/ 255680 h 955271"/>
              <a:gd name="connsiteX59" fmla="*/ 3493851 w 5741575"/>
              <a:gd name="connsiteY59" fmla="*/ 240255 h 955271"/>
              <a:gd name="connsiteX60" fmla="*/ 3537470 w 5741575"/>
              <a:gd name="connsiteY60" fmla="*/ 241867 h 955271"/>
              <a:gd name="connsiteX61" fmla="*/ 3610489 w 5741575"/>
              <a:gd name="connsiteY61" fmla="*/ 244128 h 955271"/>
              <a:gd name="connsiteX62" fmla="*/ 3667539 w 5741575"/>
              <a:gd name="connsiteY62" fmla="*/ 263271 h 955271"/>
              <a:gd name="connsiteX63" fmla="*/ 3727614 w 5741575"/>
              <a:gd name="connsiteY63" fmla="*/ 258245 h 955271"/>
              <a:gd name="connsiteX64" fmla="*/ 3738369 w 5741575"/>
              <a:gd name="connsiteY64" fmla="*/ 234506 h 955271"/>
              <a:gd name="connsiteX65" fmla="*/ 3803670 w 5741575"/>
              <a:gd name="connsiteY65" fmla="*/ 236457 h 955271"/>
              <a:gd name="connsiteX66" fmla="*/ 3903080 w 5741575"/>
              <a:gd name="connsiteY66" fmla="*/ 241890 h 955271"/>
              <a:gd name="connsiteX67" fmla="*/ 4114838 w 5741575"/>
              <a:gd name="connsiteY67" fmla="*/ 238165 h 955271"/>
              <a:gd name="connsiteX68" fmla="*/ 4271023 w 5741575"/>
              <a:gd name="connsiteY68" fmla="*/ 241959 h 955271"/>
              <a:gd name="connsiteX69" fmla="*/ 4367397 w 5741575"/>
              <a:gd name="connsiteY69" fmla="*/ 271442 h 955271"/>
              <a:gd name="connsiteX70" fmla="*/ 4495366 w 5741575"/>
              <a:gd name="connsiteY70" fmla="*/ 271618 h 955271"/>
              <a:gd name="connsiteX71" fmla="*/ 4517347 w 5741575"/>
              <a:gd name="connsiteY71" fmla="*/ 275639 h 955271"/>
              <a:gd name="connsiteX72" fmla="*/ 4546116 w 5741575"/>
              <a:gd name="connsiteY72" fmla="*/ 268568 h 955271"/>
              <a:gd name="connsiteX73" fmla="*/ 4661259 w 5741575"/>
              <a:gd name="connsiteY73" fmla="*/ 238966 h 955271"/>
              <a:gd name="connsiteX74" fmla="*/ 4750403 w 5741575"/>
              <a:gd name="connsiteY74" fmla="*/ 204364 h 955271"/>
              <a:gd name="connsiteX75" fmla="*/ 4867614 w 5741575"/>
              <a:gd name="connsiteY75" fmla="*/ 208668 h 955271"/>
              <a:gd name="connsiteX76" fmla="*/ 4937036 w 5741575"/>
              <a:gd name="connsiteY76" fmla="*/ 195446 h 955271"/>
              <a:gd name="connsiteX77" fmla="*/ 5047626 w 5741575"/>
              <a:gd name="connsiteY77" fmla="*/ 149604 h 955271"/>
              <a:gd name="connsiteX78" fmla="*/ 5200247 w 5741575"/>
              <a:gd name="connsiteY78" fmla="*/ 142695 h 955271"/>
              <a:gd name="connsiteX79" fmla="*/ 5235691 w 5741575"/>
              <a:gd name="connsiteY79" fmla="*/ 173330 h 955271"/>
              <a:gd name="connsiteX80" fmla="*/ 5280133 w 5741575"/>
              <a:gd name="connsiteY80" fmla="*/ 189342 h 955271"/>
              <a:gd name="connsiteX81" fmla="*/ 5291963 w 5741575"/>
              <a:gd name="connsiteY81" fmla="*/ 139446 h 955271"/>
              <a:gd name="connsiteX82" fmla="*/ 5418472 w 5741575"/>
              <a:gd name="connsiteY82" fmla="*/ 89163 h 955271"/>
              <a:gd name="connsiteX83" fmla="*/ 5482354 w 5741575"/>
              <a:gd name="connsiteY83" fmla="*/ 69470 h 955271"/>
              <a:gd name="connsiteX84" fmla="*/ 5583280 w 5741575"/>
              <a:gd name="connsiteY84" fmla="*/ 49787 h 955271"/>
              <a:gd name="connsiteX85" fmla="*/ 5613766 w 5741575"/>
              <a:gd name="connsiteY85" fmla="*/ 41855 h 955271"/>
              <a:gd name="connsiteX86" fmla="*/ 5684952 w 5741575"/>
              <a:gd name="connsiteY86" fmla="*/ 26088 h 955271"/>
              <a:gd name="connsiteX87" fmla="*/ 5741575 w 5741575"/>
              <a:gd name="connsiteY87" fmla="*/ 0 h 955271"/>
              <a:gd name="connsiteX0" fmla="*/ 5741575 w 5741575"/>
              <a:gd name="connsiteY0" fmla="*/ 0 h 955271"/>
              <a:gd name="connsiteX1" fmla="*/ 5741575 w 5741575"/>
              <a:gd name="connsiteY1" fmla="*/ 955271 h 955271"/>
              <a:gd name="connsiteX2" fmla="*/ 0 w 5741575"/>
              <a:gd name="connsiteY2" fmla="*/ 955271 h 955271"/>
              <a:gd name="connsiteX3" fmla="*/ 8558 w 5741575"/>
              <a:gd name="connsiteY3" fmla="*/ 953971 h 955271"/>
              <a:gd name="connsiteX4" fmla="*/ 16894 w 5741575"/>
              <a:gd name="connsiteY4" fmla="*/ 953847 h 955271"/>
              <a:gd name="connsiteX5" fmla="*/ 28156 w 5741575"/>
              <a:gd name="connsiteY5" fmla="*/ 951374 h 955271"/>
              <a:gd name="connsiteX6" fmla="*/ 28293 w 5741575"/>
              <a:gd name="connsiteY6" fmla="*/ 950971 h 955271"/>
              <a:gd name="connsiteX7" fmla="*/ 59229 w 5741575"/>
              <a:gd name="connsiteY7" fmla="*/ 903950 h 955271"/>
              <a:gd name="connsiteX8" fmla="*/ 148657 w 5741575"/>
              <a:gd name="connsiteY8" fmla="*/ 898134 h 955271"/>
              <a:gd name="connsiteX9" fmla="*/ 174554 w 5741575"/>
              <a:gd name="connsiteY9" fmla="*/ 886351 h 955271"/>
              <a:gd name="connsiteX10" fmla="*/ 187633 w 5741575"/>
              <a:gd name="connsiteY10" fmla="*/ 878226 h 955271"/>
              <a:gd name="connsiteX11" fmla="*/ 187961 w 5741575"/>
              <a:gd name="connsiteY11" fmla="*/ 876538 h 955271"/>
              <a:gd name="connsiteX12" fmla="*/ 240501 w 5741575"/>
              <a:gd name="connsiteY12" fmla="*/ 873150 h 955271"/>
              <a:gd name="connsiteX13" fmla="*/ 246345 w 5741575"/>
              <a:gd name="connsiteY13" fmla="*/ 869942 h 955271"/>
              <a:gd name="connsiteX14" fmla="*/ 306299 w 5741575"/>
              <a:gd name="connsiteY14" fmla="*/ 873609 h 955271"/>
              <a:gd name="connsiteX15" fmla="*/ 331571 w 5741575"/>
              <a:gd name="connsiteY15" fmla="*/ 869866 h 955271"/>
              <a:gd name="connsiteX16" fmla="*/ 384157 w 5741575"/>
              <a:gd name="connsiteY16" fmla="*/ 867971 h 955271"/>
              <a:gd name="connsiteX17" fmla="*/ 477637 w 5741575"/>
              <a:gd name="connsiteY17" fmla="*/ 870334 h 955271"/>
              <a:gd name="connsiteX18" fmla="*/ 570239 w 5741575"/>
              <a:gd name="connsiteY18" fmla="*/ 829596 h 955271"/>
              <a:gd name="connsiteX19" fmla="*/ 772070 w 5741575"/>
              <a:gd name="connsiteY19" fmla="*/ 820296 h 955271"/>
              <a:gd name="connsiteX20" fmla="*/ 948872 w 5741575"/>
              <a:gd name="connsiteY20" fmla="*/ 772201 h 955271"/>
              <a:gd name="connsiteX21" fmla="*/ 1127089 w 5741575"/>
              <a:gd name="connsiteY21" fmla="*/ 746926 h 955271"/>
              <a:gd name="connsiteX22" fmla="*/ 1306771 w 5741575"/>
              <a:gd name="connsiteY22" fmla="*/ 717936 h 955271"/>
              <a:gd name="connsiteX23" fmla="*/ 1374314 w 5741575"/>
              <a:gd name="connsiteY23" fmla="*/ 688815 h 955271"/>
              <a:gd name="connsiteX24" fmla="*/ 1378034 w 5741575"/>
              <a:gd name="connsiteY24" fmla="*/ 685842 h 955271"/>
              <a:gd name="connsiteX25" fmla="*/ 1395604 w 5741575"/>
              <a:gd name="connsiteY25" fmla="*/ 680460 h 955271"/>
              <a:gd name="connsiteX26" fmla="*/ 1397206 w 5741575"/>
              <a:gd name="connsiteY26" fmla="*/ 670793 h 955271"/>
              <a:gd name="connsiteX27" fmla="*/ 1494753 w 5741575"/>
              <a:gd name="connsiteY27" fmla="*/ 644686 h 955271"/>
              <a:gd name="connsiteX28" fmla="*/ 1616217 w 5741575"/>
              <a:gd name="connsiteY28" fmla="*/ 622107 h 955271"/>
              <a:gd name="connsiteX29" fmla="*/ 1710928 w 5741575"/>
              <a:gd name="connsiteY29" fmla="*/ 600666 h 955271"/>
              <a:gd name="connsiteX30" fmla="*/ 1743718 w 5741575"/>
              <a:gd name="connsiteY30" fmla="*/ 584327 h 955271"/>
              <a:gd name="connsiteX31" fmla="*/ 1873778 w 5741575"/>
              <a:gd name="connsiteY31" fmla="*/ 530130 h 955271"/>
              <a:gd name="connsiteX32" fmla="*/ 1988411 w 5741575"/>
              <a:gd name="connsiteY32" fmla="*/ 491599 h 955271"/>
              <a:gd name="connsiteX33" fmla="*/ 2085507 w 5741575"/>
              <a:gd name="connsiteY33" fmla="*/ 498527 h 955271"/>
              <a:gd name="connsiteX34" fmla="*/ 2090767 w 5741575"/>
              <a:gd name="connsiteY34" fmla="*/ 490616 h 955271"/>
              <a:gd name="connsiteX35" fmla="*/ 2151143 w 5741575"/>
              <a:gd name="connsiteY35" fmla="*/ 478332 h 955271"/>
              <a:gd name="connsiteX36" fmla="*/ 2378710 w 5741575"/>
              <a:gd name="connsiteY36" fmla="*/ 477570 h 955271"/>
              <a:gd name="connsiteX37" fmla="*/ 2496256 w 5741575"/>
              <a:gd name="connsiteY37" fmla="*/ 452396 h 955271"/>
              <a:gd name="connsiteX38" fmla="*/ 2535387 w 5741575"/>
              <a:gd name="connsiteY38" fmla="*/ 436645 h 955271"/>
              <a:gd name="connsiteX39" fmla="*/ 2601109 w 5741575"/>
              <a:gd name="connsiteY39" fmla="*/ 410678 h 955271"/>
              <a:gd name="connsiteX40" fmla="*/ 2643855 w 5741575"/>
              <a:gd name="connsiteY40" fmla="*/ 374482 h 955271"/>
              <a:gd name="connsiteX41" fmla="*/ 2657726 w 5741575"/>
              <a:gd name="connsiteY41" fmla="*/ 365841 h 955271"/>
              <a:gd name="connsiteX42" fmla="*/ 2687125 w 5741575"/>
              <a:gd name="connsiteY42" fmla="*/ 366820 h 955271"/>
              <a:gd name="connsiteX43" fmla="*/ 2697479 w 5741575"/>
              <a:gd name="connsiteY43" fmla="*/ 361430 h 955271"/>
              <a:gd name="connsiteX44" fmla="*/ 2701547 w 5741575"/>
              <a:gd name="connsiteY44" fmla="*/ 361545 h 955271"/>
              <a:gd name="connsiteX45" fmla="*/ 2711054 w 5741575"/>
              <a:gd name="connsiteY45" fmla="*/ 360597 h 955271"/>
              <a:gd name="connsiteX46" fmla="*/ 2710438 w 5741575"/>
              <a:gd name="connsiteY46" fmla="*/ 366958 h 955271"/>
              <a:gd name="connsiteX47" fmla="*/ 2722936 w 5741575"/>
              <a:gd name="connsiteY47" fmla="*/ 377633 h 955271"/>
              <a:gd name="connsiteX48" fmla="*/ 2777227 w 5741575"/>
              <a:gd name="connsiteY48" fmla="*/ 368972 h 955271"/>
              <a:gd name="connsiteX49" fmla="*/ 2779510 w 5741575"/>
              <a:gd name="connsiteY49" fmla="*/ 361652 h 955271"/>
              <a:gd name="connsiteX50" fmla="*/ 2786278 w 5741575"/>
              <a:gd name="connsiteY50" fmla="*/ 359869 h 955271"/>
              <a:gd name="connsiteX51" fmla="*/ 2792101 w 5741575"/>
              <a:gd name="connsiteY51" fmla="*/ 365927 h 955271"/>
              <a:gd name="connsiteX52" fmla="*/ 2885545 w 5741575"/>
              <a:gd name="connsiteY52" fmla="*/ 372818 h 955271"/>
              <a:gd name="connsiteX53" fmla="*/ 3009558 w 5741575"/>
              <a:gd name="connsiteY53" fmla="*/ 370573 h 955271"/>
              <a:gd name="connsiteX54" fmla="*/ 3095010 w 5741575"/>
              <a:gd name="connsiteY54" fmla="*/ 332454 h 955271"/>
              <a:gd name="connsiteX55" fmla="*/ 3103742 w 5741575"/>
              <a:gd name="connsiteY55" fmla="*/ 337974 h 955271"/>
              <a:gd name="connsiteX56" fmla="*/ 3165093 w 5741575"/>
              <a:gd name="connsiteY56" fmla="*/ 329459 h 955271"/>
              <a:gd name="connsiteX57" fmla="*/ 3373785 w 5741575"/>
              <a:gd name="connsiteY57" fmla="*/ 255680 h 955271"/>
              <a:gd name="connsiteX58" fmla="*/ 3493851 w 5741575"/>
              <a:gd name="connsiteY58" fmla="*/ 240255 h 955271"/>
              <a:gd name="connsiteX59" fmla="*/ 3537470 w 5741575"/>
              <a:gd name="connsiteY59" fmla="*/ 241867 h 955271"/>
              <a:gd name="connsiteX60" fmla="*/ 3610489 w 5741575"/>
              <a:gd name="connsiteY60" fmla="*/ 244128 h 955271"/>
              <a:gd name="connsiteX61" fmla="*/ 3667539 w 5741575"/>
              <a:gd name="connsiteY61" fmla="*/ 263271 h 955271"/>
              <a:gd name="connsiteX62" fmla="*/ 3727614 w 5741575"/>
              <a:gd name="connsiteY62" fmla="*/ 258245 h 955271"/>
              <a:gd name="connsiteX63" fmla="*/ 3738369 w 5741575"/>
              <a:gd name="connsiteY63" fmla="*/ 234506 h 955271"/>
              <a:gd name="connsiteX64" fmla="*/ 3803670 w 5741575"/>
              <a:gd name="connsiteY64" fmla="*/ 236457 h 955271"/>
              <a:gd name="connsiteX65" fmla="*/ 3903080 w 5741575"/>
              <a:gd name="connsiteY65" fmla="*/ 241890 h 955271"/>
              <a:gd name="connsiteX66" fmla="*/ 4114838 w 5741575"/>
              <a:gd name="connsiteY66" fmla="*/ 238165 h 955271"/>
              <a:gd name="connsiteX67" fmla="*/ 4271023 w 5741575"/>
              <a:gd name="connsiteY67" fmla="*/ 241959 h 955271"/>
              <a:gd name="connsiteX68" fmla="*/ 4367397 w 5741575"/>
              <a:gd name="connsiteY68" fmla="*/ 271442 h 955271"/>
              <a:gd name="connsiteX69" fmla="*/ 4495366 w 5741575"/>
              <a:gd name="connsiteY69" fmla="*/ 271618 h 955271"/>
              <a:gd name="connsiteX70" fmla="*/ 4517347 w 5741575"/>
              <a:gd name="connsiteY70" fmla="*/ 275639 h 955271"/>
              <a:gd name="connsiteX71" fmla="*/ 4546116 w 5741575"/>
              <a:gd name="connsiteY71" fmla="*/ 268568 h 955271"/>
              <a:gd name="connsiteX72" fmla="*/ 4661259 w 5741575"/>
              <a:gd name="connsiteY72" fmla="*/ 238966 h 955271"/>
              <a:gd name="connsiteX73" fmla="*/ 4750403 w 5741575"/>
              <a:gd name="connsiteY73" fmla="*/ 204364 h 955271"/>
              <a:gd name="connsiteX74" fmla="*/ 4867614 w 5741575"/>
              <a:gd name="connsiteY74" fmla="*/ 208668 h 955271"/>
              <a:gd name="connsiteX75" fmla="*/ 4937036 w 5741575"/>
              <a:gd name="connsiteY75" fmla="*/ 195446 h 955271"/>
              <a:gd name="connsiteX76" fmla="*/ 5047626 w 5741575"/>
              <a:gd name="connsiteY76" fmla="*/ 149604 h 955271"/>
              <a:gd name="connsiteX77" fmla="*/ 5200247 w 5741575"/>
              <a:gd name="connsiteY77" fmla="*/ 142695 h 955271"/>
              <a:gd name="connsiteX78" fmla="*/ 5235691 w 5741575"/>
              <a:gd name="connsiteY78" fmla="*/ 173330 h 955271"/>
              <a:gd name="connsiteX79" fmla="*/ 5280133 w 5741575"/>
              <a:gd name="connsiteY79" fmla="*/ 189342 h 955271"/>
              <a:gd name="connsiteX80" fmla="*/ 5291963 w 5741575"/>
              <a:gd name="connsiteY80" fmla="*/ 139446 h 955271"/>
              <a:gd name="connsiteX81" fmla="*/ 5418472 w 5741575"/>
              <a:gd name="connsiteY81" fmla="*/ 89163 h 955271"/>
              <a:gd name="connsiteX82" fmla="*/ 5482354 w 5741575"/>
              <a:gd name="connsiteY82" fmla="*/ 69470 h 955271"/>
              <a:gd name="connsiteX83" fmla="*/ 5583280 w 5741575"/>
              <a:gd name="connsiteY83" fmla="*/ 49787 h 955271"/>
              <a:gd name="connsiteX84" fmla="*/ 5613766 w 5741575"/>
              <a:gd name="connsiteY84" fmla="*/ 41855 h 955271"/>
              <a:gd name="connsiteX85" fmla="*/ 5684952 w 5741575"/>
              <a:gd name="connsiteY85" fmla="*/ 26088 h 955271"/>
              <a:gd name="connsiteX86" fmla="*/ 5741575 w 5741575"/>
              <a:gd name="connsiteY86" fmla="*/ 0 h 955271"/>
              <a:gd name="connsiteX0" fmla="*/ 5741575 w 5741575"/>
              <a:gd name="connsiteY0" fmla="*/ 0 h 955271"/>
              <a:gd name="connsiteX1" fmla="*/ 5741575 w 5741575"/>
              <a:gd name="connsiteY1" fmla="*/ 955271 h 955271"/>
              <a:gd name="connsiteX2" fmla="*/ 0 w 5741575"/>
              <a:gd name="connsiteY2" fmla="*/ 955271 h 955271"/>
              <a:gd name="connsiteX3" fmla="*/ 8558 w 5741575"/>
              <a:gd name="connsiteY3" fmla="*/ 953971 h 955271"/>
              <a:gd name="connsiteX4" fmla="*/ 16894 w 5741575"/>
              <a:gd name="connsiteY4" fmla="*/ 953847 h 955271"/>
              <a:gd name="connsiteX5" fmla="*/ 28156 w 5741575"/>
              <a:gd name="connsiteY5" fmla="*/ 951374 h 955271"/>
              <a:gd name="connsiteX6" fmla="*/ 28293 w 5741575"/>
              <a:gd name="connsiteY6" fmla="*/ 950971 h 955271"/>
              <a:gd name="connsiteX7" fmla="*/ 59229 w 5741575"/>
              <a:gd name="connsiteY7" fmla="*/ 903950 h 955271"/>
              <a:gd name="connsiteX8" fmla="*/ 148657 w 5741575"/>
              <a:gd name="connsiteY8" fmla="*/ 898134 h 955271"/>
              <a:gd name="connsiteX9" fmla="*/ 174554 w 5741575"/>
              <a:gd name="connsiteY9" fmla="*/ 886351 h 955271"/>
              <a:gd name="connsiteX10" fmla="*/ 187633 w 5741575"/>
              <a:gd name="connsiteY10" fmla="*/ 878226 h 955271"/>
              <a:gd name="connsiteX11" fmla="*/ 187961 w 5741575"/>
              <a:gd name="connsiteY11" fmla="*/ 876538 h 955271"/>
              <a:gd name="connsiteX12" fmla="*/ 240501 w 5741575"/>
              <a:gd name="connsiteY12" fmla="*/ 873150 h 955271"/>
              <a:gd name="connsiteX13" fmla="*/ 246345 w 5741575"/>
              <a:gd name="connsiteY13" fmla="*/ 869942 h 955271"/>
              <a:gd name="connsiteX14" fmla="*/ 306299 w 5741575"/>
              <a:gd name="connsiteY14" fmla="*/ 873609 h 955271"/>
              <a:gd name="connsiteX15" fmla="*/ 331571 w 5741575"/>
              <a:gd name="connsiteY15" fmla="*/ 869866 h 955271"/>
              <a:gd name="connsiteX16" fmla="*/ 384157 w 5741575"/>
              <a:gd name="connsiteY16" fmla="*/ 867971 h 955271"/>
              <a:gd name="connsiteX17" fmla="*/ 477637 w 5741575"/>
              <a:gd name="connsiteY17" fmla="*/ 870334 h 955271"/>
              <a:gd name="connsiteX18" fmla="*/ 570239 w 5741575"/>
              <a:gd name="connsiteY18" fmla="*/ 829596 h 955271"/>
              <a:gd name="connsiteX19" fmla="*/ 772070 w 5741575"/>
              <a:gd name="connsiteY19" fmla="*/ 820296 h 955271"/>
              <a:gd name="connsiteX20" fmla="*/ 948872 w 5741575"/>
              <a:gd name="connsiteY20" fmla="*/ 772201 h 955271"/>
              <a:gd name="connsiteX21" fmla="*/ 1127089 w 5741575"/>
              <a:gd name="connsiteY21" fmla="*/ 746926 h 955271"/>
              <a:gd name="connsiteX22" fmla="*/ 1226314 w 5741575"/>
              <a:gd name="connsiteY22" fmla="*/ 722473 h 955271"/>
              <a:gd name="connsiteX23" fmla="*/ 1374314 w 5741575"/>
              <a:gd name="connsiteY23" fmla="*/ 688815 h 955271"/>
              <a:gd name="connsiteX24" fmla="*/ 1378034 w 5741575"/>
              <a:gd name="connsiteY24" fmla="*/ 685842 h 955271"/>
              <a:gd name="connsiteX25" fmla="*/ 1395604 w 5741575"/>
              <a:gd name="connsiteY25" fmla="*/ 680460 h 955271"/>
              <a:gd name="connsiteX26" fmla="*/ 1397206 w 5741575"/>
              <a:gd name="connsiteY26" fmla="*/ 670793 h 955271"/>
              <a:gd name="connsiteX27" fmla="*/ 1494753 w 5741575"/>
              <a:gd name="connsiteY27" fmla="*/ 644686 h 955271"/>
              <a:gd name="connsiteX28" fmla="*/ 1616217 w 5741575"/>
              <a:gd name="connsiteY28" fmla="*/ 622107 h 955271"/>
              <a:gd name="connsiteX29" fmla="*/ 1710928 w 5741575"/>
              <a:gd name="connsiteY29" fmla="*/ 600666 h 955271"/>
              <a:gd name="connsiteX30" fmla="*/ 1743718 w 5741575"/>
              <a:gd name="connsiteY30" fmla="*/ 584327 h 955271"/>
              <a:gd name="connsiteX31" fmla="*/ 1873778 w 5741575"/>
              <a:gd name="connsiteY31" fmla="*/ 530130 h 955271"/>
              <a:gd name="connsiteX32" fmla="*/ 1988411 w 5741575"/>
              <a:gd name="connsiteY32" fmla="*/ 491599 h 955271"/>
              <a:gd name="connsiteX33" fmla="*/ 2085507 w 5741575"/>
              <a:gd name="connsiteY33" fmla="*/ 498527 h 955271"/>
              <a:gd name="connsiteX34" fmla="*/ 2090767 w 5741575"/>
              <a:gd name="connsiteY34" fmla="*/ 490616 h 955271"/>
              <a:gd name="connsiteX35" fmla="*/ 2151143 w 5741575"/>
              <a:gd name="connsiteY35" fmla="*/ 478332 h 955271"/>
              <a:gd name="connsiteX36" fmla="*/ 2378710 w 5741575"/>
              <a:gd name="connsiteY36" fmla="*/ 477570 h 955271"/>
              <a:gd name="connsiteX37" fmla="*/ 2496256 w 5741575"/>
              <a:gd name="connsiteY37" fmla="*/ 452396 h 955271"/>
              <a:gd name="connsiteX38" fmla="*/ 2535387 w 5741575"/>
              <a:gd name="connsiteY38" fmla="*/ 436645 h 955271"/>
              <a:gd name="connsiteX39" fmla="*/ 2601109 w 5741575"/>
              <a:gd name="connsiteY39" fmla="*/ 410678 h 955271"/>
              <a:gd name="connsiteX40" fmla="*/ 2643855 w 5741575"/>
              <a:gd name="connsiteY40" fmla="*/ 374482 h 955271"/>
              <a:gd name="connsiteX41" fmla="*/ 2657726 w 5741575"/>
              <a:gd name="connsiteY41" fmla="*/ 365841 h 955271"/>
              <a:gd name="connsiteX42" fmla="*/ 2687125 w 5741575"/>
              <a:gd name="connsiteY42" fmla="*/ 366820 h 955271"/>
              <a:gd name="connsiteX43" fmla="*/ 2697479 w 5741575"/>
              <a:gd name="connsiteY43" fmla="*/ 361430 h 955271"/>
              <a:gd name="connsiteX44" fmla="*/ 2701547 w 5741575"/>
              <a:gd name="connsiteY44" fmla="*/ 361545 h 955271"/>
              <a:gd name="connsiteX45" fmla="*/ 2711054 w 5741575"/>
              <a:gd name="connsiteY45" fmla="*/ 360597 h 955271"/>
              <a:gd name="connsiteX46" fmla="*/ 2710438 w 5741575"/>
              <a:gd name="connsiteY46" fmla="*/ 366958 h 955271"/>
              <a:gd name="connsiteX47" fmla="*/ 2722936 w 5741575"/>
              <a:gd name="connsiteY47" fmla="*/ 377633 h 955271"/>
              <a:gd name="connsiteX48" fmla="*/ 2777227 w 5741575"/>
              <a:gd name="connsiteY48" fmla="*/ 368972 h 955271"/>
              <a:gd name="connsiteX49" fmla="*/ 2779510 w 5741575"/>
              <a:gd name="connsiteY49" fmla="*/ 361652 h 955271"/>
              <a:gd name="connsiteX50" fmla="*/ 2786278 w 5741575"/>
              <a:gd name="connsiteY50" fmla="*/ 359869 h 955271"/>
              <a:gd name="connsiteX51" fmla="*/ 2792101 w 5741575"/>
              <a:gd name="connsiteY51" fmla="*/ 365927 h 955271"/>
              <a:gd name="connsiteX52" fmla="*/ 2885545 w 5741575"/>
              <a:gd name="connsiteY52" fmla="*/ 372818 h 955271"/>
              <a:gd name="connsiteX53" fmla="*/ 3009558 w 5741575"/>
              <a:gd name="connsiteY53" fmla="*/ 370573 h 955271"/>
              <a:gd name="connsiteX54" fmla="*/ 3095010 w 5741575"/>
              <a:gd name="connsiteY54" fmla="*/ 332454 h 955271"/>
              <a:gd name="connsiteX55" fmla="*/ 3103742 w 5741575"/>
              <a:gd name="connsiteY55" fmla="*/ 337974 h 955271"/>
              <a:gd name="connsiteX56" fmla="*/ 3165093 w 5741575"/>
              <a:gd name="connsiteY56" fmla="*/ 329459 h 955271"/>
              <a:gd name="connsiteX57" fmla="*/ 3373785 w 5741575"/>
              <a:gd name="connsiteY57" fmla="*/ 255680 h 955271"/>
              <a:gd name="connsiteX58" fmla="*/ 3493851 w 5741575"/>
              <a:gd name="connsiteY58" fmla="*/ 240255 h 955271"/>
              <a:gd name="connsiteX59" fmla="*/ 3537470 w 5741575"/>
              <a:gd name="connsiteY59" fmla="*/ 241867 h 955271"/>
              <a:gd name="connsiteX60" fmla="*/ 3610489 w 5741575"/>
              <a:gd name="connsiteY60" fmla="*/ 244128 h 955271"/>
              <a:gd name="connsiteX61" fmla="*/ 3667539 w 5741575"/>
              <a:gd name="connsiteY61" fmla="*/ 263271 h 955271"/>
              <a:gd name="connsiteX62" fmla="*/ 3727614 w 5741575"/>
              <a:gd name="connsiteY62" fmla="*/ 258245 h 955271"/>
              <a:gd name="connsiteX63" fmla="*/ 3738369 w 5741575"/>
              <a:gd name="connsiteY63" fmla="*/ 234506 h 955271"/>
              <a:gd name="connsiteX64" fmla="*/ 3803670 w 5741575"/>
              <a:gd name="connsiteY64" fmla="*/ 236457 h 955271"/>
              <a:gd name="connsiteX65" fmla="*/ 3903080 w 5741575"/>
              <a:gd name="connsiteY65" fmla="*/ 241890 h 955271"/>
              <a:gd name="connsiteX66" fmla="*/ 4114838 w 5741575"/>
              <a:gd name="connsiteY66" fmla="*/ 238165 h 955271"/>
              <a:gd name="connsiteX67" fmla="*/ 4271023 w 5741575"/>
              <a:gd name="connsiteY67" fmla="*/ 241959 h 955271"/>
              <a:gd name="connsiteX68" fmla="*/ 4367397 w 5741575"/>
              <a:gd name="connsiteY68" fmla="*/ 271442 h 955271"/>
              <a:gd name="connsiteX69" fmla="*/ 4495366 w 5741575"/>
              <a:gd name="connsiteY69" fmla="*/ 271618 h 955271"/>
              <a:gd name="connsiteX70" fmla="*/ 4517347 w 5741575"/>
              <a:gd name="connsiteY70" fmla="*/ 275639 h 955271"/>
              <a:gd name="connsiteX71" fmla="*/ 4546116 w 5741575"/>
              <a:gd name="connsiteY71" fmla="*/ 268568 h 955271"/>
              <a:gd name="connsiteX72" fmla="*/ 4661259 w 5741575"/>
              <a:gd name="connsiteY72" fmla="*/ 238966 h 955271"/>
              <a:gd name="connsiteX73" fmla="*/ 4750403 w 5741575"/>
              <a:gd name="connsiteY73" fmla="*/ 204364 h 955271"/>
              <a:gd name="connsiteX74" fmla="*/ 4867614 w 5741575"/>
              <a:gd name="connsiteY74" fmla="*/ 208668 h 955271"/>
              <a:gd name="connsiteX75" fmla="*/ 4937036 w 5741575"/>
              <a:gd name="connsiteY75" fmla="*/ 195446 h 955271"/>
              <a:gd name="connsiteX76" fmla="*/ 5047626 w 5741575"/>
              <a:gd name="connsiteY76" fmla="*/ 149604 h 955271"/>
              <a:gd name="connsiteX77" fmla="*/ 5200247 w 5741575"/>
              <a:gd name="connsiteY77" fmla="*/ 142695 h 955271"/>
              <a:gd name="connsiteX78" fmla="*/ 5235691 w 5741575"/>
              <a:gd name="connsiteY78" fmla="*/ 173330 h 955271"/>
              <a:gd name="connsiteX79" fmla="*/ 5280133 w 5741575"/>
              <a:gd name="connsiteY79" fmla="*/ 189342 h 955271"/>
              <a:gd name="connsiteX80" fmla="*/ 5291963 w 5741575"/>
              <a:gd name="connsiteY80" fmla="*/ 139446 h 955271"/>
              <a:gd name="connsiteX81" fmla="*/ 5418472 w 5741575"/>
              <a:gd name="connsiteY81" fmla="*/ 89163 h 955271"/>
              <a:gd name="connsiteX82" fmla="*/ 5482354 w 5741575"/>
              <a:gd name="connsiteY82" fmla="*/ 69470 h 955271"/>
              <a:gd name="connsiteX83" fmla="*/ 5583280 w 5741575"/>
              <a:gd name="connsiteY83" fmla="*/ 49787 h 955271"/>
              <a:gd name="connsiteX84" fmla="*/ 5613766 w 5741575"/>
              <a:gd name="connsiteY84" fmla="*/ 41855 h 955271"/>
              <a:gd name="connsiteX85" fmla="*/ 5684952 w 5741575"/>
              <a:gd name="connsiteY85" fmla="*/ 26088 h 955271"/>
              <a:gd name="connsiteX86" fmla="*/ 5741575 w 5741575"/>
              <a:gd name="connsiteY86" fmla="*/ 0 h 955271"/>
              <a:gd name="connsiteX0" fmla="*/ 5741575 w 5741575"/>
              <a:gd name="connsiteY0" fmla="*/ 0 h 955271"/>
              <a:gd name="connsiteX1" fmla="*/ 5741575 w 5741575"/>
              <a:gd name="connsiteY1" fmla="*/ 955271 h 955271"/>
              <a:gd name="connsiteX2" fmla="*/ 0 w 5741575"/>
              <a:gd name="connsiteY2" fmla="*/ 955271 h 955271"/>
              <a:gd name="connsiteX3" fmla="*/ 8558 w 5741575"/>
              <a:gd name="connsiteY3" fmla="*/ 953971 h 955271"/>
              <a:gd name="connsiteX4" fmla="*/ 16894 w 5741575"/>
              <a:gd name="connsiteY4" fmla="*/ 953847 h 955271"/>
              <a:gd name="connsiteX5" fmla="*/ 28156 w 5741575"/>
              <a:gd name="connsiteY5" fmla="*/ 951374 h 955271"/>
              <a:gd name="connsiteX6" fmla="*/ 28293 w 5741575"/>
              <a:gd name="connsiteY6" fmla="*/ 950971 h 955271"/>
              <a:gd name="connsiteX7" fmla="*/ 59229 w 5741575"/>
              <a:gd name="connsiteY7" fmla="*/ 903950 h 955271"/>
              <a:gd name="connsiteX8" fmla="*/ 148657 w 5741575"/>
              <a:gd name="connsiteY8" fmla="*/ 898134 h 955271"/>
              <a:gd name="connsiteX9" fmla="*/ 174554 w 5741575"/>
              <a:gd name="connsiteY9" fmla="*/ 886351 h 955271"/>
              <a:gd name="connsiteX10" fmla="*/ 187633 w 5741575"/>
              <a:gd name="connsiteY10" fmla="*/ 878226 h 955271"/>
              <a:gd name="connsiteX11" fmla="*/ 187961 w 5741575"/>
              <a:gd name="connsiteY11" fmla="*/ 876538 h 955271"/>
              <a:gd name="connsiteX12" fmla="*/ 240501 w 5741575"/>
              <a:gd name="connsiteY12" fmla="*/ 873150 h 955271"/>
              <a:gd name="connsiteX13" fmla="*/ 246345 w 5741575"/>
              <a:gd name="connsiteY13" fmla="*/ 869942 h 955271"/>
              <a:gd name="connsiteX14" fmla="*/ 306299 w 5741575"/>
              <a:gd name="connsiteY14" fmla="*/ 873609 h 955271"/>
              <a:gd name="connsiteX15" fmla="*/ 331571 w 5741575"/>
              <a:gd name="connsiteY15" fmla="*/ 869866 h 955271"/>
              <a:gd name="connsiteX16" fmla="*/ 384157 w 5741575"/>
              <a:gd name="connsiteY16" fmla="*/ 867971 h 955271"/>
              <a:gd name="connsiteX17" fmla="*/ 477637 w 5741575"/>
              <a:gd name="connsiteY17" fmla="*/ 870334 h 955271"/>
              <a:gd name="connsiteX18" fmla="*/ 570239 w 5741575"/>
              <a:gd name="connsiteY18" fmla="*/ 829596 h 955271"/>
              <a:gd name="connsiteX19" fmla="*/ 772070 w 5741575"/>
              <a:gd name="connsiteY19" fmla="*/ 820296 h 955271"/>
              <a:gd name="connsiteX20" fmla="*/ 948872 w 5741575"/>
              <a:gd name="connsiteY20" fmla="*/ 772201 h 955271"/>
              <a:gd name="connsiteX21" fmla="*/ 1127089 w 5741575"/>
              <a:gd name="connsiteY21" fmla="*/ 746926 h 955271"/>
              <a:gd name="connsiteX22" fmla="*/ 1226314 w 5741575"/>
              <a:gd name="connsiteY22" fmla="*/ 722473 h 955271"/>
              <a:gd name="connsiteX23" fmla="*/ 1374314 w 5741575"/>
              <a:gd name="connsiteY23" fmla="*/ 688815 h 955271"/>
              <a:gd name="connsiteX24" fmla="*/ 1378034 w 5741575"/>
              <a:gd name="connsiteY24" fmla="*/ 685842 h 955271"/>
              <a:gd name="connsiteX25" fmla="*/ 1395604 w 5741575"/>
              <a:gd name="connsiteY25" fmla="*/ 680460 h 955271"/>
              <a:gd name="connsiteX26" fmla="*/ 1412292 w 5741575"/>
              <a:gd name="connsiteY26" fmla="*/ 670793 h 955271"/>
              <a:gd name="connsiteX27" fmla="*/ 1494753 w 5741575"/>
              <a:gd name="connsiteY27" fmla="*/ 644686 h 955271"/>
              <a:gd name="connsiteX28" fmla="*/ 1616217 w 5741575"/>
              <a:gd name="connsiteY28" fmla="*/ 622107 h 955271"/>
              <a:gd name="connsiteX29" fmla="*/ 1710928 w 5741575"/>
              <a:gd name="connsiteY29" fmla="*/ 600666 h 955271"/>
              <a:gd name="connsiteX30" fmla="*/ 1743718 w 5741575"/>
              <a:gd name="connsiteY30" fmla="*/ 584327 h 955271"/>
              <a:gd name="connsiteX31" fmla="*/ 1873778 w 5741575"/>
              <a:gd name="connsiteY31" fmla="*/ 530130 h 955271"/>
              <a:gd name="connsiteX32" fmla="*/ 1988411 w 5741575"/>
              <a:gd name="connsiteY32" fmla="*/ 491599 h 955271"/>
              <a:gd name="connsiteX33" fmla="*/ 2085507 w 5741575"/>
              <a:gd name="connsiteY33" fmla="*/ 498527 h 955271"/>
              <a:gd name="connsiteX34" fmla="*/ 2090767 w 5741575"/>
              <a:gd name="connsiteY34" fmla="*/ 490616 h 955271"/>
              <a:gd name="connsiteX35" fmla="*/ 2151143 w 5741575"/>
              <a:gd name="connsiteY35" fmla="*/ 478332 h 955271"/>
              <a:gd name="connsiteX36" fmla="*/ 2378710 w 5741575"/>
              <a:gd name="connsiteY36" fmla="*/ 477570 h 955271"/>
              <a:gd name="connsiteX37" fmla="*/ 2496256 w 5741575"/>
              <a:gd name="connsiteY37" fmla="*/ 452396 h 955271"/>
              <a:gd name="connsiteX38" fmla="*/ 2535387 w 5741575"/>
              <a:gd name="connsiteY38" fmla="*/ 436645 h 955271"/>
              <a:gd name="connsiteX39" fmla="*/ 2601109 w 5741575"/>
              <a:gd name="connsiteY39" fmla="*/ 410678 h 955271"/>
              <a:gd name="connsiteX40" fmla="*/ 2643855 w 5741575"/>
              <a:gd name="connsiteY40" fmla="*/ 374482 h 955271"/>
              <a:gd name="connsiteX41" fmla="*/ 2657726 w 5741575"/>
              <a:gd name="connsiteY41" fmla="*/ 365841 h 955271"/>
              <a:gd name="connsiteX42" fmla="*/ 2687125 w 5741575"/>
              <a:gd name="connsiteY42" fmla="*/ 366820 h 955271"/>
              <a:gd name="connsiteX43" fmla="*/ 2697479 w 5741575"/>
              <a:gd name="connsiteY43" fmla="*/ 361430 h 955271"/>
              <a:gd name="connsiteX44" fmla="*/ 2701547 w 5741575"/>
              <a:gd name="connsiteY44" fmla="*/ 361545 h 955271"/>
              <a:gd name="connsiteX45" fmla="*/ 2711054 w 5741575"/>
              <a:gd name="connsiteY45" fmla="*/ 360597 h 955271"/>
              <a:gd name="connsiteX46" fmla="*/ 2710438 w 5741575"/>
              <a:gd name="connsiteY46" fmla="*/ 366958 h 955271"/>
              <a:gd name="connsiteX47" fmla="*/ 2722936 w 5741575"/>
              <a:gd name="connsiteY47" fmla="*/ 377633 h 955271"/>
              <a:gd name="connsiteX48" fmla="*/ 2777227 w 5741575"/>
              <a:gd name="connsiteY48" fmla="*/ 368972 h 955271"/>
              <a:gd name="connsiteX49" fmla="*/ 2779510 w 5741575"/>
              <a:gd name="connsiteY49" fmla="*/ 361652 h 955271"/>
              <a:gd name="connsiteX50" fmla="*/ 2786278 w 5741575"/>
              <a:gd name="connsiteY50" fmla="*/ 359869 h 955271"/>
              <a:gd name="connsiteX51" fmla="*/ 2792101 w 5741575"/>
              <a:gd name="connsiteY51" fmla="*/ 365927 h 955271"/>
              <a:gd name="connsiteX52" fmla="*/ 2885545 w 5741575"/>
              <a:gd name="connsiteY52" fmla="*/ 372818 h 955271"/>
              <a:gd name="connsiteX53" fmla="*/ 3009558 w 5741575"/>
              <a:gd name="connsiteY53" fmla="*/ 370573 h 955271"/>
              <a:gd name="connsiteX54" fmla="*/ 3095010 w 5741575"/>
              <a:gd name="connsiteY54" fmla="*/ 332454 h 955271"/>
              <a:gd name="connsiteX55" fmla="*/ 3103742 w 5741575"/>
              <a:gd name="connsiteY55" fmla="*/ 337974 h 955271"/>
              <a:gd name="connsiteX56" fmla="*/ 3165093 w 5741575"/>
              <a:gd name="connsiteY56" fmla="*/ 329459 h 955271"/>
              <a:gd name="connsiteX57" fmla="*/ 3373785 w 5741575"/>
              <a:gd name="connsiteY57" fmla="*/ 255680 h 955271"/>
              <a:gd name="connsiteX58" fmla="*/ 3493851 w 5741575"/>
              <a:gd name="connsiteY58" fmla="*/ 240255 h 955271"/>
              <a:gd name="connsiteX59" fmla="*/ 3537470 w 5741575"/>
              <a:gd name="connsiteY59" fmla="*/ 241867 h 955271"/>
              <a:gd name="connsiteX60" fmla="*/ 3610489 w 5741575"/>
              <a:gd name="connsiteY60" fmla="*/ 244128 h 955271"/>
              <a:gd name="connsiteX61" fmla="*/ 3667539 w 5741575"/>
              <a:gd name="connsiteY61" fmla="*/ 263271 h 955271"/>
              <a:gd name="connsiteX62" fmla="*/ 3727614 w 5741575"/>
              <a:gd name="connsiteY62" fmla="*/ 258245 h 955271"/>
              <a:gd name="connsiteX63" fmla="*/ 3738369 w 5741575"/>
              <a:gd name="connsiteY63" fmla="*/ 234506 h 955271"/>
              <a:gd name="connsiteX64" fmla="*/ 3803670 w 5741575"/>
              <a:gd name="connsiteY64" fmla="*/ 236457 h 955271"/>
              <a:gd name="connsiteX65" fmla="*/ 3903080 w 5741575"/>
              <a:gd name="connsiteY65" fmla="*/ 241890 h 955271"/>
              <a:gd name="connsiteX66" fmla="*/ 4114838 w 5741575"/>
              <a:gd name="connsiteY66" fmla="*/ 238165 h 955271"/>
              <a:gd name="connsiteX67" fmla="*/ 4271023 w 5741575"/>
              <a:gd name="connsiteY67" fmla="*/ 241959 h 955271"/>
              <a:gd name="connsiteX68" fmla="*/ 4367397 w 5741575"/>
              <a:gd name="connsiteY68" fmla="*/ 271442 h 955271"/>
              <a:gd name="connsiteX69" fmla="*/ 4495366 w 5741575"/>
              <a:gd name="connsiteY69" fmla="*/ 271618 h 955271"/>
              <a:gd name="connsiteX70" fmla="*/ 4517347 w 5741575"/>
              <a:gd name="connsiteY70" fmla="*/ 275639 h 955271"/>
              <a:gd name="connsiteX71" fmla="*/ 4546116 w 5741575"/>
              <a:gd name="connsiteY71" fmla="*/ 268568 h 955271"/>
              <a:gd name="connsiteX72" fmla="*/ 4661259 w 5741575"/>
              <a:gd name="connsiteY72" fmla="*/ 238966 h 955271"/>
              <a:gd name="connsiteX73" fmla="*/ 4750403 w 5741575"/>
              <a:gd name="connsiteY73" fmla="*/ 204364 h 955271"/>
              <a:gd name="connsiteX74" fmla="*/ 4867614 w 5741575"/>
              <a:gd name="connsiteY74" fmla="*/ 208668 h 955271"/>
              <a:gd name="connsiteX75" fmla="*/ 4937036 w 5741575"/>
              <a:gd name="connsiteY75" fmla="*/ 195446 h 955271"/>
              <a:gd name="connsiteX76" fmla="*/ 5047626 w 5741575"/>
              <a:gd name="connsiteY76" fmla="*/ 149604 h 955271"/>
              <a:gd name="connsiteX77" fmla="*/ 5200247 w 5741575"/>
              <a:gd name="connsiteY77" fmla="*/ 142695 h 955271"/>
              <a:gd name="connsiteX78" fmla="*/ 5235691 w 5741575"/>
              <a:gd name="connsiteY78" fmla="*/ 173330 h 955271"/>
              <a:gd name="connsiteX79" fmla="*/ 5280133 w 5741575"/>
              <a:gd name="connsiteY79" fmla="*/ 189342 h 955271"/>
              <a:gd name="connsiteX80" fmla="*/ 5291963 w 5741575"/>
              <a:gd name="connsiteY80" fmla="*/ 139446 h 955271"/>
              <a:gd name="connsiteX81" fmla="*/ 5418472 w 5741575"/>
              <a:gd name="connsiteY81" fmla="*/ 89163 h 955271"/>
              <a:gd name="connsiteX82" fmla="*/ 5482354 w 5741575"/>
              <a:gd name="connsiteY82" fmla="*/ 69470 h 955271"/>
              <a:gd name="connsiteX83" fmla="*/ 5583280 w 5741575"/>
              <a:gd name="connsiteY83" fmla="*/ 49787 h 955271"/>
              <a:gd name="connsiteX84" fmla="*/ 5613766 w 5741575"/>
              <a:gd name="connsiteY84" fmla="*/ 41855 h 955271"/>
              <a:gd name="connsiteX85" fmla="*/ 5684952 w 5741575"/>
              <a:gd name="connsiteY85" fmla="*/ 26088 h 955271"/>
              <a:gd name="connsiteX86" fmla="*/ 5741575 w 5741575"/>
              <a:gd name="connsiteY86" fmla="*/ 0 h 955271"/>
              <a:gd name="connsiteX0" fmla="*/ 5741575 w 5741575"/>
              <a:gd name="connsiteY0" fmla="*/ 0 h 955271"/>
              <a:gd name="connsiteX1" fmla="*/ 5741575 w 5741575"/>
              <a:gd name="connsiteY1" fmla="*/ 955271 h 955271"/>
              <a:gd name="connsiteX2" fmla="*/ 0 w 5741575"/>
              <a:gd name="connsiteY2" fmla="*/ 955271 h 955271"/>
              <a:gd name="connsiteX3" fmla="*/ 8558 w 5741575"/>
              <a:gd name="connsiteY3" fmla="*/ 953971 h 955271"/>
              <a:gd name="connsiteX4" fmla="*/ 16894 w 5741575"/>
              <a:gd name="connsiteY4" fmla="*/ 953847 h 955271"/>
              <a:gd name="connsiteX5" fmla="*/ 28156 w 5741575"/>
              <a:gd name="connsiteY5" fmla="*/ 951374 h 955271"/>
              <a:gd name="connsiteX6" fmla="*/ 28293 w 5741575"/>
              <a:gd name="connsiteY6" fmla="*/ 950971 h 955271"/>
              <a:gd name="connsiteX7" fmla="*/ 59229 w 5741575"/>
              <a:gd name="connsiteY7" fmla="*/ 903950 h 955271"/>
              <a:gd name="connsiteX8" fmla="*/ 148657 w 5741575"/>
              <a:gd name="connsiteY8" fmla="*/ 898134 h 955271"/>
              <a:gd name="connsiteX9" fmla="*/ 174554 w 5741575"/>
              <a:gd name="connsiteY9" fmla="*/ 886351 h 955271"/>
              <a:gd name="connsiteX10" fmla="*/ 187633 w 5741575"/>
              <a:gd name="connsiteY10" fmla="*/ 878226 h 955271"/>
              <a:gd name="connsiteX11" fmla="*/ 187961 w 5741575"/>
              <a:gd name="connsiteY11" fmla="*/ 876538 h 955271"/>
              <a:gd name="connsiteX12" fmla="*/ 240501 w 5741575"/>
              <a:gd name="connsiteY12" fmla="*/ 873150 h 955271"/>
              <a:gd name="connsiteX13" fmla="*/ 246345 w 5741575"/>
              <a:gd name="connsiteY13" fmla="*/ 869942 h 955271"/>
              <a:gd name="connsiteX14" fmla="*/ 306299 w 5741575"/>
              <a:gd name="connsiteY14" fmla="*/ 873609 h 955271"/>
              <a:gd name="connsiteX15" fmla="*/ 331571 w 5741575"/>
              <a:gd name="connsiteY15" fmla="*/ 869866 h 955271"/>
              <a:gd name="connsiteX16" fmla="*/ 384157 w 5741575"/>
              <a:gd name="connsiteY16" fmla="*/ 867971 h 955271"/>
              <a:gd name="connsiteX17" fmla="*/ 477637 w 5741575"/>
              <a:gd name="connsiteY17" fmla="*/ 870334 h 955271"/>
              <a:gd name="connsiteX18" fmla="*/ 570239 w 5741575"/>
              <a:gd name="connsiteY18" fmla="*/ 829596 h 955271"/>
              <a:gd name="connsiteX19" fmla="*/ 772070 w 5741575"/>
              <a:gd name="connsiteY19" fmla="*/ 820296 h 955271"/>
              <a:gd name="connsiteX20" fmla="*/ 948872 w 5741575"/>
              <a:gd name="connsiteY20" fmla="*/ 772201 h 955271"/>
              <a:gd name="connsiteX21" fmla="*/ 1127089 w 5741575"/>
              <a:gd name="connsiteY21" fmla="*/ 746926 h 955271"/>
              <a:gd name="connsiteX22" fmla="*/ 1226314 w 5741575"/>
              <a:gd name="connsiteY22" fmla="*/ 722473 h 955271"/>
              <a:gd name="connsiteX23" fmla="*/ 1374314 w 5741575"/>
              <a:gd name="connsiteY23" fmla="*/ 688815 h 955271"/>
              <a:gd name="connsiteX24" fmla="*/ 1378034 w 5741575"/>
              <a:gd name="connsiteY24" fmla="*/ 685842 h 955271"/>
              <a:gd name="connsiteX25" fmla="*/ 1435833 w 5741575"/>
              <a:gd name="connsiteY25" fmla="*/ 857427 h 955271"/>
              <a:gd name="connsiteX26" fmla="*/ 1412292 w 5741575"/>
              <a:gd name="connsiteY26" fmla="*/ 670793 h 955271"/>
              <a:gd name="connsiteX27" fmla="*/ 1494753 w 5741575"/>
              <a:gd name="connsiteY27" fmla="*/ 644686 h 955271"/>
              <a:gd name="connsiteX28" fmla="*/ 1616217 w 5741575"/>
              <a:gd name="connsiteY28" fmla="*/ 622107 h 955271"/>
              <a:gd name="connsiteX29" fmla="*/ 1710928 w 5741575"/>
              <a:gd name="connsiteY29" fmla="*/ 600666 h 955271"/>
              <a:gd name="connsiteX30" fmla="*/ 1743718 w 5741575"/>
              <a:gd name="connsiteY30" fmla="*/ 584327 h 955271"/>
              <a:gd name="connsiteX31" fmla="*/ 1873778 w 5741575"/>
              <a:gd name="connsiteY31" fmla="*/ 530130 h 955271"/>
              <a:gd name="connsiteX32" fmla="*/ 1988411 w 5741575"/>
              <a:gd name="connsiteY32" fmla="*/ 491599 h 955271"/>
              <a:gd name="connsiteX33" fmla="*/ 2085507 w 5741575"/>
              <a:gd name="connsiteY33" fmla="*/ 498527 h 955271"/>
              <a:gd name="connsiteX34" fmla="*/ 2090767 w 5741575"/>
              <a:gd name="connsiteY34" fmla="*/ 490616 h 955271"/>
              <a:gd name="connsiteX35" fmla="*/ 2151143 w 5741575"/>
              <a:gd name="connsiteY35" fmla="*/ 478332 h 955271"/>
              <a:gd name="connsiteX36" fmla="*/ 2378710 w 5741575"/>
              <a:gd name="connsiteY36" fmla="*/ 477570 h 955271"/>
              <a:gd name="connsiteX37" fmla="*/ 2496256 w 5741575"/>
              <a:gd name="connsiteY37" fmla="*/ 452396 h 955271"/>
              <a:gd name="connsiteX38" fmla="*/ 2535387 w 5741575"/>
              <a:gd name="connsiteY38" fmla="*/ 436645 h 955271"/>
              <a:gd name="connsiteX39" fmla="*/ 2601109 w 5741575"/>
              <a:gd name="connsiteY39" fmla="*/ 410678 h 955271"/>
              <a:gd name="connsiteX40" fmla="*/ 2643855 w 5741575"/>
              <a:gd name="connsiteY40" fmla="*/ 374482 h 955271"/>
              <a:gd name="connsiteX41" fmla="*/ 2657726 w 5741575"/>
              <a:gd name="connsiteY41" fmla="*/ 365841 h 955271"/>
              <a:gd name="connsiteX42" fmla="*/ 2687125 w 5741575"/>
              <a:gd name="connsiteY42" fmla="*/ 366820 h 955271"/>
              <a:gd name="connsiteX43" fmla="*/ 2697479 w 5741575"/>
              <a:gd name="connsiteY43" fmla="*/ 361430 h 955271"/>
              <a:gd name="connsiteX44" fmla="*/ 2701547 w 5741575"/>
              <a:gd name="connsiteY44" fmla="*/ 361545 h 955271"/>
              <a:gd name="connsiteX45" fmla="*/ 2711054 w 5741575"/>
              <a:gd name="connsiteY45" fmla="*/ 360597 h 955271"/>
              <a:gd name="connsiteX46" fmla="*/ 2710438 w 5741575"/>
              <a:gd name="connsiteY46" fmla="*/ 366958 h 955271"/>
              <a:gd name="connsiteX47" fmla="*/ 2722936 w 5741575"/>
              <a:gd name="connsiteY47" fmla="*/ 377633 h 955271"/>
              <a:gd name="connsiteX48" fmla="*/ 2777227 w 5741575"/>
              <a:gd name="connsiteY48" fmla="*/ 368972 h 955271"/>
              <a:gd name="connsiteX49" fmla="*/ 2779510 w 5741575"/>
              <a:gd name="connsiteY49" fmla="*/ 361652 h 955271"/>
              <a:gd name="connsiteX50" fmla="*/ 2786278 w 5741575"/>
              <a:gd name="connsiteY50" fmla="*/ 359869 h 955271"/>
              <a:gd name="connsiteX51" fmla="*/ 2792101 w 5741575"/>
              <a:gd name="connsiteY51" fmla="*/ 365927 h 955271"/>
              <a:gd name="connsiteX52" fmla="*/ 2885545 w 5741575"/>
              <a:gd name="connsiteY52" fmla="*/ 372818 h 955271"/>
              <a:gd name="connsiteX53" fmla="*/ 3009558 w 5741575"/>
              <a:gd name="connsiteY53" fmla="*/ 370573 h 955271"/>
              <a:gd name="connsiteX54" fmla="*/ 3095010 w 5741575"/>
              <a:gd name="connsiteY54" fmla="*/ 332454 h 955271"/>
              <a:gd name="connsiteX55" fmla="*/ 3103742 w 5741575"/>
              <a:gd name="connsiteY55" fmla="*/ 337974 h 955271"/>
              <a:gd name="connsiteX56" fmla="*/ 3165093 w 5741575"/>
              <a:gd name="connsiteY56" fmla="*/ 329459 h 955271"/>
              <a:gd name="connsiteX57" fmla="*/ 3373785 w 5741575"/>
              <a:gd name="connsiteY57" fmla="*/ 255680 h 955271"/>
              <a:gd name="connsiteX58" fmla="*/ 3493851 w 5741575"/>
              <a:gd name="connsiteY58" fmla="*/ 240255 h 955271"/>
              <a:gd name="connsiteX59" fmla="*/ 3537470 w 5741575"/>
              <a:gd name="connsiteY59" fmla="*/ 241867 h 955271"/>
              <a:gd name="connsiteX60" fmla="*/ 3610489 w 5741575"/>
              <a:gd name="connsiteY60" fmla="*/ 244128 h 955271"/>
              <a:gd name="connsiteX61" fmla="*/ 3667539 w 5741575"/>
              <a:gd name="connsiteY61" fmla="*/ 263271 h 955271"/>
              <a:gd name="connsiteX62" fmla="*/ 3727614 w 5741575"/>
              <a:gd name="connsiteY62" fmla="*/ 258245 h 955271"/>
              <a:gd name="connsiteX63" fmla="*/ 3738369 w 5741575"/>
              <a:gd name="connsiteY63" fmla="*/ 234506 h 955271"/>
              <a:gd name="connsiteX64" fmla="*/ 3803670 w 5741575"/>
              <a:gd name="connsiteY64" fmla="*/ 236457 h 955271"/>
              <a:gd name="connsiteX65" fmla="*/ 3903080 w 5741575"/>
              <a:gd name="connsiteY65" fmla="*/ 241890 h 955271"/>
              <a:gd name="connsiteX66" fmla="*/ 4114838 w 5741575"/>
              <a:gd name="connsiteY66" fmla="*/ 238165 h 955271"/>
              <a:gd name="connsiteX67" fmla="*/ 4271023 w 5741575"/>
              <a:gd name="connsiteY67" fmla="*/ 241959 h 955271"/>
              <a:gd name="connsiteX68" fmla="*/ 4367397 w 5741575"/>
              <a:gd name="connsiteY68" fmla="*/ 271442 h 955271"/>
              <a:gd name="connsiteX69" fmla="*/ 4495366 w 5741575"/>
              <a:gd name="connsiteY69" fmla="*/ 271618 h 955271"/>
              <a:gd name="connsiteX70" fmla="*/ 4517347 w 5741575"/>
              <a:gd name="connsiteY70" fmla="*/ 275639 h 955271"/>
              <a:gd name="connsiteX71" fmla="*/ 4546116 w 5741575"/>
              <a:gd name="connsiteY71" fmla="*/ 268568 h 955271"/>
              <a:gd name="connsiteX72" fmla="*/ 4661259 w 5741575"/>
              <a:gd name="connsiteY72" fmla="*/ 238966 h 955271"/>
              <a:gd name="connsiteX73" fmla="*/ 4750403 w 5741575"/>
              <a:gd name="connsiteY73" fmla="*/ 204364 h 955271"/>
              <a:gd name="connsiteX74" fmla="*/ 4867614 w 5741575"/>
              <a:gd name="connsiteY74" fmla="*/ 208668 h 955271"/>
              <a:gd name="connsiteX75" fmla="*/ 4937036 w 5741575"/>
              <a:gd name="connsiteY75" fmla="*/ 195446 h 955271"/>
              <a:gd name="connsiteX76" fmla="*/ 5047626 w 5741575"/>
              <a:gd name="connsiteY76" fmla="*/ 149604 h 955271"/>
              <a:gd name="connsiteX77" fmla="*/ 5200247 w 5741575"/>
              <a:gd name="connsiteY77" fmla="*/ 142695 h 955271"/>
              <a:gd name="connsiteX78" fmla="*/ 5235691 w 5741575"/>
              <a:gd name="connsiteY78" fmla="*/ 173330 h 955271"/>
              <a:gd name="connsiteX79" fmla="*/ 5280133 w 5741575"/>
              <a:gd name="connsiteY79" fmla="*/ 189342 h 955271"/>
              <a:gd name="connsiteX80" fmla="*/ 5291963 w 5741575"/>
              <a:gd name="connsiteY80" fmla="*/ 139446 h 955271"/>
              <a:gd name="connsiteX81" fmla="*/ 5418472 w 5741575"/>
              <a:gd name="connsiteY81" fmla="*/ 89163 h 955271"/>
              <a:gd name="connsiteX82" fmla="*/ 5482354 w 5741575"/>
              <a:gd name="connsiteY82" fmla="*/ 69470 h 955271"/>
              <a:gd name="connsiteX83" fmla="*/ 5583280 w 5741575"/>
              <a:gd name="connsiteY83" fmla="*/ 49787 h 955271"/>
              <a:gd name="connsiteX84" fmla="*/ 5613766 w 5741575"/>
              <a:gd name="connsiteY84" fmla="*/ 41855 h 955271"/>
              <a:gd name="connsiteX85" fmla="*/ 5684952 w 5741575"/>
              <a:gd name="connsiteY85" fmla="*/ 26088 h 955271"/>
              <a:gd name="connsiteX86" fmla="*/ 5741575 w 5741575"/>
              <a:gd name="connsiteY86" fmla="*/ 0 h 955271"/>
              <a:gd name="connsiteX0" fmla="*/ 5741575 w 5741575"/>
              <a:gd name="connsiteY0" fmla="*/ 0 h 955271"/>
              <a:gd name="connsiteX1" fmla="*/ 5741575 w 5741575"/>
              <a:gd name="connsiteY1" fmla="*/ 955271 h 955271"/>
              <a:gd name="connsiteX2" fmla="*/ 0 w 5741575"/>
              <a:gd name="connsiteY2" fmla="*/ 955271 h 955271"/>
              <a:gd name="connsiteX3" fmla="*/ 8558 w 5741575"/>
              <a:gd name="connsiteY3" fmla="*/ 953971 h 955271"/>
              <a:gd name="connsiteX4" fmla="*/ 16894 w 5741575"/>
              <a:gd name="connsiteY4" fmla="*/ 953847 h 955271"/>
              <a:gd name="connsiteX5" fmla="*/ 28156 w 5741575"/>
              <a:gd name="connsiteY5" fmla="*/ 951374 h 955271"/>
              <a:gd name="connsiteX6" fmla="*/ 28293 w 5741575"/>
              <a:gd name="connsiteY6" fmla="*/ 950971 h 955271"/>
              <a:gd name="connsiteX7" fmla="*/ 59229 w 5741575"/>
              <a:gd name="connsiteY7" fmla="*/ 903950 h 955271"/>
              <a:gd name="connsiteX8" fmla="*/ 148657 w 5741575"/>
              <a:gd name="connsiteY8" fmla="*/ 898134 h 955271"/>
              <a:gd name="connsiteX9" fmla="*/ 174554 w 5741575"/>
              <a:gd name="connsiteY9" fmla="*/ 886351 h 955271"/>
              <a:gd name="connsiteX10" fmla="*/ 187633 w 5741575"/>
              <a:gd name="connsiteY10" fmla="*/ 878226 h 955271"/>
              <a:gd name="connsiteX11" fmla="*/ 187961 w 5741575"/>
              <a:gd name="connsiteY11" fmla="*/ 876538 h 955271"/>
              <a:gd name="connsiteX12" fmla="*/ 240501 w 5741575"/>
              <a:gd name="connsiteY12" fmla="*/ 873150 h 955271"/>
              <a:gd name="connsiteX13" fmla="*/ 246345 w 5741575"/>
              <a:gd name="connsiteY13" fmla="*/ 869942 h 955271"/>
              <a:gd name="connsiteX14" fmla="*/ 306299 w 5741575"/>
              <a:gd name="connsiteY14" fmla="*/ 873609 h 955271"/>
              <a:gd name="connsiteX15" fmla="*/ 331571 w 5741575"/>
              <a:gd name="connsiteY15" fmla="*/ 869866 h 955271"/>
              <a:gd name="connsiteX16" fmla="*/ 384157 w 5741575"/>
              <a:gd name="connsiteY16" fmla="*/ 867971 h 955271"/>
              <a:gd name="connsiteX17" fmla="*/ 477637 w 5741575"/>
              <a:gd name="connsiteY17" fmla="*/ 870334 h 955271"/>
              <a:gd name="connsiteX18" fmla="*/ 570239 w 5741575"/>
              <a:gd name="connsiteY18" fmla="*/ 829596 h 955271"/>
              <a:gd name="connsiteX19" fmla="*/ 772070 w 5741575"/>
              <a:gd name="connsiteY19" fmla="*/ 820296 h 955271"/>
              <a:gd name="connsiteX20" fmla="*/ 948872 w 5741575"/>
              <a:gd name="connsiteY20" fmla="*/ 772201 h 955271"/>
              <a:gd name="connsiteX21" fmla="*/ 1127089 w 5741575"/>
              <a:gd name="connsiteY21" fmla="*/ 746926 h 955271"/>
              <a:gd name="connsiteX22" fmla="*/ 1226314 w 5741575"/>
              <a:gd name="connsiteY22" fmla="*/ 722473 h 955271"/>
              <a:gd name="connsiteX23" fmla="*/ 1374314 w 5741575"/>
              <a:gd name="connsiteY23" fmla="*/ 688815 h 955271"/>
              <a:gd name="connsiteX24" fmla="*/ 1342834 w 5741575"/>
              <a:gd name="connsiteY24" fmla="*/ 753906 h 955271"/>
              <a:gd name="connsiteX25" fmla="*/ 1435833 w 5741575"/>
              <a:gd name="connsiteY25" fmla="*/ 857427 h 955271"/>
              <a:gd name="connsiteX26" fmla="*/ 1412292 w 5741575"/>
              <a:gd name="connsiteY26" fmla="*/ 670793 h 955271"/>
              <a:gd name="connsiteX27" fmla="*/ 1494753 w 5741575"/>
              <a:gd name="connsiteY27" fmla="*/ 644686 h 955271"/>
              <a:gd name="connsiteX28" fmla="*/ 1616217 w 5741575"/>
              <a:gd name="connsiteY28" fmla="*/ 622107 h 955271"/>
              <a:gd name="connsiteX29" fmla="*/ 1710928 w 5741575"/>
              <a:gd name="connsiteY29" fmla="*/ 600666 h 955271"/>
              <a:gd name="connsiteX30" fmla="*/ 1743718 w 5741575"/>
              <a:gd name="connsiteY30" fmla="*/ 584327 h 955271"/>
              <a:gd name="connsiteX31" fmla="*/ 1873778 w 5741575"/>
              <a:gd name="connsiteY31" fmla="*/ 530130 h 955271"/>
              <a:gd name="connsiteX32" fmla="*/ 1988411 w 5741575"/>
              <a:gd name="connsiteY32" fmla="*/ 491599 h 955271"/>
              <a:gd name="connsiteX33" fmla="*/ 2085507 w 5741575"/>
              <a:gd name="connsiteY33" fmla="*/ 498527 h 955271"/>
              <a:gd name="connsiteX34" fmla="*/ 2090767 w 5741575"/>
              <a:gd name="connsiteY34" fmla="*/ 490616 h 955271"/>
              <a:gd name="connsiteX35" fmla="*/ 2151143 w 5741575"/>
              <a:gd name="connsiteY35" fmla="*/ 478332 h 955271"/>
              <a:gd name="connsiteX36" fmla="*/ 2378710 w 5741575"/>
              <a:gd name="connsiteY36" fmla="*/ 477570 h 955271"/>
              <a:gd name="connsiteX37" fmla="*/ 2496256 w 5741575"/>
              <a:gd name="connsiteY37" fmla="*/ 452396 h 955271"/>
              <a:gd name="connsiteX38" fmla="*/ 2535387 w 5741575"/>
              <a:gd name="connsiteY38" fmla="*/ 436645 h 955271"/>
              <a:gd name="connsiteX39" fmla="*/ 2601109 w 5741575"/>
              <a:gd name="connsiteY39" fmla="*/ 410678 h 955271"/>
              <a:gd name="connsiteX40" fmla="*/ 2643855 w 5741575"/>
              <a:gd name="connsiteY40" fmla="*/ 374482 h 955271"/>
              <a:gd name="connsiteX41" fmla="*/ 2657726 w 5741575"/>
              <a:gd name="connsiteY41" fmla="*/ 365841 h 955271"/>
              <a:gd name="connsiteX42" fmla="*/ 2687125 w 5741575"/>
              <a:gd name="connsiteY42" fmla="*/ 366820 h 955271"/>
              <a:gd name="connsiteX43" fmla="*/ 2697479 w 5741575"/>
              <a:gd name="connsiteY43" fmla="*/ 361430 h 955271"/>
              <a:gd name="connsiteX44" fmla="*/ 2701547 w 5741575"/>
              <a:gd name="connsiteY44" fmla="*/ 361545 h 955271"/>
              <a:gd name="connsiteX45" fmla="*/ 2711054 w 5741575"/>
              <a:gd name="connsiteY45" fmla="*/ 360597 h 955271"/>
              <a:gd name="connsiteX46" fmla="*/ 2710438 w 5741575"/>
              <a:gd name="connsiteY46" fmla="*/ 366958 h 955271"/>
              <a:gd name="connsiteX47" fmla="*/ 2722936 w 5741575"/>
              <a:gd name="connsiteY47" fmla="*/ 377633 h 955271"/>
              <a:gd name="connsiteX48" fmla="*/ 2777227 w 5741575"/>
              <a:gd name="connsiteY48" fmla="*/ 368972 h 955271"/>
              <a:gd name="connsiteX49" fmla="*/ 2779510 w 5741575"/>
              <a:gd name="connsiteY49" fmla="*/ 361652 h 955271"/>
              <a:gd name="connsiteX50" fmla="*/ 2786278 w 5741575"/>
              <a:gd name="connsiteY50" fmla="*/ 359869 h 955271"/>
              <a:gd name="connsiteX51" fmla="*/ 2792101 w 5741575"/>
              <a:gd name="connsiteY51" fmla="*/ 365927 h 955271"/>
              <a:gd name="connsiteX52" fmla="*/ 2885545 w 5741575"/>
              <a:gd name="connsiteY52" fmla="*/ 372818 h 955271"/>
              <a:gd name="connsiteX53" fmla="*/ 3009558 w 5741575"/>
              <a:gd name="connsiteY53" fmla="*/ 370573 h 955271"/>
              <a:gd name="connsiteX54" fmla="*/ 3095010 w 5741575"/>
              <a:gd name="connsiteY54" fmla="*/ 332454 h 955271"/>
              <a:gd name="connsiteX55" fmla="*/ 3103742 w 5741575"/>
              <a:gd name="connsiteY55" fmla="*/ 337974 h 955271"/>
              <a:gd name="connsiteX56" fmla="*/ 3165093 w 5741575"/>
              <a:gd name="connsiteY56" fmla="*/ 329459 h 955271"/>
              <a:gd name="connsiteX57" fmla="*/ 3373785 w 5741575"/>
              <a:gd name="connsiteY57" fmla="*/ 255680 h 955271"/>
              <a:gd name="connsiteX58" fmla="*/ 3493851 w 5741575"/>
              <a:gd name="connsiteY58" fmla="*/ 240255 h 955271"/>
              <a:gd name="connsiteX59" fmla="*/ 3537470 w 5741575"/>
              <a:gd name="connsiteY59" fmla="*/ 241867 h 955271"/>
              <a:gd name="connsiteX60" fmla="*/ 3610489 w 5741575"/>
              <a:gd name="connsiteY60" fmla="*/ 244128 h 955271"/>
              <a:gd name="connsiteX61" fmla="*/ 3667539 w 5741575"/>
              <a:gd name="connsiteY61" fmla="*/ 263271 h 955271"/>
              <a:gd name="connsiteX62" fmla="*/ 3727614 w 5741575"/>
              <a:gd name="connsiteY62" fmla="*/ 258245 h 955271"/>
              <a:gd name="connsiteX63" fmla="*/ 3738369 w 5741575"/>
              <a:gd name="connsiteY63" fmla="*/ 234506 h 955271"/>
              <a:gd name="connsiteX64" fmla="*/ 3803670 w 5741575"/>
              <a:gd name="connsiteY64" fmla="*/ 236457 h 955271"/>
              <a:gd name="connsiteX65" fmla="*/ 3903080 w 5741575"/>
              <a:gd name="connsiteY65" fmla="*/ 241890 h 955271"/>
              <a:gd name="connsiteX66" fmla="*/ 4114838 w 5741575"/>
              <a:gd name="connsiteY66" fmla="*/ 238165 h 955271"/>
              <a:gd name="connsiteX67" fmla="*/ 4271023 w 5741575"/>
              <a:gd name="connsiteY67" fmla="*/ 241959 h 955271"/>
              <a:gd name="connsiteX68" fmla="*/ 4367397 w 5741575"/>
              <a:gd name="connsiteY68" fmla="*/ 271442 h 955271"/>
              <a:gd name="connsiteX69" fmla="*/ 4495366 w 5741575"/>
              <a:gd name="connsiteY69" fmla="*/ 271618 h 955271"/>
              <a:gd name="connsiteX70" fmla="*/ 4517347 w 5741575"/>
              <a:gd name="connsiteY70" fmla="*/ 275639 h 955271"/>
              <a:gd name="connsiteX71" fmla="*/ 4546116 w 5741575"/>
              <a:gd name="connsiteY71" fmla="*/ 268568 h 955271"/>
              <a:gd name="connsiteX72" fmla="*/ 4661259 w 5741575"/>
              <a:gd name="connsiteY72" fmla="*/ 238966 h 955271"/>
              <a:gd name="connsiteX73" fmla="*/ 4750403 w 5741575"/>
              <a:gd name="connsiteY73" fmla="*/ 204364 h 955271"/>
              <a:gd name="connsiteX74" fmla="*/ 4867614 w 5741575"/>
              <a:gd name="connsiteY74" fmla="*/ 208668 h 955271"/>
              <a:gd name="connsiteX75" fmla="*/ 4937036 w 5741575"/>
              <a:gd name="connsiteY75" fmla="*/ 195446 h 955271"/>
              <a:gd name="connsiteX76" fmla="*/ 5047626 w 5741575"/>
              <a:gd name="connsiteY76" fmla="*/ 149604 h 955271"/>
              <a:gd name="connsiteX77" fmla="*/ 5200247 w 5741575"/>
              <a:gd name="connsiteY77" fmla="*/ 142695 h 955271"/>
              <a:gd name="connsiteX78" fmla="*/ 5235691 w 5741575"/>
              <a:gd name="connsiteY78" fmla="*/ 173330 h 955271"/>
              <a:gd name="connsiteX79" fmla="*/ 5280133 w 5741575"/>
              <a:gd name="connsiteY79" fmla="*/ 189342 h 955271"/>
              <a:gd name="connsiteX80" fmla="*/ 5291963 w 5741575"/>
              <a:gd name="connsiteY80" fmla="*/ 139446 h 955271"/>
              <a:gd name="connsiteX81" fmla="*/ 5418472 w 5741575"/>
              <a:gd name="connsiteY81" fmla="*/ 89163 h 955271"/>
              <a:gd name="connsiteX82" fmla="*/ 5482354 w 5741575"/>
              <a:gd name="connsiteY82" fmla="*/ 69470 h 955271"/>
              <a:gd name="connsiteX83" fmla="*/ 5583280 w 5741575"/>
              <a:gd name="connsiteY83" fmla="*/ 49787 h 955271"/>
              <a:gd name="connsiteX84" fmla="*/ 5613766 w 5741575"/>
              <a:gd name="connsiteY84" fmla="*/ 41855 h 955271"/>
              <a:gd name="connsiteX85" fmla="*/ 5684952 w 5741575"/>
              <a:gd name="connsiteY85" fmla="*/ 26088 h 955271"/>
              <a:gd name="connsiteX86" fmla="*/ 5741575 w 5741575"/>
              <a:gd name="connsiteY86" fmla="*/ 0 h 955271"/>
              <a:gd name="connsiteX0" fmla="*/ 5741575 w 5741575"/>
              <a:gd name="connsiteY0" fmla="*/ 0 h 955271"/>
              <a:gd name="connsiteX1" fmla="*/ 5741575 w 5741575"/>
              <a:gd name="connsiteY1" fmla="*/ 955271 h 955271"/>
              <a:gd name="connsiteX2" fmla="*/ 0 w 5741575"/>
              <a:gd name="connsiteY2" fmla="*/ 955271 h 955271"/>
              <a:gd name="connsiteX3" fmla="*/ 8558 w 5741575"/>
              <a:gd name="connsiteY3" fmla="*/ 953971 h 955271"/>
              <a:gd name="connsiteX4" fmla="*/ 16894 w 5741575"/>
              <a:gd name="connsiteY4" fmla="*/ 953847 h 955271"/>
              <a:gd name="connsiteX5" fmla="*/ 28156 w 5741575"/>
              <a:gd name="connsiteY5" fmla="*/ 951374 h 955271"/>
              <a:gd name="connsiteX6" fmla="*/ 28293 w 5741575"/>
              <a:gd name="connsiteY6" fmla="*/ 950971 h 955271"/>
              <a:gd name="connsiteX7" fmla="*/ 59229 w 5741575"/>
              <a:gd name="connsiteY7" fmla="*/ 903950 h 955271"/>
              <a:gd name="connsiteX8" fmla="*/ 148657 w 5741575"/>
              <a:gd name="connsiteY8" fmla="*/ 898134 h 955271"/>
              <a:gd name="connsiteX9" fmla="*/ 174554 w 5741575"/>
              <a:gd name="connsiteY9" fmla="*/ 886351 h 955271"/>
              <a:gd name="connsiteX10" fmla="*/ 187633 w 5741575"/>
              <a:gd name="connsiteY10" fmla="*/ 878226 h 955271"/>
              <a:gd name="connsiteX11" fmla="*/ 187961 w 5741575"/>
              <a:gd name="connsiteY11" fmla="*/ 876538 h 955271"/>
              <a:gd name="connsiteX12" fmla="*/ 240501 w 5741575"/>
              <a:gd name="connsiteY12" fmla="*/ 873150 h 955271"/>
              <a:gd name="connsiteX13" fmla="*/ 246345 w 5741575"/>
              <a:gd name="connsiteY13" fmla="*/ 869942 h 955271"/>
              <a:gd name="connsiteX14" fmla="*/ 306299 w 5741575"/>
              <a:gd name="connsiteY14" fmla="*/ 873609 h 955271"/>
              <a:gd name="connsiteX15" fmla="*/ 331571 w 5741575"/>
              <a:gd name="connsiteY15" fmla="*/ 869866 h 955271"/>
              <a:gd name="connsiteX16" fmla="*/ 384157 w 5741575"/>
              <a:gd name="connsiteY16" fmla="*/ 867971 h 955271"/>
              <a:gd name="connsiteX17" fmla="*/ 477637 w 5741575"/>
              <a:gd name="connsiteY17" fmla="*/ 870334 h 955271"/>
              <a:gd name="connsiteX18" fmla="*/ 570239 w 5741575"/>
              <a:gd name="connsiteY18" fmla="*/ 829596 h 955271"/>
              <a:gd name="connsiteX19" fmla="*/ 772070 w 5741575"/>
              <a:gd name="connsiteY19" fmla="*/ 820296 h 955271"/>
              <a:gd name="connsiteX20" fmla="*/ 948872 w 5741575"/>
              <a:gd name="connsiteY20" fmla="*/ 772201 h 955271"/>
              <a:gd name="connsiteX21" fmla="*/ 1127089 w 5741575"/>
              <a:gd name="connsiteY21" fmla="*/ 746926 h 955271"/>
              <a:gd name="connsiteX22" fmla="*/ 1226314 w 5741575"/>
              <a:gd name="connsiteY22" fmla="*/ 722473 h 955271"/>
              <a:gd name="connsiteX23" fmla="*/ 1278773 w 5741575"/>
              <a:gd name="connsiteY23" fmla="*/ 711503 h 955271"/>
              <a:gd name="connsiteX24" fmla="*/ 1342834 w 5741575"/>
              <a:gd name="connsiteY24" fmla="*/ 753906 h 955271"/>
              <a:gd name="connsiteX25" fmla="*/ 1435833 w 5741575"/>
              <a:gd name="connsiteY25" fmla="*/ 857427 h 955271"/>
              <a:gd name="connsiteX26" fmla="*/ 1412292 w 5741575"/>
              <a:gd name="connsiteY26" fmla="*/ 670793 h 955271"/>
              <a:gd name="connsiteX27" fmla="*/ 1494753 w 5741575"/>
              <a:gd name="connsiteY27" fmla="*/ 644686 h 955271"/>
              <a:gd name="connsiteX28" fmla="*/ 1616217 w 5741575"/>
              <a:gd name="connsiteY28" fmla="*/ 622107 h 955271"/>
              <a:gd name="connsiteX29" fmla="*/ 1710928 w 5741575"/>
              <a:gd name="connsiteY29" fmla="*/ 600666 h 955271"/>
              <a:gd name="connsiteX30" fmla="*/ 1743718 w 5741575"/>
              <a:gd name="connsiteY30" fmla="*/ 584327 h 955271"/>
              <a:gd name="connsiteX31" fmla="*/ 1873778 w 5741575"/>
              <a:gd name="connsiteY31" fmla="*/ 530130 h 955271"/>
              <a:gd name="connsiteX32" fmla="*/ 1988411 w 5741575"/>
              <a:gd name="connsiteY32" fmla="*/ 491599 h 955271"/>
              <a:gd name="connsiteX33" fmla="*/ 2085507 w 5741575"/>
              <a:gd name="connsiteY33" fmla="*/ 498527 h 955271"/>
              <a:gd name="connsiteX34" fmla="*/ 2090767 w 5741575"/>
              <a:gd name="connsiteY34" fmla="*/ 490616 h 955271"/>
              <a:gd name="connsiteX35" fmla="*/ 2151143 w 5741575"/>
              <a:gd name="connsiteY35" fmla="*/ 478332 h 955271"/>
              <a:gd name="connsiteX36" fmla="*/ 2378710 w 5741575"/>
              <a:gd name="connsiteY36" fmla="*/ 477570 h 955271"/>
              <a:gd name="connsiteX37" fmla="*/ 2496256 w 5741575"/>
              <a:gd name="connsiteY37" fmla="*/ 452396 h 955271"/>
              <a:gd name="connsiteX38" fmla="*/ 2535387 w 5741575"/>
              <a:gd name="connsiteY38" fmla="*/ 436645 h 955271"/>
              <a:gd name="connsiteX39" fmla="*/ 2601109 w 5741575"/>
              <a:gd name="connsiteY39" fmla="*/ 410678 h 955271"/>
              <a:gd name="connsiteX40" fmla="*/ 2643855 w 5741575"/>
              <a:gd name="connsiteY40" fmla="*/ 374482 h 955271"/>
              <a:gd name="connsiteX41" fmla="*/ 2657726 w 5741575"/>
              <a:gd name="connsiteY41" fmla="*/ 365841 h 955271"/>
              <a:gd name="connsiteX42" fmla="*/ 2687125 w 5741575"/>
              <a:gd name="connsiteY42" fmla="*/ 366820 h 955271"/>
              <a:gd name="connsiteX43" fmla="*/ 2697479 w 5741575"/>
              <a:gd name="connsiteY43" fmla="*/ 361430 h 955271"/>
              <a:gd name="connsiteX44" fmla="*/ 2701547 w 5741575"/>
              <a:gd name="connsiteY44" fmla="*/ 361545 h 955271"/>
              <a:gd name="connsiteX45" fmla="*/ 2711054 w 5741575"/>
              <a:gd name="connsiteY45" fmla="*/ 360597 h 955271"/>
              <a:gd name="connsiteX46" fmla="*/ 2710438 w 5741575"/>
              <a:gd name="connsiteY46" fmla="*/ 366958 h 955271"/>
              <a:gd name="connsiteX47" fmla="*/ 2722936 w 5741575"/>
              <a:gd name="connsiteY47" fmla="*/ 377633 h 955271"/>
              <a:gd name="connsiteX48" fmla="*/ 2777227 w 5741575"/>
              <a:gd name="connsiteY48" fmla="*/ 368972 h 955271"/>
              <a:gd name="connsiteX49" fmla="*/ 2779510 w 5741575"/>
              <a:gd name="connsiteY49" fmla="*/ 361652 h 955271"/>
              <a:gd name="connsiteX50" fmla="*/ 2786278 w 5741575"/>
              <a:gd name="connsiteY50" fmla="*/ 359869 h 955271"/>
              <a:gd name="connsiteX51" fmla="*/ 2792101 w 5741575"/>
              <a:gd name="connsiteY51" fmla="*/ 365927 h 955271"/>
              <a:gd name="connsiteX52" fmla="*/ 2885545 w 5741575"/>
              <a:gd name="connsiteY52" fmla="*/ 372818 h 955271"/>
              <a:gd name="connsiteX53" fmla="*/ 3009558 w 5741575"/>
              <a:gd name="connsiteY53" fmla="*/ 370573 h 955271"/>
              <a:gd name="connsiteX54" fmla="*/ 3095010 w 5741575"/>
              <a:gd name="connsiteY54" fmla="*/ 332454 h 955271"/>
              <a:gd name="connsiteX55" fmla="*/ 3103742 w 5741575"/>
              <a:gd name="connsiteY55" fmla="*/ 337974 h 955271"/>
              <a:gd name="connsiteX56" fmla="*/ 3165093 w 5741575"/>
              <a:gd name="connsiteY56" fmla="*/ 329459 h 955271"/>
              <a:gd name="connsiteX57" fmla="*/ 3373785 w 5741575"/>
              <a:gd name="connsiteY57" fmla="*/ 255680 h 955271"/>
              <a:gd name="connsiteX58" fmla="*/ 3493851 w 5741575"/>
              <a:gd name="connsiteY58" fmla="*/ 240255 h 955271"/>
              <a:gd name="connsiteX59" fmla="*/ 3537470 w 5741575"/>
              <a:gd name="connsiteY59" fmla="*/ 241867 h 955271"/>
              <a:gd name="connsiteX60" fmla="*/ 3610489 w 5741575"/>
              <a:gd name="connsiteY60" fmla="*/ 244128 h 955271"/>
              <a:gd name="connsiteX61" fmla="*/ 3667539 w 5741575"/>
              <a:gd name="connsiteY61" fmla="*/ 263271 h 955271"/>
              <a:gd name="connsiteX62" fmla="*/ 3727614 w 5741575"/>
              <a:gd name="connsiteY62" fmla="*/ 258245 h 955271"/>
              <a:gd name="connsiteX63" fmla="*/ 3738369 w 5741575"/>
              <a:gd name="connsiteY63" fmla="*/ 234506 h 955271"/>
              <a:gd name="connsiteX64" fmla="*/ 3803670 w 5741575"/>
              <a:gd name="connsiteY64" fmla="*/ 236457 h 955271"/>
              <a:gd name="connsiteX65" fmla="*/ 3903080 w 5741575"/>
              <a:gd name="connsiteY65" fmla="*/ 241890 h 955271"/>
              <a:gd name="connsiteX66" fmla="*/ 4114838 w 5741575"/>
              <a:gd name="connsiteY66" fmla="*/ 238165 h 955271"/>
              <a:gd name="connsiteX67" fmla="*/ 4271023 w 5741575"/>
              <a:gd name="connsiteY67" fmla="*/ 241959 h 955271"/>
              <a:gd name="connsiteX68" fmla="*/ 4367397 w 5741575"/>
              <a:gd name="connsiteY68" fmla="*/ 271442 h 955271"/>
              <a:gd name="connsiteX69" fmla="*/ 4495366 w 5741575"/>
              <a:gd name="connsiteY69" fmla="*/ 271618 h 955271"/>
              <a:gd name="connsiteX70" fmla="*/ 4517347 w 5741575"/>
              <a:gd name="connsiteY70" fmla="*/ 275639 h 955271"/>
              <a:gd name="connsiteX71" fmla="*/ 4546116 w 5741575"/>
              <a:gd name="connsiteY71" fmla="*/ 268568 h 955271"/>
              <a:gd name="connsiteX72" fmla="*/ 4661259 w 5741575"/>
              <a:gd name="connsiteY72" fmla="*/ 238966 h 955271"/>
              <a:gd name="connsiteX73" fmla="*/ 4750403 w 5741575"/>
              <a:gd name="connsiteY73" fmla="*/ 204364 h 955271"/>
              <a:gd name="connsiteX74" fmla="*/ 4867614 w 5741575"/>
              <a:gd name="connsiteY74" fmla="*/ 208668 h 955271"/>
              <a:gd name="connsiteX75" fmla="*/ 4937036 w 5741575"/>
              <a:gd name="connsiteY75" fmla="*/ 195446 h 955271"/>
              <a:gd name="connsiteX76" fmla="*/ 5047626 w 5741575"/>
              <a:gd name="connsiteY76" fmla="*/ 149604 h 955271"/>
              <a:gd name="connsiteX77" fmla="*/ 5200247 w 5741575"/>
              <a:gd name="connsiteY77" fmla="*/ 142695 h 955271"/>
              <a:gd name="connsiteX78" fmla="*/ 5235691 w 5741575"/>
              <a:gd name="connsiteY78" fmla="*/ 173330 h 955271"/>
              <a:gd name="connsiteX79" fmla="*/ 5280133 w 5741575"/>
              <a:gd name="connsiteY79" fmla="*/ 189342 h 955271"/>
              <a:gd name="connsiteX80" fmla="*/ 5291963 w 5741575"/>
              <a:gd name="connsiteY80" fmla="*/ 139446 h 955271"/>
              <a:gd name="connsiteX81" fmla="*/ 5418472 w 5741575"/>
              <a:gd name="connsiteY81" fmla="*/ 89163 h 955271"/>
              <a:gd name="connsiteX82" fmla="*/ 5482354 w 5741575"/>
              <a:gd name="connsiteY82" fmla="*/ 69470 h 955271"/>
              <a:gd name="connsiteX83" fmla="*/ 5583280 w 5741575"/>
              <a:gd name="connsiteY83" fmla="*/ 49787 h 955271"/>
              <a:gd name="connsiteX84" fmla="*/ 5613766 w 5741575"/>
              <a:gd name="connsiteY84" fmla="*/ 41855 h 955271"/>
              <a:gd name="connsiteX85" fmla="*/ 5684952 w 5741575"/>
              <a:gd name="connsiteY85" fmla="*/ 26088 h 955271"/>
              <a:gd name="connsiteX86" fmla="*/ 5741575 w 5741575"/>
              <a:gd name="connsiteY86" fmla="*/ 0 h 955271"/>
              <a:gd name="connsiteX0" fmla="*/ 5741575 w 5741575"/>
              <a:gd name="connsiteY0" fmla="*/ 0 h 955271"/>
              <a:gd name="connsiteX1" fmla="*/ 5741575 w 5741575"/>
              <a:gd name="connsiteY1" fmla="*/ 955271 h 955271"/>
              <a:gd name="connsiteX2" fmla="*/ 0 w 5741575"/>
              <a:gd name="connsiteY2" fmla="*/ 955271 h 955271"/>
              <a:gd name="connsiteX3" fmla="*/ 8558 w 5741575"/>
              <a:gd name="connsiteY3" fmla="*/ 953971 h 955271"/>
              <a:gd name="connsiteX4" fmla="*/ 16894 w 5741575"/>
              <a:gd name="connsiteY4" fmla="*/ 953847 h 955271"/>
              <a:gd name="connsiteX5" fmla="*/ 28156 w 5741575"/>
              <a:gd name="connsiteY5" fmla="*/ 951374 h 955271"/>
              <a:gd name="connsiteX6" fmla="*/ 28293 w 5741575"/>
              <a:gd name="connsiteY6" fmla="*/ 950971 h 955271"/>
              <a:gd name="connsiteX7" fmla="*/ 59229 w 5741575"/>
              <a:gd name="connsiteY7" fmla="*/ 903950 h 955271"/>
              <a:gd name="connsiteX8" fmla="*/ 148657 w 5741575"/>
              <a:gd name="connsiteY8" fmla="*/ 898134 h 955271"/>
              <a:gd name="connsiteX9" fmla="*/ 174554 w 5741575"/>
              <a:gd name="connsiteY9" fmla="*/ 886351 h 955271"/>
              <a:gd name="connsiteX10" fmla="*/ 187633 w 5741575"/>
              <a:gd name="connsiteY10" fmla="*/ 878226 h 955271"/>
              <a:gd name="connsiteX11" fmla="*/ 187961 w 5741575"/>
              <a:gd name="connsiteY11" fmla="*/ 876538 h 955271"/>
              <a:gd name="connsiteX12" fmla="*/ 240501 w 5741575"/>
              <a:gd name="connsiteY12" fmla="*/ 873150 h 955271"/>
              <a:gd name="connsiteX13" fmla="*/ 246345 w 5741575"/>
              <a:gd name="connsiteY13" fmla="*/ 869942 h 955271"/>
              <a:gd name="connsiteX14" fmla="*/ 306299 w 5741575"/>
              <a:gd name="connsiteY14" fmla="*/ 873609 h 955271"/>
              <a:gd name="connsiteX15" fmla="*/ 331571 w 5741575"/>
              <a:gd name="connsiteY15" fmla="*/ 869866 h 955271"/>
              <a:gd name="connsiteX16" fmla="*/ 384157 w 5741575"/>
              <a:gd name="connsiteY16" fmla="*/ 867971 h 955271"/>
              <a:gd name="connsiteX17" fmla="*/ 477637 w 5741575"/>
              <a:gd name="connsiteY17" fmla="*/ 870334 h 955271"/>
              <a:gd name="connsiteX18" fmla="*/ 570239 w 5741575"/>
              <a:gd name="connsiteY18" fmla="*/ 829596 h 955271"/>
              <a:gd name="connsiteX19" fmla="*/ 772070 w 5741575"/>
              <a:gd name="connsiteY19" fmla="*/ 820296 h 955271"/>
              <a:gd name="connsiteX20" fmla="*/ 948872 w 5741575"/>
              <a:gd name="connsiteY20" fmla="*/ 772201 h 955271"/>
              <a:gd name="connsiteX21" fmla="*/ 1127089 w 5741575"/>
              <a:gd name="connsiteY21" fmla="*/ 746926 h 955271"/>
              <a:gd name="connsiteX22" fmla="*/ 1226314 w 5741575"/>
              <a:gd name="connsiteY22" fmla="*/ 722473 h 955271"/>
              <a:gd name="connsiteX23" fmla="*/ 1278773 w 5741575"/>
              <a:gd name="connsiteY23" fmla="*/ 711503 h 955271"/>
              <a:gd name="connsiteX24" fmla="*/ 1317691 w 5741575"/>
              <a:gd name="connsiteY24" fmla="*/ 708529 h 955271"/>
              <a:gd name="connsiteX25" fmla="*/ 1435833 w 5741575"/>
              <a:gd name="connsiteY25" fmla="*/ 857427 h 955271"/>
              <a:gd name="connsiteX26" fmla="*/ 1412292 w 5741575"/>
              <a:gd name="connsiteY26" fmla="*/ 670793 h 955271"/>
              <a:gd name="connsiteX27" fmla="*/ 1494753 w 5741575"/>
              <a:gd name="connsiteY27" fmla="*/ 644686 h 955271"/>
              <a:gd name="connsiteX28" fmla="*/ 1616217 w 5741575"/>
              <a:gd name="connsiteY28" fmla="*/ 622107 h 955271"/>
              <a:gd name="connsiteX29" fmla="*/ 1710928 w 5741575"/>
              <a:gd name="connsiteY29" fmla="*/ 600666 h 955271"/>
              <a:gd name="connsiteX30" fmla="*/ 1743718 w 5741575"/>
              <a:gd name="connsiteY30" fmla="*/ 584327 h 955271"/>
              <a:gd name="connsiteX31" fmla="*/ 1873778 w 5741575"/>
              <a:gd name="connsiteY31" fmla="*/ 530130 h 955271"/>
              <a:gd name="connsiteX32" fmla="*/ 1988411 w 5741575"/>
              <a:gd name="connsiteY32" fmla="*/ 491599 h 955271"/>
              <a:gd name="connsiteX33" fmla="*/ 2085507 w 5741575"/>
              <a:gd name="connsiteY33" fmla="*/ 498527 h 955271"/>
              <a:gd name="connsiteX34" fmla="*/ 2090767 w 5741575"/>
              <a:gd name="connsiteY34" fmla="*/ 490616 h 955271"/>
              <a:gd name="connsiteX35" fmla="*/ 2151143 w 5741575"/>
              <a:gd name="connsiteY35" fmla="*/ 478332 h 955271"/>
              <a:gd name="connsiteX36" fmla="*/ 2378710 w 5741575"/>
              <a:gd name="connsiteY36" fmla="*/ 477570 h 955271"/>
              <a:gd name="connsiteX37" fmla="*/ 2496256 w 5741575"/>
              <a:gd name="connsiteY37" fmla="*/ 452396 h 955271"/>
              <a:gd name="connsiteX38" fmla="*/ 2535387 w 5741575"/>
              <a:gd name="connsiteY38" fmla="*/ 436645 h 955271"/>
              <a:gd name="connsiteX39" fmla="*/ 2601109 w 5741575"/>
              <a:gd name="connsiteY39" fmla="*/ 410678 h 955271"/>
              <a:gd name="connsiteX40" fmla="*/ 2643855 w 5741575"/>
              <a:gd name="connsiteY40" fmla="*/ 374482 h 955271"/>
              <a:gd name="connsiteX41" fmla="*/ 2657726 w 5741575"/>
              <a:gd name="connsiteY41" fmla="*/ 365841 h 955271"/>
              <a:gd name="connsiteX42" fmla="*/ 2687125 w 5741575"/>
              <a:gd name="connsiteY42" fmla="*/ 366820 h 955271"/>
              <a:gd name="connsiteX43" fmla="*/ 2697479 w 5741575"/>
              <a:gd name="connsiteY43" fmla="*/ 361430 h 955271"/>
              <a:gd name="connsiteX44" fmla="*/ 2701547 w 5741575"/>
              <a:gd name="connsiteY44" fmla="*/ 361545 h 955271"/>
              <a:gd name="connsiteX45" fmla="*/ 2711054 w 5741575"/>
              <a:gd name="connsiteY45" fmla="*/ 360597 h 955271"/>
              <a:gd name="connsiteX46" fmla="*/ 2710438 w 5741575"/>
              <a:gd name="connsiteY46" fmla="*/ 366958 h 955271"/>
              <a:gd name="connsiteX47" fmla="*/ 2722936 w 5741575"/>
              <a:gd name="connsiteY47" fmla="*/ 377633 h 955271"/>
              <a:gd name="connsiteX48" fmla="*/ 2777227 w 5741575"/>
              <a:gd name="connsiteY48" fmla="*/ 368972 h 955271"/>
              <a:gd name="connsiteX49" fmla="*/ 2779510 w 5741575"/>
              <a:gd name="connsiteY49" fmla="*/ 361652 h 955271"/>
              <a:gd name="connsiteX50" fmla="*/ 2786278 w 5741575"/>
              <a:gd name="connsiteY50" fmla="*/ 359869 h 955271"/>
              <a:gd name="connsiteX51" fmla="*/ 2792101 w 5741575"/>
              <a:gd name="connsiteY51" fmla="*/ 365927 h 955271"/>
              <a:gd name="connsiteX52" fmla="*/ 2885545 w 5741575"/>
              <a:gd name="connsiteY52" fmla="*/ 372818 h 955271"/>
              <a:gd name="connsiteX53" fmla="*/ 3009558 w 5741575"/>
              <a:gd name="connsiteY53" fmla="*/ 370573 h 955271"/>
              <a:gd name="connsiteX54" fmla="*/ 3095010 w 5741575"/>
              <a:gd name="connsiteY54" fmla="*/ 332454 h 955271"/>
              <a:gd name="connsiteX55" fmla="*/ 3103742 w 5741575"/>
              <a:gd name="connsiteY55" fmla="*/ 337974 h 955271"/>
              <a:gd name="connsiteX56" fmla="*/ 3165093 w 5741575"/>
              <a:gd name="connsiteY56" fmla="*/ 329459 h 955271"/>
              <a:gd name="connsiteX57" fmla="*/ 3373785 w 5741575"/>
              <a:gd name="connsiteY57" fmla="*/ 255680 h 955271"/>
              <a:gd name="connsiteX58" fmla="*/ 3493851 w 5741575"/>
              <a:gd name="connsiteY58" fmla="*/ 240255 h 955271"/>
              <a:gd name="connsiteX59" fmla="*/ 3537470 w 5741575"/>
              <a:gd name="connsiteY59" fmla="*/ 241867 h 955271"/>
              <a:gd name="connsiteX60" fmla="*/ 3610489 w 5741575"/>
              <a:gd name="connsiteY60" fmla="*/ 244128 h 955271"/>
              <a:gd name="connsiteX61" fmla="*/ 3667539 w 5741575"/>
              <a:gd name="connsiteY61" fmla="*/ 263271 h 955271"/>
              <a:gd name="connsiteX62" fmla="*/ 3727614 w 5741575"/>
              <a:gd name="connsiteY62" fmla="*/ 258245 h 955271"/>
              <a:gd name="connsiteX63" fmla="*/ 3738369 w 5741575"/>
              <a:gd name="connsiteY63" fmla="*/ 234506 h 955271"/>
              <a:gd name="connsiteX64" fmla="*/ 3803670 w 5741575"/>
              <a:gd name="connsiteY64" fmla="*/ 236457 h 955271"/>
              <a:gd name="connsiteX65" fmla="*/ 3903080 w 5741575"/>
              <a:gd name="connsiteY65" fmla="*/ 241890 h 955271"/>
              <a:gd name="connsiteX66" fmla="*/ 4114838 w 5741575"/>
              <a:gd name="connsiteY66" fmla="*/ 238165 h 955271"/>
              <a:gd name="connsiteX67" fmla="*/ 4271023 w 5741575"/>
              <a:gd name="connsiteY67" fmla="*/ 241959 h 955271"/>
              <a:gd name="connsiteX68" fmla="*/ 4367397 w 5741575"/>
              <a:gd name="connsiteY68" fmla="*/ 271442 h 955271"/>
              <a:gd name="connsiteX69" fmla="*/ 4495366 w 5741575"/>
              <a:gd name="connsiteY69" fmla="*/ 271618 h 955271"/>
              <a:gd name="connsiteX70" fmla="*/ 4517347 w 5741575"/>
              <a:gd name="connsiteY70" fmla="*/ 275639 h 955271"/>
              <a:gd name="connsiteX71" fmla="*/ 4546116 w 5741575"/>
              <a:gd name="connsiteY71" fmla="*/ 268568 h 955271"/>
              <a:gd name="connsiteX72" fmla="*/ 4661259 w 5741575"/>
              <a:gd name="connsiteY72" fmla="*/ 238966 h 955271"/>
              <a:gd name="connsiteX73" fmla="*/ 4750403 w 5741575"/>
              <a:gd name="connsiteY73" fmla="*/ 204364 h 955271"/>
              <a:gd name="connsiteX74" fmla="*/ 4867614 w 5741575"/>
              <a:gd name="connsiteY74" fmla="*/ 208668 h 955271"/>
              <a:gd name="connsiteX75" fmla="*/ 4937036 w 5741575"/>
              <a:gd name="connsiteY75" fmla="*/ 195446 h 955271"/>
              <a:gd name="connsiteX76" fmla="*/ 5047626 w 5741575"/>
              <a:gd name="connsiteY76" fmla="*/ 149604 h 955271"/>
              <a:gd name="connsiteX77" fmla="*/ 5200247 w 5741575"/>
              <a:gd name="connsiteY77" fmla="*/ 142695 h 955271"/>
              <a:gd name="connsiteX78" fmla="*/ 5235691 w 5741575"/>
              <a:gd name="connsiteY78" fmla="*/ 173330 h 955271"/>
              <a:gd name="connsiteX79" fmla="*/ 5280133 w 5741575"/>
              <a:gd name="connsiteY79" fmla="*/ 189342 h 955271"/>
              <a:gd name="connsiteX80" fmla="*/ 5291963 w 5741575"/>
              <a:gd name="connsiteY80" fmla="*/ 139446 h 955271"/>
              <a:gd name="connsiteX81" fmla="*/ 5418472 w 5741575"/>
              <a:gd name="connsiteY81" fmla="*/ 89163 h 955271"/>
              <a:gd name="connsiteX82" fmla="*/ 5482354 w 5741575"/>
              <a:gd name="connsiteY82" fmla="*/ 69470 h 955271"/>
              <a:gd name="connsiteX83" fmla="*/ 5583280 w 5741575"/>
              <a:gd name="connsiteY83" fmla="*/ 49787 h 955271"/>
              <a:gd name="connsiteX84" fmla="*/ 5613766 w 5741575"/>
              <a:gd name="connsiteY84" fmla="*/ 41855 h 955271"/>
              <a:gd name="connsiteX85" fmla="*/ 5684952 w 5741575"/>
              <a:gd name="connsiteY85" fmla="*/ 26088 h 955271"/>
              <a:gd name="connsiteX86" fmla="*/ 5741575 w 5741575"/>
              <a:gd name="connsiteY86" fmla="*/ 0 h 955271"/>
              <a:gd name="connsiteX0" fmla="*/ 5741575 w 5741575"/>
              <a:gd name="connsiteY0" fmla="*/ 0 h 955271"/>
              <a:gd name="connsiteX1" fmla="*/ 5741575 w 5741575"/>
              <a:gd name="connsiteY1" fmla="*/ 955271 h 955271"/>
              <a:gd name="connsiteX2" fmla="*/ 0 w 5741575"/>
              <a:gd name="connsiteY2" fmla="*/ 955271 h 955271"/>
              <a:gd name="connsiteX3" fmla="*/ 8558 w 5741575"/>
              <a:gd name="connsiteY3" fmla="*/ 953971 h 955271"/>
              <a:gd name="connsiteX4" fmla="*/ 16894 w 5741575"/>
              <a:gd name="connsiteY4" fmla="*/ 953847 h 955271"/>
              <a:gd name="connsiteX5" fmla="*/ 28156 w 5741575"/>
              <a:gd name="connsiteY5" fmla="*/ 951374 h 955271"/>
              <a:gd name="connsiteX6" fmla="*/ 28293 w 5741575"/>
              <a:gd name="connsiteY6" fmla="*/ 950971 h 955271"/>
              <a:gd name="connsiteX7" fmla="*/ 59229 w 5741575"/>
              <a:gd name="connsiteY7" fmla="*/ 903950 h 955271"/>
              <a:gd name="connsiteX8" fmla="*/ 148657 w 5741575"/>
              <a:gd name="connsiteY8" fmla="*/ 898134 h 955271"/>
              <a:gd name="connsiteX9" fmla="*/ 174554 w 5741575"/>
              <a:gd name="connsiteY9" fmla="*/ 886351 h 955271"/>
              <a:gd name="connsiteX10" fmla="*/ 187633 w 5741575"/>
              <a:gd name="connsiteY10" fmla="*/ 878226 h 955271"/>
              <a:gd name="connsiteX11" fmla="*/ 187961 w 5741575"/>
              <a:gd name="connsiteY11" fmla="*/ 876538 h 955271"/>
              <a:gd name="connsiteX12" fmla="*/ 240501 w 5741575"/>
              <a:gd name="connsiteY12" fmla="*/ 873150 h 955271"/>
              <a:gd name="connsiteX13" fmla="*/ 246345 w 5741575"/>
              <a:gd name="connsiteY13" fmla="*/ 869942 h 955271"/>
              <a:gd name="connsiteX14" fmla="*/ 306299 w 5741575"/>
              <a:gd name="connsiteY14" fmla="*/ 873609 h 955271"/>
              <a:gd name="connsiteX15" fmla="*/ 331571 w 5741575"/>
              <a:gd name="connsiteY15" fmla="*/ 869866 h 955271"/>
              <a:gd name="connsiteX16" fmla="*/ 384157 w 5741575"/>
              <a:gd name="connsiteY16" fmla="*/ 867971 h 955271"/>
              <a:gd name="connsiteX17" fmla="*/ 477637 w 5741575"/>
              <a:gd name="connsiteY17" fmla="*/ 870334 h 955271"/>
              <a:gd name="connsiteX18" fmla="*/ 570239 w 5741575"/>
              <a:gd name="connsiteY18" fmla="*/ 829596 h 955271"/>
              <a:gd name="connsiteX19" fmla="*/ 772070 w 5741575"/>
              <a:gd name="connsiteY19" fmla="*/ 820296 h 955271"/>
              <a:gd name="connsiteX20" fmla="*/ 948872 w 5741575"/>
              <a:gd name="connsiteY20" fmla="*/ 772201 h 955271"/>
              <a:gd name="connsiteX21" fmla="*/ 1127089 w 5741575"/>
              <a:gd name="connsiteY21" fmla="*/ 746926 h 955271"/>
              <a:gd name="connsiteX22" fmla="*/ 1226314 w 5741575"/>
              <a:gd name="connsiteY22" fmla="*/ 722473 h 955271"/>
              <a:gd name="connsiteX23" fmla="*/ 1278773 w 5741575"/>
              <a:gd name="connsiteY23" fmla="*/ 711503 h 955271"/>
              <a:gd name="connsiteX24" fmla="*/ 1317691 w 5741575"/>
              <a:gd name="connsiteY24" fmla="*/ 708529 h 955271"/>
              <a:gd name="connsiteX25" fmla="*/ 1360404 w 5741575"/>
              <a:gd name="connsiteY25" fmla="*/ 675922 h 955271"/>
              <a:gd name="connsiteX26" fmla="*/ 1412292 w 5741575"/>
              <a:gd name="connsiteY26" fmla="*/ 670793 h 955271"/>
              <a:gd name="connsiteX27" fmla="*/ 1494753 w 5741575"/>
              <a:gd name="connsiteY27" fmla="*/ 644686 h 955271"/>
              <a:gd name="connsiteX28" fmla="*/ 1616217 w 5741575"/>
              <a:gd name="connsiteY28" fmla="*/ 622107 h 955271"/>
              <a:gd name="connsiteX29" fmla="*/ 1710928 w 5741575"/>
              <a:gd name="connsiteY29" fmla="*/ 600666 h 955271"/>
              <a:gd name="connsiteX30" fmla="*/ 1743718 w 5741575"/>
              <a:gd name="connsiteY30" fmla="*/ 584327 h 955271"/>
              <a:gd name="connsiteX31" fmla="*/ 1873778 w 5741575"/>
              <a:gd name="connsiteY31" fmla="*/ 530130 h 955271"/>
              <a:gd name="connsiteX32" fmla="*/ 1988411 w 5741575"/>
              <a:gd name="connsiteY32" fmla="*/ 491599 h 955271"/>
              <a:gd name="connsiteX33" fmla="*/ 2085507 w 5741575"/>
              <a:gd name="connsiteY33" fmla="*/ 498527 h 955271"/>
              <a:gd name="connsiteX34" fmla="*/ 2090767 w 5741575"/>
              <a:gd name="connsiteY34" fmla="*/ 490616 h 955271"/>
              <a:gd name="connsiteX35" fmla="*/ 2151143 w 5741575"/>
              <a:gd name="connsiteY35" fmla="*/ 478332 h 955271"/>
              <a:gd name="connsiteX36" fmla="*/ 2378710 w 5741575"/>
              <a:gd name="connsiteY36" fmla="*/ 477570 h 955271"/>
              <a:gd name="connsiteX37" fmla="*/ 2496256 w 5741575"/>
              <a:gd name="connsiteY37" fmla="*/ 452396 h 955271"/>
              <a:gd name="connsiteX38" fmla="*/ 2535387 w 5741575"/>
              <a:gd name="connsiteY38" fmla="*/ 436645 h 955271"/>
              <a:gd name="connsiteX39" fmla="*/ 2601109 w 5741575"/>
              <a:gd name="connsiteY39" fmla="*/ 410678 h 955271"/>
              <a:gd name="connsiteX40" fmla="*/ 2643855 w 5741575"/>
              <a:gd name="connsiteY40" fmla="*/ 374482 h 955271"/>
              <a:gd name="connsiteX41" fmla="*/ 2657726 w 5741575"/>
              <a:gd name="connsiteY41" fmla="*/ 365841 h 955271"/>
              <a:gd name="connsiteX42" fmla="*/ 2687125 w 5741575"/>
              <a:gd name="connsiteY42" fmla="*/ 366820 h 955271"/>
              <a:gd name="connsiteX43" fmla="*/ 2697479 w 5741575"/>
              <a:gd name="connsiteY43" fmla="*/ 361430 h 955271"/>
              <a:gd name="connsiteX44" fmla="*/ 2701547 w 5741575"/>
              <a:gd name="connsiteY44" fmla="*/ 361545 h 955271"/>
              <a:gd name="connsiteX45" fmla="*/ 2711054 w 5741575"/>
              <a:gd name="connsiteY45" fmla="*/ 360597 h 955271"/>
              <a:gd name="connsiteX46" fmla="*/ 2710438 w 5741575"/>
              <a:gd name="connsiteY46" fmla="*/ 366958 h 955271"/>
              <a:gd name="connsiteX47" fmla="*/ 2722936 w 5741575"/>
              <a:gd name="connsiteY47" fmla="*/ 377633 h 955271"/>
              <a:gd name="connsiteX48" fmla="*/ 2777227 w 5741575"/>
              <a:gd name="connsiteY48" fmla="*/ 368972 h 955271"/>
              <a:gd name="connsiteX49" fmla="*/ 2779510 w 5741575"/>
              <a:gd name="connsiteY49" fmla="*/ 361652 h 955271"/>
              <a:gd name="connsiteX50" fmla="*/ 2786278 w 5741575"/>
              <a:gd name="connsiteY50" fmla="*/ 359869 h 955271"/>
              <a:gd name="connsiteX51" fmla="*/ 2792101 w 5741575"/>
              <a:gd name="connsiteY51" fmla="*/ 365927 h 955271"/>
              <a:gd name="connsiteX52" fmla="*/ 2885545 w 5741575"/>
              <a:gd name="connsiteY52" fmla="*/ 372818 h 955271"/>
              <a:gd name="connsiteX53" fmla="*/ 3009558 w 5741575"/>
              <a:gd name="connsiteY53" fmla="*/ 370573 h 955271"/>
              <a:gd name="connsiteX54" fmla="*/ 3095010 w 5741575"/>
              <a:gd name="connsiteY54" fmla="*/ 332454 h 955271"/>
              <a:gd name="connsiteX55" fmla="*/ 3103742 w 5741575"/>
              <a:gd name="connsiteY55" fmla="*/ 337974 h 955271"/>
              <a:gd name="connsiteX56" fmla="*/ 3165093 w 5741575"/>
              <a:gd name="connsiteY56" fmla="*/ 329459 h 955271"/>
              <a:gd name="connsiteX57" fmla="*/ 3373785 w 5741575"/>
              <a:gd name="connsiteY57" fmla="*/ 255680 h 955271"/>
              <a:gd name="connsiteX58" fmla="*/ 3493851 w 5741575"/>
              <a:gd name="connsiteY58" fmla="*/ 240255 h 955271"/>
              <a:gd name="connsiteX59" fmla="*/ 3537470 w 5741575"/>
              <a:gd name="connsiteY59" fmla="*/ 241867 h 955271"/>
              <a:gd name="connsiteX60" fmla="*/ 3610489 w 5741575"/>
              <a:gd name="connsiteY60" fmla="*/ 244128 h 955271"/>
              <a:gd name="connsiteX61" fmla="*/ 3667539 w 5741575"/>
              <a:gd name="connsiteY61" fmla="*/ 263271 h 955271"/>
              <a:gd name="connsiteX62" fmla="*/ 3727614 w 5741575"/>
              <a:gd name="connsiteY62" fmla="*/ 258245 h 955271"/>
              <a:gd name="connsiteX63" fmla="*/ 3738369 w 5741575"/>
              <a:gd name="connsiteY63" fmla="*/ 234506 h 955271"/>
              <a:gd name="connsiteX64" fmla="*/ 3803670 w 5741575"/>
              <a:gd name="connsiteY64" fmla="*/ 236457 h 955271"/>
              <a:gd name="connsiteX65" fmla="*/ 3903080 w 5741575"/>
              <a:gd name="connsiteY65" fmla="*/ 241890 h 955271"/>
              <a:gd name="connsiteX66" fmla="*/ 4114838 w 5741575"/>
              <a:gd name="connsiteY66" fmla="*/ 238165 h 955271"/>
              <a:gd name="connsiteX67" fmla="*/ 4271023 w 5741575"/>
              <a:gd name="connsiteY67" fmla="*/ 241959 h 955271"/>
              <a:gd name="connsiteX68" fmla="*/ 4367397 w 5741575"/>
              <a:gd name="connsiteY68" fmla="*/ 271442 h 955271"/>
              <a:gd name="connsiteX69" fmla="*/ 4495366 w 5741575"/>
              <a:gd name="connsiteY69" fmla="*/ 271618 h 955271"/>
              <a:gd name="connsiteX70" fmla="*/ 4517347 w 5741575"/>
              <a:gd name="connsiteY70" fmla="*/ 275639 h 955271"/>
              <a:gd name="connsiteX71" fmla="*/ 4546116 w 5741575"/>
              <a:gd name="connsiteY71" fmla="*/ 268568 h 955271"/>
              <a:gd name="connsiteX72" fmla="*/ 4661259 w 5741575"/>
              <a:gd name="connsiteY72" fmla="*/ 238966 h 955271"/>
              <a:gd name="connsiteX73" fmla="*/ 4750403 w 5741575"/>
              <a:gd name="connsiteY73" fmla="*/ 204364 h 955271"/>
              <a:gd name="connsiteX74" fmla="*/ 4867614 w 5741575"/>
              <a:gd name="connsiteY74" fmla="*/ 208668 h 955271"/>
              <a:gd name="connsiteX75" fmla="*/ 4937036 w 5741575"/>
              <a:gd name="connsiteY75" fmla="*/ 195446 h 955271"/>
              <a:gd name="connsiteX76" fmla="*/ 5047626 w 5741575"/>
              <a:gd name="connsiteY76" fmla="*/ 149604 h 955271"/>
              <a:gd name="connsiteX77" fmla="*/ 5200247 w 5741575"/>
              <a:gd name="connsiteY77" fmla="*/ 142695 h 955271"/>
              <a:gd name="connsiteX78" fmla="*/ 5235691 w 5741575"/>
              <a:gd name="connsiteY78" fmla="*/ 173330 h 955271"/>
              <a:gd name="connsiteX79" fmla="*/ 5280133 w 5741575"/>
              <a:gd name="connsiteY79" fmla="*/ 189342 h 955271"/>
              <a:gd name="connsiteX80" fmla="*/ 5291963 w 5741575"/>
              <a:gd name="connsiteY80" fmla="*/ 139446 h 955271"/>
              <a:gd name="connsiteX81" fmla="*/ 5418472 w 5741575"/>
              <a:gd name="connsiteY81" fmla="*/ 89163 h 955271"/>
              <a:gd name="connsiteX82" fmla="*/ 5482354 w 5741575"/>
              <a:gd name="connsiteY82" fmla="*/ 69470 h 955271"/>
              <a:gd name="connsiteX83" fmla="*/ 5583280 w 5741575"/>
              <a:gd name="connsiteY83" fmla="*/ 49787 h 955271"/>
              <a:gd name="connsiteX84" fmla="*/ 5613766 w 5741575"/>
              <a:gd name="connsiteY84" fmla="*/ 41855 h 955271"/>
              <a:gd name="connsiteX85" fmla="*/ 5684952 w 5741575"/>
              <a:gd name="connsiteY85" fmla="*/ 26088 h 955271"/>
              <a:gd name="connsiteX86" fmla="*/ 5741575 w 5741575"/>
              <a:gd name="connsiteY86" fmla="*/ 0 h 955271"/>
              <a:gd name="connsiteX0" fmla="*/ 5741575 w 5741575"/>
              <a:gd name="connsiteY0" fmla="*/ 0 h 955271"/>
              <a:gd name="connsiteX1" fmla="*/ 5741575 w 5741575"/>
              <a:gd name="connsiteY1" fmla="*/ 955271 h 955271"/>
              <a:gd name="connsiteX2" fmla="*/ 0 w 5741575"/>
              <a:gd name="connsiteY2" fmla="*/ 955271 h 955271"/>
              <a:gd name="connsiteX3" fmla="*/ 8558 w 5741575"/>
              <a:gd name="connsiteY3" fmla="*/ 953971 h 955271"/>
              <a:gd name="connsiteX4" fmla="*/ 16894 w 5741575"/>
              <a:gd name="connsiteY4" fmla="*/ 953847 h 955271"/>
              <a:gd name="connsiteX5" fmla="*/ 28156 w 5741575"/>
              <a:gd name="connsiteY5" fmla="*/ 951374 h 955271"/>
              <a:gd name="connsiteX6" fmla="*/ 28293 w 5741575"/>
              <a:gd name="connsiteY6" fmla="*/ 950971 h 955271"/>
              <a:gd name="connsiteX7" fmla="*/ 59229 w 5741575"/>
              <a:gd name="connsiteY7" fmla="*/ 903950 h 955271"/>
              <a:gd name="connsiteX8" fmla="*/ 148657 w 5741575"/>
              <a:gd name="connsiteY8" fmla="*/ 898134 h 955271"/>
              <a:gd name="connsiteX9" fmla="*/ 174554 w 5741575"/>
              <a:gd name="connsiteY9" fmla="*/ 886351 h 955271"/>
              <a:gd name="connsiteX10" fmla="*/ 187633 w 5741575"/>
              <a:gd name="connsiteY10" fmla="*/ 878226 h 955271"/>
              <a:gd name="connsiteX11" fmla="*/ 187961 w 5741575"/>
              <a:gd name="connsiteY11" fmla="*/ 876538 h 955271"/>
              <a:gd name="connsiteX12" fmla="*/ 240501 w 5741575"/>
              <a:gd name="connsiteY12" fmla="*/ 873150 h 955271"/>
              <a:gd name="connsiteX13" fmla="*/ 246345 w 5741575"/>
              <a:gd name="connsiteY13" fmla="*/ 869942 h 955271"/>
              <a:gd name="connsiteX14" fmla="*/ 306299 w 5741575"/>
              <a:gd name="connsiteY14" fmla="*/ 873609 h 955271"/>
              <a:gd name="connsiteX15" fmla="*/ 331571 w 5741575"/>
              <a:gd name="connsiteY15" fmla="*/ 869866 h 955271"/>
              <a:gd name="connsiteX16" fmla="*/ 384157 w 5741575"/>
              <a:gd name="connsiteY16" fmla="*/ 867971 h 955271"/>
              <a:gd name="connsiteX17" fmla="*/ 477637 w 5741575"/>
              <a:gd name="connsiteY17" fmla="*/ 870334 h 955271"/>
              <a:gd name="connsiteX18" fmla="*/ 570239 w 5741575"/>
              <a:gd name="connsiteY18" fmla="*/ 829596 h 955271"/>
              <a:gd name="connsiteX19" fmla="*/ 772070 w 5741575"/>
              <a:gd name="connsiteY19" fmla="*/ 820296 h 955271"/>
              <a:gd name="connsiteX20" fmla="*/ 948872 w 5741575"/>
              <a:gd name="connsiteY20" fmla="*/ 772201 h 955271"/>
              <a:gd name="connsiteX21" fmla="*/ 1127089 w 5741575"/>
              <a:gd name="connsiteY21" fmla="*/ 746926 h 955271"/>
              <a:gd name="connsiteX22" fmla="*/ 1226314 w 5741575"/>
              <a:gd name="connsiteY22" fmla="*/ 722473 h 955271"/>
              <a:gd name="connsiteX23" fmla="*/ 1278773 w 5741575"/>
              <a:gd name="connsiteY23" fmla="*/ 711503 h 955271"/>
              <a:gd name="connsiteX24" fmla="*/ 1317691 w 5741575"/>
              <a:gd name="connsiteY24" fmla="*/ 708529 h 955271"/>
              <a:gd name="connsiteX25" fmla="*/ 1360404 w 5741575"/>
              <a:gd name="connsiteY25" fmla="*/ 675922 h 955271"/>
              <a:gd name="connsiteX26" fmla="*/ 1412292 w 5741575"/>
              <a:gd name="connsiteY26" fmla="*/ 670793 h 955271"/>
              <a:gd name="connsiteX27" fmla="*/ 1494753 w 5741575"/>
              <a:gd name="connsiteY27" fmla="*/ 644686 h 955271"/>
              <a:gd name="connsiteX28" fmla="*/ 1616217 w 5741575"/>
              <a:gd name="connsiteY28" fmla="*/ 622107 h 955271"/>
              <a:gd name="connsiteX29" fmla="*/ 1710928 w 5741575"/>
              <a:gd name="connsiteY29" fmla="*/ 600666 h 955271"/>
              <a:gd name="connsiteX30" fmla="*/ 1743718 w 5741575"/>
              <a:gd name="connsiteY30" fmla="*/ 584327 h 955271"/>
              <a:gd name="connsiteX31" fmla="*/ 1873778 w 5741575"/>
              <a:gd name="connsiteY31" fmla="*/ 530130 h 955271"/>
              <a:gd name="connsiteX32" fmla="*/ 1988411 w 5741575"/>
              <a:gd name="connsiteY32" fmla="*/ 491599 h 955271"/>
              <a:gd name="connsiteX33" fmla="*/ 2085507 w 5741575"/>
              <a:gd name="connsiteY33" fmla="*/ 498527 h 955271"/>
              <a:gd name="connsiteX34" fmla="*/ 2090767 w 5741575"/>
              <a:gd name="connsiteY34" fmla="*/ 490616 h 955271"/>
              <a:gd name="connsiteX35" fmla="*/ 2151143 w 5741575"/>
              <a:gd name="connsiteY35" fmla="*/ 478332 h 955271"/>
              <a:gd name="connsiteX36" fmla="*/ 2378710 w 5741575"/>
              <a:gd name="connsiteY36" fmla="*/ 477570 h 955271"/>
              <a:gd name="connsiteX37" fmla="*/ 2496256 w 5741575"/>
              <a:gd name="connsiteY37" fmla="*/ 452396 h 955271"/>
              <a:gd name="connsiteX38" fmla="*/ 2535387 w 5741575"/>
              <a:gd name="connsiteY38" fmla="*/ 436645 h 955271"/>
              <a:gd name="connsiteX39" fmla="*/ 2601109 w 5741575"/>
              <a:gd name="connsiteY39" fmla="*/ 410678 h 955271"/>
              <a:gd name="connsiteX40" fmla="*/ 2643855 w 5741575"/>
              <a:gd name="connsiteY40" fmla="*/ 374482 h 955271"/>
              <a:gd name="connsiteX41" fmla="*/ 2657726 w 5741575"/>
              <a:gd name="connsiteY41" fmla="*/ 365841 h 955271"/>
              <a:gd name="connsiteX42" fmla="*/ 2687125 w 5741575"/>
              <a:gd name="connsiteY42" fmla="*/ 366820 h 955271"/>
              <a:gd name="connsiteX43" fmla="*/ 2697479 w 5741575"/>
              <a:gd name="connsiteY43" fmla="*/ 361430 h 955271"/>
              <a:gd name="connsiteX44" fmla="*/ 2701547 w 5741575"/>
              <a:gd name="connsiteY44" fmla="*/ 361545 h 955271"/>
              <a:gd name="connsiteX45" fmla="*/ 2711054 w 5741575"/>
              <a:gd name="connsiteY45" fmla="*/ 360597 h 955271"/>
              <a:gd name="connsiteX46" fmla="*/ 2710438 w 5741575"/>
              <a:gd name="connsiteY46" fmla="*/ 366958 h 955271"/>
              <a:gd name="connsiteX47" fmla="*/ 2777227 w 5741575"/>
              <a:gd name="connsiteY47" fmla="*/ 368972 h 955271"/>
              <a:gd name="connsiteX48" fmla="*/ 2779510 w 5741575"/>
              <a:gd name="connsiteY48" fmla="*/ 361652 h 955271"/>
              <a:gd name="connsiteX49" fmla="*/ 2786278 w 5741575"/>
              <a:gd name="connsiteY49" fmla="*/ 359869 h 955271"/>
              <a:gd name="connsiteX50" fmla="*/ 2792101 w 5741575"/>
              <a:gd name="connsiteY50" fmla="*/ 365927 h 955271"/>
              <a:gd name="connsiteX51" fmla="*/ 2885545 w 5741575"/>
              <a:gd name="connsiteY51" fmla="*/ 372818 h 955271"/>
              <a:gd name="connsiteX52" fmla="*/ 3009558 w 5741575"/>
              <a:gd name="connsiteY52" fmla="*/ 370573 h 955271"/>
              <a:gd name="connsiteX53" fmla="*/ 3095010 w 5741575"/>
              <a:gd name="connsiteY53" fmla="*/ 332454 h 955271"/>
              <a:gd name="connsiteX54" fmla="*/ 3103742 w 5741575"/>
              <a:gd name="connsiteY54" fmla="*/ 337974 h 955271"/>
              <a:gd name="connsiteX55" fmla="*/ 3165093 w 5741575"/>
              <a:gd name="connsiteY55" fmla="*/ 329459 h 955271"/>
              <a:gd name="connsiteX56" fmla="*/ 3373785 w 5741575"/>
              <a:gd name="connsiteY56" fmla="*/ 255680 h 955271"/>
              <a:gd name="connsiteX57" fmla="*/ 3493851 w 5741575"/>
              <a:gd name="connsiteY57" fmla="*/ 240255 h 955271"/>
              <a:gd name="connsiteX58" fmla="*/ 3537470 w 5741575"/>
              <a:gd name="connsiteY58" fmla="*/ 241867 h 955271"/>
              <a:gd name="connsiteX59" fmla="*/ 3610489 w 5741575"/>
              <a:gd name="connsiteY59" fmla="*/ 244128 h 955271"/>
              <a:gd name="connsiteX60" fmla="*/ 3667539 w 5741575"/>
              <a:gd name="connsiteY60" fmla="*/ 263271 h 955271"/>
              <a:gd name="connsiteX61" fmla="*/ 3727614 w 5741575"/>
              <a:gd name="connsiteY61" fmla="*/ 258245 h 955271"/>
              <a:gd name="connsiteX62" fmla="*/ 3738369 w 5741575"/>
              <a:gd name="connsiteY62" fmla="*/ 234506 h 955271"/>
              <a:gd name="connsiteX63" fmla="*/ 3803670 w 5741575"/>
              <a:gd name="connsiteY63" fmla="*/ 236457 h 955271"/>
              <a:gd name="connsiteX64" fmla="*/ 3903080 w 5741575"/>
              <a:gd name="connsiteY64" fmla="*/ 241890 h 955271"/>
              <a:gd name="connsiteX65" fmla="*/ 4114838 w 5741575"/>
              <a:gd name="connsiteY65" fmla="*/ 238165 h 955271"/>
              <a:gd name="connsiteX66" fmla="*/ 4271023 w 5741575"/>
              <a:gd name="connsiteY66" fmla="*/ 241959 h 955271"/>
              <a:gd name="connsiteX67" fmla="*/ 4367397 w 5741575"/>
              <a:gd name="connsiteY67" fmla="*/ 271442 h 955271"/>
              <a:gd name="connsiteX68" fmla="*/ 4495366 w 5741575"/>
              <a:gd name="connsiteY68" fmla="*/ 271618 h 955271"/>
              <a:gd name="connsiteX69" fmla="*/ 4517347 w 5741575"/>
              <a:gd name="connsiteY69" fmla="*/ 275639 h 955271"/>
              <a:gd name="connsiteX70" fmla="*/ 4546116 w 5741575"/>
              <a:gd name="connsiteY70" fmla="*/ 268568 h 955271"/>
              <a:gd name="connsiteX71" fmla="*/ 4661259 w 5741575"/>
              <a:gd name="connsiteY71" fmla="*/ 238966 h 955271"/>
              <a:gd name="connsiteX72" fmla="*/ 4750403 w 5741575"/>
              <a:gd name="connsiteY72" fmla="*/ 204364 h 955271"/>
              <a:gd name="connsiteX73" fmla="*/ 4867614 w 5741575"/>
              <a:gd name="connsiteY73" fmla="*/ 208668 h 955271"/>
              <a:gd name="connsiteX74" fmla="*/ 4937036 w 5741575"/>
              <a:gd name="connsiteY74" fmla="*/ 195446 h 955271"/>
              <a:gd name="connsiteX75" fmla="*/ 5047626 w 5741575"/>
              <a:gd name="connsiteY75" fmla="*/ 149604 h 955271"/>
              <a:gd name="connsiteX76" fmla="*/ 5200247 w 5741575"/>
              <a:gd name="connsiteY76" fmla="*/ 142695 h 955271"/>
              <a:gd name="connsiteX77" fmla="*/ 5235691 w 5741575"/>
              <a:gd name="connsiteY77" fmla="*/ 173330 h 955271"/>
              <a:gd name="connsiteX78" fmla="*/ 5280133 w 5741575"/>
              <a:gd name="connsiteY78" fmla="*/ 189342 h 955271"/>
              <a:gd name="connsiteX79" fmla="*/ 5291963 w 5741575"/>
              <a:gd name="connsiteY79" fmla="*/ 139446 h 955271"/>
              <a:gd name="connsiteX80" fmla="*/ 5418472 w 5741575"/>
              <a:gd name="connsiteY80" fmla="*/ 89163 h 955271"/>
              <a:gd name="connsiteX81" fmla="*/ 5482354 w 5741575"/>
              <a:gd name="connsiteY81" fmla="*/ 69470 h 955271"/>
              <a:gd name="connsiteX82" fmla="*/ 5583280 w 5741575"/>
              <a:gd name="connsiteY82" fmla="*/ 49787 h 955271"/>
              <a:gd name="connsiteX83" fmla="*/ 5613766 w 5741575"/>
              <a:gd name="connsiteY83" fmla="*/ 41855 h 955271"/>
              <a:gd name="connsiteX84" fmla="*/ 5684952 w 5741575"/>
              <a:gd name="connsiteY84" fmla="*/ 26088 h 955271"/>
              <a:gd name="connsiteX85" fmla="*/ 5741575 w 5741575"/>
              <a:gd name="connsiteY85" fmla="*/ 0 h 955271"/>
              <a:gd name="connsiteX0" fmla="*/ 5741575 w 5741575"/>
              <a:gd name="connsiteY0" fmla="*/ 0 h 955271"/>
              <a:gd name="connsiteX1" fmla="*/ 5741575 w 5741575"/>
              <a:gd name="connsiteY1" fmla="*/ 955271 h 955271"/>
              <a:gd name="connsiteX2" fmla="*/ 0 w 5741575"/>
              <a:gd name="connsiteY2" fmla="*/ 955271 h 955271"/>
              <a:gd name="connsiteX3" fmla="*/ 8558 w 5741575"/>
              <a:gd name="connsiteY3" fmla="*/ 953971 h 955271"/>
              <a:gd name="connsiteX4" fmla="*/ 16894 w 5741575"/>
              <a:gd name="connsiteY4" fmla="*/ 953847 h 955271"/>
              <a:gd name="connsiteX5" fmla="*/ 28156 w 5741575"/>
              <a:gd name="connsiteY5" fmla="*/ 951374 h 955271"/>
              <a:gd name="connsiteX6" fmla="*/ 28293 w 5741575"/>
              <a:gd name="connsiteY6" fmla="*/ 950971 h 955271"/>
              <a:gd name="connsiteX7" fmla="*/ 59229 w 5741575"/>
              <a:gd name="connsiteY7" fmla="*/ 903950 h 955271"/>
              <a:gd name="connsiteX8" fmla="*/ 148657 w 5741575"/>
              <a:gd name="connsiteY8" fmla="*/ 898134 h 955271"/>
              <a:gd name="connsiteX9" fmla="*/ 174554 w 5741575"/>
              <a:gd name="connsiteY9" fmla="*/ 886351 h 955271"/>
              <a:gd name="connsiteX10" fmla="*/ 187633 w 5741575"/>
              <a:gd name="connsiteY10" fmla="*/ 878226 h 955271"/>
              <a:gd name="connsiteX11" fmla="*/ 187961 w 5741575"/>
              <a:gd name="connsiteY11" fmla="*/ 876538 h 955271"/>
              <a:gd name="connsiteX12" fmla="*/ 240501 w 5741575"/>
              <a:gd name="connsiteY12" fmla="*/ 873150 h 955271"/>
              <a:gd name="connsiteX13" fmla="*/ 246345 w 5741575"/>
              <a:gd name="connsiteY13" fmla="*/ 869942 h 955271"/>
              <a:gd name="connsiteX14" fmla="*/ 306299 w 5741575"/>
              <a:gd name="connsiteY14" fmla="*/ 873609 h 955271"/>
              <a:gd name="connsiteX15" fmla="*/ 331571 w 5741575"/>
              <a:gd name="connsiteY15" fmla="*/ 869866 h 955271"/>
              <a:gd name="connsiteX16" fmla="*/ 384157 w 5741575"/>
              <a:gd name="connsiteY16" fmla="*/ 867971 h 955271"/>
              <a:gd name="connsiteX17" fmla="*/ 477637 w 5741575"/>
              <a:gd name="connsiteY17" fmla="*/ 870334 h 955271"/>
              <a:gd name="connsiteX18" fmla="*/ 570239 w 5741575"/>
              <a:gd name="connsiteY18" fmla="*/ 829596 h 955271"/>
              <a:gd name="connsiteX19" fmla="*/ 772070 w 5741575"/>
              <a:gd name="connsiteY19" fmla="*/ 820296 h 955271"/>
              <a:gd name="connsiteX20" fmla="*/ 948872 w 5741575"/>
              <a:gd name="connsiteY20" fmla="*/ 772201 h 955271"/>
              <a:gd name="connsiteX21" fmla="*/ 1127089 w 5741575"/>
              <a:gd name="connsiteY21" fmla="*/ 746926 h 955271"/>
              <a:gd name="connsiteX22" fmla="*/ 1226314 w 5741575"/>
              <a:gd name="connsiteY22" fmla="*/ 722473 h 955271"/>
              <a:gd name="connsiteX23" fmla="*/ 1278773 w 5741575"/>
              <a:gd name="connsiteY23" fmla="*/ 711503 h 955271"/>
              <a:gd name="connsiteX24" fmla="*/ 1317691 w 5741575"/>
              <a:gd name="connsiteY24" fmla="*/ 708529 h 955271"/>
              <a:gd name="connsiteX25" fmla="*/ 1360404 w 5741575"/>
              <a:gd name="connsiteY25" fmla="*/ 675922 h 955271"/>
              <a:gd name="connsiteX26" fmla="*/ 1412292 w 5741575"/>
              <a:gd name="connsiteY26" fmla="*/ 670793 h 955271"/>
              <a:gd name="connsiteX27" fmla="*/ 1494753 w 5741575"/>
              <a:gd name="connsiteY27" fmla="*/ 644686 h 955271"/>
              <a:gd name="connsiteX28" fmla="*/ 1616217 w 5741575"/>
              <a:gd name="connsiteY28" fmla="*/ 622107 h 955271"/>
              <a:gd name="connsiteX29" fmla="*/ 1710928 w 5741575"/>
              <a:gd name="connsiteY29" fmla="*/ 600666 h 955271"/>
              <a:gd name="connsiteX30" fmla="*/ 1743718 w 5741575"/>
              <a:gd name="connsiteY30" fmla="*/ 584327 h 955271"/>
              <a:gd name="connsiteX31" fmla="*/ 1873778 w 5741575"/>
              <a:gd name="connsiteY31" fmla="*/ 530130 h 955271"/>
              <a:gd name="connsiteX32" fmla="*/ 1988411 w 5741575"/>
              <a:gd name="connsiteY32" fmla="*/ 491599 h 955271"/>
              <a:gd name="connsiteX33" fmla="*/ 2085507 w 5741575"/>
              <a:gd name="connsiteY33" fmla="*/ 498527 h 955271"/>
              <a:gd name="connsiteX34" fmla="*/ 2090767 w 5741575"/>
              <a:gd name="connsiteY34" fmla="*/ 490616 h 955271"/>
              <a:gd name="connsiteX35" fmla="*/ 2151143 w 5741575"/>
              <a:gd name="connsiteY35" fmla="*/ 478332 h 955271"/>
              <a:gd name="connsiteX36" fmla="*/ 2378710 w 5741575"/>
              <a:gd name="connsiteY36" fmla="*/ 477570 h 955271"/>
              <a:gd name="connsiteX37" fmla="*/ 2496256 w 5741575"/>
              <a:gd name="connsiteY37" fmla="*/ 452396 h 955271"/>
              <a:gd name="connsiteX38" fmla="*/ 2535387 w 5741575"/>
              <a:gd name="connsiteY38" fmla="*/ 436645 h 955271"/>
              <a:gd name="connsiteX39" fmla="*/ 2601109 w 5741575"/>
              <a:gd name="connsiteY39" fmla="*/ 410678 h 955271"/>
              <a:gd name="connsiteX40" fmla="*/ 2643855 w 5741575"/>
              <a:gd name="connsiteY40" fmla="*/ 374482 h 955271"/>
              <a:gd name="connsiteX41" fmla="*/ 2657726 w 5741575"/>
              <a:gd name="connsiteY41" fmla="*/ 365841 h 955271"/>
              <a:gd name="connsiteX42" fmla="*/ 2687125 w 5741575"/>
              <a:gd name="connsiteY42" fmla="*/ 366820 h 955271"/>
              <a:gd name="connsiteX43" fmla="*/ 2697479 w 5741575"/>
              <a:gd name="connsiteY43" fmla="*/ 361430 h 955271"/>
              <a:gd name="connsiteX44" fmla="*/ 2701547 w 5741575"/>
              <a:gd name="connsiteY44" fmla="*/ 361545 h 955271"/>
              <a:gd name="connsiteX45" fmla="*/ 2711054 w 5741575"/>
              <a:gd name="connsiteY45" fmla="*/ 360597 h 955271"/>
              <a:gd name="connsiteX46" fmla="*/ 2710438 w 5741575"/>
              <a:gd name="connsiteY46" fmla="*/ 366958 h 955271"/>
              <a:gd name="connsiteX47" fmla="*/ 2711050 w 5741575"/>
              <a:gd name="connsiteY47" fmla="*/ 358572 h 955271"/>
              <a:gd name="connsiteX48" fmla="*/ 2777227 w 5741575"/>
              <a:gd name="connsiteY48" fmla="*/ 368972 h 955271"/>
              <a:gd name="connsiteX49" fmla="*/ 2779510 w 5741575"/>
              <a:gd name="connsiteY49" fmla="*/ 361652 h 955271"/>
              <a:gd name="connsiteX50" fmla="*/ 2786278 w 5741575"/>
              <a:gd name="connsiteY50" fmla="*/ 359869 h 955271"/>
              <a:gd name="connsiteX51" fmla="*/ 2792101 w 5741575"/>
              <a:gd name="connsiteY51" fmla="*/ 365927 h 955271"/>
              <a:gd name="connsiteX52" fmla="*/ 2885545 w 5741575"/>
              <a:gd name="connsiteY52" fmla="*/ 372818 h 955271"/>
              <a:gd name="connsiteX53" fmla="*/ 3009558 w 5741575"/>
              <a:gd name="connsiteY53" fmla="*/ 370573 h 955271"/>
              <a:gd name="connsiteX54" fmla="*/ 3095010 w 5741575"/>
              <a:gd name="connsiteY54" fmla="*/ 332454 h 955271"/>
              <a:gd name="connsiteX55" fmla="*/ 3103742 w 5741575"/>
              <a:gd name="connsiteY55" fmla="*/ 337974 h 955271"/>
              <a:gd name="connsiteX56" fmla="*/ 3165093 w 5741575"/>
              <a:gd name="connsiteY56" fmla="*/ 329459 h 955271"/>
              <a:gd name="connsiteX57" fmla="*/ 3373785 w 5741575"/>
              <a:gd name="connsiteY57" fmla="*/ 255680 h 955271"/>
              <a:gd name="connsiteX58" fmla="*/ 3493851 w 5741575"/>
              <a:gd name="connsiteY58" fmla="*/ 240255 h 955271"/>
              <a:gd name="connsiteX59" fmla="*/ 3537470 w 5741575"/>
              <a:gd name="connsiteY59" fmla="*/ 241867 h 955271"/>
              <a:gd name="connsiteX60" fmla="*/ 3610489 w 5741575"/>
              <a:gd name="connsiteY60" fmla="*/ 244128 h 955271"/>
              <a:gd name="connsiteX61" fmla="*/ 3667539 w 5741575"/>
              <a:gd name="connsiteY61" fmla="*/ 263271 h 955271"/>
              <a:gd name="connsiteX62" fmla="*/ 3727614 w 5741575"/>
              <a:gd name="connsiteY62" fmla="*/ 258245 h 955271"/>
              <a:gd name="connsiteX63" fmla="*/ 3738369 w 5741575"/>
              <a:gd name="connsiteY63" fmla="*/ 234506 h 955271"/>
              <a:gd name="connsiteX64" fmla="*/ 3803670 w 5741575"/>
              <a:gd name="connsiteY64" fmla="*/ 236457 h 955271"/>
              <a:gd name="connsiteX65" fmla="*/ 3903080 w 5741575"/>
              <a:gd name="connsiteY65" fmla="*/ 241890 h 955271"/>
              <a:gd name="connsiteX66" fmla="*/ 4114838 w 5741575"/>
              <a:gd name="connsiteY66" fmla="*/ 238165 h 955271"/>
              <a:gd name="connsiteX67" fmla="*/ 4271023 w 5741575"/>
              <a:gd name="connsiteY67" fmla="*/ 241959 h 955271"/>
              <a:gd name="connsiteX68" fmla="*/ 4367397 w 5741575"/>
              <a:gd name="connsiteY68" fmla="*/ 271442 h 955271"/>
              <a:gd name="connsiteX69" fmla="*/ 4495366 w 5741575"/>
              <a:gd name="connsiteY69" fmla="*/ 271618 h 955271"/>
              <a:gd name="connsiteX70" fmla="*/ 4517347 w 5741575"/>
              <a:gd name="connsiteY70" fmla="*/ 275639 h 955271"/>
              <a:gd name="connsiteX71" fmla="*/ 4546116 w 5741575"/>
              <a:gd name="connsiteY71" fmla="*/ 268568 h 955271"/>
              <a:gd name="connsiteX72" fmla="*/ 4661259 w 5741575"/>
              <a:gd name="connsiteY72" fmla="*/ 238966 h 955271"/>
              <a:gd name="connsiteX73" fmla="*/ 4750403 w 5741575"/>
              <a:gd name="connsiteY73" fmla="*/ 204364 h 955271"/>
              <a:gd name="connsiteX74" fmla="*/ 4867614 w 5741575"/>
              <a:gd name="connsiteY74" fmla="*/ 208668 h 955271"/>
              <a:gd name="connsiteX75" fmla="*/ 4937036 w 5741575"/>
              <a:gd name="connsiteY75" fmla="*/ 195446 h 955271"/>
              <a:gd name="connsiteX76" fmla="*/ 5047626 w 5741575"/>
              <a:gd name="connsiteY76" fmla="*/ 149604 h 955271"/>
              <a:gd name="connsiteX77" fmla="*/ 5200247 w 5741575"/>
              <a:gd name="connsiteY77" fmla="*/ 142695 h 955271"/>
              <a:gd name="connsiteX78" fmla="*/ 5235691 w 5741575"/>
              <a:gd name="connsiteY78" fmla="*/ 173330 h 955271"/>
              <a:gd name="connsiteX79" fmla="*/ 5280133 w 5741575"/>
              <a:gd name="connsiteY79" fmla="*/ 189342 h 955271"/>
              <a:gd name="connsiteX80" fmla="*/ 5291963 w 5741575"/>
              <a:gd name="connsiteY80" fmla="*/ 139446 h 955271"/>
              <a:gd name="connsiteX81" fmla="*/ 5418472 w 5741575"/>
              <a:gd name="connsiteY81" fmla="*/ 89163 h 955271"/>
              <a:gd name="connsiteX82" fmla="*/ 5482354 w 5741575"/>
              <a:gd name="connsiteY82" fmla="*/ 69470 h 955271"/>
              <a:gd name="connsiteX83" fmla="*/ 5583280 w 5741575"/>
              <a:gd name="connsiteY83" fmla="*/ 49787 h 955271"/>
              <a:gd name="connsiteX84" fmla="*/ 5613766 w 5741575"/>
              <a:gd name="connsiteY84" fmla="*/ 41855 h 955271"/>
              <a:gd name="connsiteX85" fmla="*/ 5684952 w 5741575"/>
              <a:gd name="connsiteY85" fmla="*/ 26088 h 955271"/>
              <a:gd name="connsiteX86" fmla="*/ 5741575 w 5741575"/>
              <a:gd name="connsiteY86" fmla="*/ 0 h 955271"/>
              <a:gd name="connsiteX0" fmla="*/ 5741575 w 5741575"/>
              <a:gd name="connsiteY0" fmla="*/ 0 h 955271"/>
              <a:gd name="connsiteX1" fmla="*/ 5741575 w 5741575"/>
              <a:gd name="connsiteY1" fmla="*/ 955271 h 955271"/>
              <a:gd name="connsiteX2" fmla="*/ 0 w 5741575"/>
              <a:gd name="connsiteY2" fmla="*/ 955271 h 955271"/>
              <a:gd name="connsiteX3" fmla="*/ 8558 w 5741575"/>
              <a:gd name="connsiteY3" fmla="*/ 953971 h 955271"/>
              <a:gd name="connsiteX4" fmla="*/ 16894 w 5741575"/>
              <a:gd name="connsiteY4" fmla="*/ 953847 h 955271"/>
              <a:gd name="connsiteX5" fmla="*/ 28156 w 5741575"/>
              <a:gd name="connsiteY5" fmla="*/ 951374 h 955271"/>
              <a:gd name="connsiteX6" fmla="*/ 28293 w 5741575"/>
              <a:gd name="connsiteY6" fmla="*/ 950971 h 955271"/>
              <a:gd name="connsiteX7" fmla="*/ 59229 w 5741575"/>
              <a:gd name="connsiteY7" fmla="*/ 903950 h 955271"/>
              <a:gd name="connsiteX8" fmla="*/ 148657 w 5741575"/>
              <a:gd name="connsiteY8" fmla="*/ 898134 h 955271"/>
              <a:gd name="connsiteX9" fmla="*/ 174554 w 5741575"/>
              <a:gd name="connsiteY9" fmla="*/ 886351 h 955271"/>
              <a:gd name="connsiteX10" fmla="*/ 187633 w 5741575"/>
              <a:gd name="connsiteY10" fmla="*/ 878226 h 955271"/>
              <a:gd name="connsiteX11" fmla="*/ 187961 w 5741575"/>
              <a:gd name="connsiteY11" fmla="*/ 876538 h 955271"/>
              <a:gd name="connsiteX12" fmla="*/ 240501 w 5741575"/>
              <a:gd name="connsiteY12" fmla="*/ 873150 h 955271"/>
              <a:gd name="connsiteX13" fmla="*/ 246345 w 5741575"/>
              <a:gd name="connsiteY13" fmla="*/ 869942 h 955271"/>
              <a:gd name="connsiteX14" fmla="*/ 306299 w 5741575"/>
              <a:gd name="connsiteY14" fmla="*/ 873609 h 955271"/>
              <a:gd name="connsiteX15" fmla="*/ 331571 w 5741575"/>
              <a:gd name="connsiteY15" fmla="*/ 869866 h 955271"/>
              <a:gd name="connsiteX16" fmla="*/ 384157 w 5741575"/>
              <a:gd name="connsiteY16" fmla="*/ 867971 h 955271"/>
              <a:gd name="connsiteX17" fmla="*/ 477637 w 5741575"/>
              <a:gd name="connsiteY17" fmla="*/ 870334 h 955271"/>
              <a:gd name="connsiteX18" fmla="*/ 570239 w 5741575"/>
              <a:gd name="connsiteY18" fmla="*/ 829596 h 955271"/>
              <a:gd name="connsiteX19" fmla="*/ 772070 w 5741575"/>
              <a:gd name="connsiteY19" fmla="*/ 820296 h 955271"/>
              <a:gd name="connsiteX20" fmla="*/ 948872 w 5741575"/>
              <a:gd name="connsiteY20" fmla="*/ 772201 h 955271"/>
              <a:gd name="connsiteX21" fmla="*/ 1127089 w 5741575"/>
              <a:gd name="connsiteY21" fmla="*/ 746926 h 955271"/>
              <a:gd name="connsiteX22" fmla="*/ 1226314 w 5741575"/>
              <a:gd name="connsiteY22" fmla="*/ 722473 h 955271"/>
              <a:gd name="connsiteX23" fmla="*/ 1278773 w 5741575"/>
              <a:gd name="connsiteY23" fmla="*/ 711503 h 955271"/>
              <a:gd name="connsiteX24" fmla="*/ 1317691 w 5741575"/>
              <a:gd name="connsiteY24" fmla="*/ 708529 h 955271"/>
              <a:gd name="connsiteX25" fmla="*/ 1360404 w 5741575"/>
              <a:gd name="connsiteY25" fmla="*/ 675922 h 955271"/>
              <a:gd name="connsiteX26" fmla="*/ 1412292 w 5741575"/>
              <a:gd name="connsiteY26" fmla="*/ 670793 h 955271"/>
              <a:gd name="connsiteX27" fmla="*/ 1494753 w 5741575"/>
              <a:gd name="connsiteY27" fmla="*/ 644686 h 955271"/>
              <a:gd name="connsiteX28" fmla="*/ 1616217 w 5741575"/>
              <a:gd name="connsiteY28" fmla="*/ 622107 h 955271"/>
              <a:gd name="connsiteX29" fmla="*/ 1710928 w 5741575"/>
              <a:gd name="connsiteY29" fmla="*/ 600666 h 955271"/>
              <a:gd name="connsiteX30" fmla="*/ 1743718 w 5741575"/>
              <a:gd name="connsiteY30" fmla="*/ 584327 h 955271"/>
              <a:gd name="connsiteX31" fmla="*/ 1873778 w 5741575"/>
              <a:gd name="connsiteY31" fmla="*/ 530130 h 955271"/>
              <a:gd name="connsiteX32" fmla="*/ 1988411 w 5741575"/>
              <a:gd name="connsiteY32" fmla="*/ 491599 h 955271"/>
              <a:gd name="connsiteX33" fmla="*/ 2085507 w 5741575"/>
              <a:gd name="connsiteY33" fmla="*/ 498527 h 955271"/>
              <a:gd name="connsiteX34" fmla="*/ 2090767 w 5741575"/>
              <a:gd name="connsiteY34" fmla="*/ 490616 h 955271"/>
              <a:gd name="connsiteX35" fmla="*/ 2151143 w 5741575"/>
              <a:gd name="connsiteY35" fmla="*/ 478332 h 955271"/>
              <a:gd name="connsiteX36" fmla="*/ 2378710 w 5741575"/>
              <a:gd name="connsiteY36" fmla="*/ 477570 h 955271"/>
              <a:gd name="connsiteX37" fmla="*/ 2496256 w 5741575"/>
              <a:gd name="connsiteY37" fmla="*/ 452396 h 955271"/>
              <a:gd name="connsiteX38" fmla="*/ 2535387 w 5741575"/>
              <a:gd name="connsiteY38" fmla="*/ 436645 h 955271"/>
              <a:gd name="connsiteX39" fmla="*/ 2601109 w 5741575"/>
              <a:gd name="connsiteY39" fmla="*/ 410678 h 955271"/>
              <a:gd name="connsiteX40" fmla="*/ 2643855 w 5741575"/>
              <a:gd name="connsiteY40" fmla="*/ 374482 h 955271"/>
              <a:gd name="connsiteX41" fmla="*/ 2657726 w 5741575"/>
              <a:gd name="connsiteY41" fmla="*/ 365841 h 955271"/>
              <a:gd name="connsiteX42" fmla="*/ 2687125 w 5741575"/>
              <a:gd name="connsiteY42" fmla="*/ 366820 h 955271"/>
              <a:gd name="connsiteX43" fmla="*/ 2697479 w 5741575"/>
              <a:gd name="connsiteY43" fmla="*/ 361430 h 955271"/>
              <a:gd name="connsiteX44" fmla="*/ 2701547 w 5741575"/>
              <a:gd name="connsiteY44" fmla="*/ 361545 h 955271"/>
              <a:gd name="connsiteX45" fmla="*/ 2711054 w 5741575"/>
              <a:gd name="connsiteY45" fmla="*/ 360597 h 955271"/>
              <a:gd name="connsiteX46" fmla="*/ 2710438 w 5741575"/>
              <a:gd name="connsiteY46" fmla="*/ 366958 h 955271"/>
              <a:gd name="connsiteX47" fmla="*/ 2777227 w 5741575"/>
              <a:gd name="connsiteY47" fmla="*/ 368972 h 955271"/>
              <a:gd name="connsiteX48" fmla="*/ 2779510 w 5741575"/>
              <a:gd name="connsiteY48" fmla="*/ 361652 h 955271"/>
              <a:gd name="connsiteX49" fmla="*/ 2786278 w 5741575"/>
              <a:gd name="connsiteY49" fmla="*/ 359869 h 955271"/>
              <a:gd name="connsiteX50" fmla="*/ 2792101 w 5741575"/>
              <a:gd name="connsiteY50" fmla="*/ 365927 h 955271"/>
              <a:gd name="connsiteX51" fmla="*/ 2885545 w 5741575"/>
              <a:gd name="connsiteY51" fmla="*/ 372818 h 955271"/>
              <a:gd name="connsiteX52" fmla="*/ 3009558 w 5741575"/>
              <a:gd name="connsiteY52" fmla="*/ 370573 h 955271"/>
              <a:gd name="connsiteX53" fmla="*/ 3095010 w 5741575"/>
              <a:gd name="connsiteY53" fmla="*/ 332454 h 955271"/>
              <a:gd name="connsiteX54" fmla="*/ 3103742 w 5741575"/>
              <a:gd name="connsiteY54" fmla="*/ 337974 h 955271"/>
              <a:gd name="connsiteX55" fmla="*/ 3165093 w 5741575"/>
              <a:gd name="connsiteY55" fmla="*/ 329459 h 955271"/>
              <a:gd name="connsiteX56" fmla="*/ 3373785 w 5741575"/>
              <a:gd name="connsiteY56" fmla="*/ 255680 h 955271"/>
              <a:gd name="connsiteX57" fmla="*/ 3493851 w 5741575"/>
              <a:gd name="connsiteY57" fmla="*/ 240255 h 955271"/>
              <a:gd name="connsiteX58" fmla="*/ 3537470 w 5741575"/>
              <a:gd name="connsiteY58" fmla="*/ 241867 h 955271"/>
              <a:gd name="connsiteX59" fmla="*/ 3610489 w 5741575"/>
              <a:gd name="connsiteY59" fmla="*/ 244128 h 955271"/>
              <a:gd name="connsiteX60" fmla="*/ 3667539 w 5741575"/>
              <a:gd name="connsiteY60" fmla="*/ 263271 h 955271"/>
              <a:gd name="connsiteX61" fmla="*/ 3727614 w 5741575"/>
              <a:gd name="connsiteY61" fmla="*/ 258245 h 955271"/>
              <a:gd name="connsiteX62" fmla="*/ 3738369 w 5741575"/>
              <a:gd name="connsiteY62" fmla="*/ 234506 h 955271"/>
              <a:gd name="connsiteX63" fmla="*/ 3803670 w 5741575"/>
              <a:gd name="connsiteY63" fmla="*/ 236457 h 955271"/>
              <a:gd name="connsiteX64" fmla="*/ 3903080 w 5741575"/>
              <a:gd name="connsiteY64" fmla="*/ 241890 h 955271"/>
              <a:gd name="connsiteX65" fmla="*/ 4114838 w 5741575"/>
              <a:gd name="connsiteY65" fmla="*/ 238165 h 955271"/>
              <a:gd name="connsiteX66" fmla="*/ 4271023 w 5741575"/>
              <a:gd name="connsiteY66" fmla="*/ 241959 h 955271"/>
              <a:gd name="connsiteX67" fmla="*/ 4367397 w 5741575"/>
              <a:gd name="connsiteY67" fmla="*/ 271442 h 955271"/>
              <a:gd name="connsiteX68" fmla="*/ 4495366 w 5741575"/>
              <a:gd name="connsiteY68" fmla="*/ 271618 h 955271"/>
              <a:gd name="connsiteX69" fmla="*/ 4517347 w 5741575"/>
              <a:gd name="connsiteY69" fmla="*/ 275639 h 955271"/>
              <a:gd name="connsiteX70" fmla="*/ 4546116 w 5741575"/>
              <a:gd name="connsiteY70" fmla="*/ 268568 h 955271"/>
              <a:gd name="connsiteX71" fmla="*/ 4661259 w 5741575"/>
              <a:gd name="connsiteY71" fmla="*/ 238966 h 955271"/>
              <a:gd name="connsiteX72" fmla="*/ 4750403 w 5741575"/>
              <a:gd name="connsiteY72" fmla="*/ 204364 h 955271"/>
              <a:gd name="connsiteX73" fmla="*/ 4867614 w 5741575"/>
              <a:gd name="connsiteY73" fmla="*/ 208668 h 955271"/>
              <a:gd name="connsiteX74" fmla="*/ 4937036 w 5741575"/>
              <a:gd name="connsiteY74" fmla="*/ 195446 h 955271"/>
              <a:gd name="connsiteX75" fmla="*/ 5047626 w 5741575"/>
              <a:gd name="connsiteY75" fmla="*/ 149604 h 955271"/>
              <a:gd name="connsiteX76" fmla="*/ 5200247 w 5741575"/>
              <a:gd name="connsiteY76" fmla="*/ 142695 h 955271"/>
              <a:gd name="connsiteX77" fmla="*/ 5235691 w 5741575"/>
              <a:gd name="connsiteY77" fmla="*/ 173330 h 955271"/>
              <a:gd name="connsiteX78" fmla="*/ 5280133 w 5741575"/>
              <a:gd name="connsiteY78" fmla="*/ 189342 h 955271"/>
              <a:gd name="connsiteX79" fmla="*/ 5291963 w 5741575"/>
              <a:gd name="connsiteY79" fmla="*/ 139446 h 955271"/>
              <a:gd name="connsiteX80" fmla="*/ 5418472 w 5741575"/>
              <a:gd name="connsiteY80" fmla="*/ 89163 h 955271"/>
              <a:gd name="connsiteX81" fmla="*/ 5482354 w 5741575"/>
              <a:gd name="connsiteY81" fmla="*/ 69470 h 955271"/>
              <a:gd name="connsiteX82" fmla="*/ 5583280 w 5741575"/>
              <a:gd name="connsiteY82" fmla="*/ 49787 h 955271"/>
              <a:gd name="connsiteX83" fmla="*/ 5613766 w 5741575"/>
              <a:gd name="connsiteY83" fmla="*/ 41855 h 955271"/>
              <a:gd name="connsiteX84" fmla="*/ 5684952 w 5741575"/>
              <a:gd name="connsiteY84" fmla="*/ 26088 h 955271"/>
              <a:gd name="connsiteX85" fmla="*/ 5741575 w 5741575"/>
              <a:gd name="connsiteY85" fmla="*/ 0 h 955271"/>
              <a:gd name="connsiteX0" fmla="*/ 5741575 w 5741575"/>
              <a:gd name="connsiteY0" fmla="*/ 0 h 955271"/>
              <a:gd name="connsiteX1" fmla="*/ 5741575 w 5741575"/>
              <a:gd name="connsiteY1" fmla="*/ 955271 h 955271"/>
              <a:gd name="connsiteX2" fmla="*/ 0 w 5741575"/>
              <a:gd name="connsiteY2" fmla="*/ 955271 h 955271"/>
              <a:gd name="connsiteX3" fmla="*/ 8558 w 5741575"/>
              <a:gd name="connsiteY3" fmla="*/ 953971 h 955271"/>
              <a:gd name="connsiteX4" fmla="*/ 16894 w 5741575"/>
              <a:gd name="connsiteY4" fmla="*/ 953847 h 955271"/>
              <a:gd name="connsiteX5" fmla="*/ 28156 w 5741575"/>
              <a:gd name="connsiteY5" fmla="*/ 951374 h 955271"/>
              <a:gd name="connsiteX6" fmla="*/ 28293 w 5741575"/>
              <a:gd name="connsiteY6" fmla="*/ 950971 h 955271"/>
              <a:gd name="connsiteX7" fmla="*/ 59229 w 5741575"/>
              <a:gd name="connsiteY7" fmla="*/ 903950 h 955271"/>
              <a:gd name="connsiteX8" fmla="*/ 148657 w 5741575"/>
              <a:gd name="connsiteY8" fmla="*/ 898134 h 955271"/>
              <a:gd name="connsiteX9" fmla="*/ 174554 w 5741575"/>
              <a:gd name="connsiteY9" fmla="*/ 886351 h 955271"/>
              <a:gd name="connsiteX10" fmla="*/ 187633 w 5741575"/>
              <a:gd name="connsiteY10" fmla="*/ 878226 h 955271"/>
              <a:gd name="connsiteX11" fmla="*/ 187961 w 5741575"/>
              <a:gd name="connsiteY11" fmla="*/ 876538 h 955271"/>
              <a:gd name="connsiteX12" fmla="*/ 240501 w 5741575"/>
              <a:gd name="connsiteY12" fmla="*/ 873150 h 955271"/>
              <a:gd name="connsiteX13" fmla="*/ 246345 w 5741575"/>
              <a:gd name="connsiteY13" fmla="*/ 869942 h 955271"/>
              <a:gd name="connsiteX14" fmla="*/ 306299 w 5741575"/>
              <a:gd name="connsiteY14" fmla="*/ 873609 h 955271"/>
              <a:gd name="connsiteX15" fmla="*/ 331571 w 5741575"/>
              <a:gd name="connsiteY15" fmla="*/ 869866 h 955271"/>
              <a:gd name="connsiteX16" fmla="*/ 384157 w 5741575"/>
              <a:gd name="connsiteY16" fmla="*/ 867971 h 955271"/>
              <a:gd name="connsiteX17" fmla="*/ 477637 w 5741575"/>
              <a:gd name="connsiteY17" fmla="*/ 870334 h 955271"/>
              <a:gd name="connsiteX18" fmla="*/ 570239 w 5741575"/>
              <a:gd name="connsiteY18" fmla="*/ 829596 h 955271"/>
              <a:gd name="connsiteX19" fmla="*/ 772070 w 5741575"/>
              <a:gd name="connsiteY19" fmla="*/ 820296 h 955271"/>
              <a:gd name="connsiteX20" fmla="*/ 948872 w 5741575"/>
              <a:gd name="connsiteY20" fmla="*/ 772201 h 955271"/>
              <a:gd name="connsiteX21" fmla="*/ 1127089 w 5741575"/>
              <a:gd name="connsiteY21" fmla="*/ 746926 h 955271"/>
              <a:gd name="connsiteX22" fmla="*/ 1226314 w 5741575"/>
              <a:gd name="connsiteY22" fmla="*/ 722473 h 955271"/>
              <a:gd name="connsiteX23" fmla="*/ 1278773 w 5741575"/>
              <a:gd name="connsiteY23" fmla="*/ 711503 h 955271"/>
              <a:gd name="connsiteX24" fmla="*/ 1317691 w 5741575"/>
              <a:gd name="connsiteY24" fmla="*/ 708529 h 955271"/>
              <a:gd name="connsiteX25" fmla="*/ 1360404 w 5741575"/>
              <a:gd name="connsiteY25" fmla="*/ 675922 h 955271"/>
              <a:gd name="connsiteX26" fmla="*/ 1412292 w 5741575"/>
              <a:gd name="connsiteY26" fmla="*/ 670793 h 955271"/>
              <a:gd name="connsiteX27" fmla="*/ 1494753 w 5741575"/>
              <a:gd name="connsiteY27" fmla="*/ 644686 h 955271"/>
              <a:gd name="connsiteX28" fmla="*/ 1616217 w 5741575"/>
              <a:gd name="connsiteY28" fmla="*/ 622107 h 955271"/>
              <a:gd name="connsiteX29" fmla="*/ 1710928 w 5741575"/>
              <a:gd name="connsiteY29" fmla="*/ 600666 h 955271"/>
              <a:gd name="connsiteX30" fmla="*/ 1743718 w 5741575"/>
              <a:gd name="connsiteY30" fmla="*/ 584327 h 955271"/>
              <a:gd name="connsiteX31" fmla="*/ 1873778 w 5741575"/>
              <a:gd name="connsiteY31" fmla="*/ 530130 h 955271"/>
              <a:gd name="connsiteX32" fmla="*/ 1988411 w 5741575"/>
              <a:gd name="connsiteY32" fmla="*/ 491599 h 955271"/>
              <a:gd name="connsiteX33" fmla="*/ 2085507 w 5741575"/>
              <a:gd name="connsiteY33" fmla="*/ 498527 h 955271"/>
              <a:gd name="connsiteX34" fmla="*/ 2090767 w 5741575"/>
              <a:gd name="connsiteY34" fmla="*/ 490616 h 955271"/>
              <a:gd name="connsiteX35" fmla="*/ 2151143 w 5741575"/>
              <a:gd name="connsiteY35" fmla="*/ 478332 h 955271"/>
              <a:gd name="connsiteX36" fmla="*/ 2378710 w 5741575"/>
              <a:gd name="connsiteY36" fmla="*/ 477570 h 955271"/>
              <a:gd name="connsiteX37" fmla="*/ 2496256 w 5741575"/>
              <a:gd name="connsiteY37" fmla="*/ 452396 h 955271"/>
              <a:gd name="connsiteX38" fmla="*/ 2535387 w 5741575"/>
              <a:gd name="connsiteY38" fmla="*/ 436645 h 955271"/>
              <a:gd name="connsiteX39" fmla="*/ 2601109 w 5741575"/>
              <a:gd name="connsiteY39" fmla="*/ 410678 h 955271"/>
              <a:gd name="connsiteX40" fmla="*/ 2643855 w 5741575"/>
              <a:gd name="connsiteY40" fmla="*/ 374482 h 955271"/>
              <a:gd name="connsiteX41" fmla="*/ 2657726 w 5741575"/>
              <a:gd name="connsiteY41" fmla="*/ 365841 h 955271"/>
              <a:gd name="connsiteX42" fmla="*/ 2687125 w 5741575"/>
              <a:gd name="connsiteY42" fmla="*/ 366820 h 955271"/>
              <a:gd name="connsiteX43" fmla="*/ 2697479 w 5741575"/>
              <a:gd name="connsiteY43" fmla="*/ 361430 h 955271"/>
              <a:gd name="connsiteX44" fmla="*/ 2701547 w 5741575"/>
              <a:gd name="connsiteY44" fmla="*/ 361545 h 955271"/>
              <a:gd name="connsiteX45" fmla="*/ 2711054 w 5741575"/>
              <a:gd name="connsiteY45" fmla="*/ 360597 h 955271"/>
              <a:gd name="connsiteX46" fmla="*/ 2777227 w 5741575"/>
              <a:gd name="connsiteY46" fmla="*/ 368972 h 955271"/>
              <a:gd name="connsiteX47" fmla="*/ 2779510 w 5741575"/>
              <a:gd name="connsiteY47" fmla="*/ 361652 h 955271"/>
              <a:gd name="connsiteX48" fmla="*/ 2786278 w 5741575"/>
              <a:gd name="connsiteY48" fmla="*/ 359869 h 955271"/>
              <a:gd name="connsiteX49" fmla="*/ 2792101 w 5741575"/>
              <a:gd name="connsiteY49" fmla="*/ 365927 h 955271"/>
              <a:gd name="connsiteX50" fmla="*/ 2885545 w 5741575"/>
              <a:gd name="connsiteY50" fmla="*/ 372818 h 955271"/>
              <a:gd name="connsiteX51" fmla="*/ 3009558 w 5741575"/>
              <a:gd name="connsiteY51" fmla="*/ 370573 h 955271"/>
              <a:gd name="connsiteX52" fmla="*/ 3095010 w 5741575"/>
              <a:gd name="connsiteY52" fmla="*/ 332454 h 955271"/>
              <a:gd name="connsiteX53" fmla="*/ 3103742 w 5741575"/>
              <a:gd name="connsiteY53" fmla="*/ 337974 h 955271"/>
              <a:gd name="connsiteX54" fmla="*/ 3165093 w 5741575"/>
              <a:gd name="connsiteY54" fmla="*/ 329459 h 955271"/>
              <a:gd name="connsiteX55" fmla="*/ 3373785 w 5741575"/>
              <a:gd name="connsiteY55" fmla="*/ 255680 h 955271"/>
              <a:gd name="connsiteX56" fmla="*/ 3493851 w 5741575"/>
              <a:gd name="connsiteY56" fmla="*/ 240255 h 955271"/>
              <a:gd name="connsiteX57" fmla="*/ 3537470 w 5741575"/>
              <a:gd name="connsiteY57" fmla="*/ 241867 h 955271"/>
              <a:gd name="connsiteX58" fmla="*/ 3610489 w 5741575"/>
              <a:gd name="connsiteY58" fmla="*/ 244128 h 955271"/>
              <a:gd name="connsiteX59" fmla="*/ 3667539 w 5741575"/>
              <a:gd name="connsiteY59" fmla="*/ 263271 h 955271"/>
              <a:gd name="connsiteX60" fmla="*/ 3727614 w 5741575"/>
              <a:gd name="connsiteY60" fmla="*/ 258245 h 955271"/>
              <a:gd name="connsiteX61" fmla="*/ 3738369 w 5741575"/>
              <a:gd name="connsiteY61" fmla="*/ 234506 h 955271"/>
              <a:gd name="connsiteX62" fmla="*/ 3803670 w 5741575"/>
              <a:gd name="connsiteY62" fmla="*/ 236457 h 955271"/>
              <a:gd name="connsiteX63" fmla="*/ 3903080 w 5741575"/>
              <a:gd name="connsiteY63" fmla="*/ 241890 h 955271"/>
              <a:gd name="connsiteX64" fmla="*/ 4114838 w 5741575"/>
              <a:gd name="connsiteY64" fmla="*/ 238165 h 955271"/>
              <a:gd name="connsiteX65" fmla="*/ 4271023 w 5741575"/>
              <a:gd name="connsiteY65" fmla="*/ 241959 h 955271"/>
              <a:gd name="connsiteX66" fmla="*/ 4367397 w 5741575"/>
              <a:gd name="connsiteY66" fmla="*/ 271442 h 955271"/>
              <a:gd name="connsiteX67" fmla="*/ 4495366 w 5741575"/>
              <a:gd name="connsiteY67" fmla="*/ 271618 h 955271"/>
              <a:gd name="connsiteX68" fmla="*/ 4517347 w 5741575"/>
              <a:gd name="connsiteY68" fmla="*/ 275639 h 955271"/>
              <a:gd name="connsiteX69" fmla="*/ 4546116 w 5741575"/>
              <a:gd name="connsiteY69" fmla="*/ 268568 h 955271"/>
              <a:gd name="connsiteX70" fmla="*/ 4661259 w 5741575"/>
              <a:gd name="connsiteY70" fmla="*/ 238966 h 955271"/>
              <a:gd name="connsiteX71" fmla="*/ 4750403 w 5741575"/>
              <a:gd name="connsiteY71" fmla="*/ 204364 h 955271"/>
              <a:gd name="connsiteX72" fmla="*/ 4867614 w 5741575"/>
              <a:gd name="connsiteY72" fmla="*/ 208668 h 955271"/>
              <a:gd name="connsiteX73" fmla="*/ 4937036 w 5741575"/>
              <a:gd name="connsiteY73" fmla="*/ 195446 h 955271"/>
              <a:gd name="connsiteX74" fmla="*/ 5047626 w 5741575"/>
              <a:gd name="connsiteY74" fmla="*/ 149604 h 955271"/>
              <a:gd name="connsiteX75" fmla="*/ 5200247 w 5741575"/>
              <a:gd name="connsiteY75" fmla="*/ 142695 h 955271"/>
              <a:gd name="connsiteX76" fmla="*/ 5235691 w 5741575"/>
              <a:gd name="connsiteY76" fmla="*/ 173330 h 955271"/>
              <a:gd name="connsiteX77" fmla="*/ 5280133 w 5741575"/>
              <a:gd name="connsiteY77" fmla="*/ 189342 h 955271"/>
              <a:gd name="connsiteX78" fmla="*/ 5291963 w 5741575"/>
              <a:gd name="connsiteY78" fmla="*/ 139446 h 955271"/>
              <a:gd name="connsiteX79" fmla="*/ 5418472 w 5741575"/>
              <a:gd name="connsiteY79" fmla="*/ 89163 h 955271"/>
              <a:gd name="connsiteX80" fmla="*/ 5482354 w 5741575"/>
              <a:gd name="connsiteY80" fmla="*/ 69470 h 955271"/>
              <a:gd name="connsiteX81" fmla="*/ 5583280 w 5741575"/>
              <a:gd name="connsiteY81" fmla="*/ 49787 h 955271"/>
              <a:gd name="connsiteX82" fmla="*/ 5613766 w 5741575"/>
              <a:gd name="connsiteY82" fmla="*/ 41855 h 955271"/>
              <a:gd name="connsiteX83" fmla="*/ 5684952 w 5741575"/>
              <a:gd name="connsiteY83" fmla="*/ 26088 h 955271"/>
              <a:gd name="connsiteX84" fmla="*/ 5741575 w 5741575"/>
              <a:gd name="connsiteY84" fmla="*/ 0 h 955271"/>
              <a:gd name="connsiteX0" fmla="*/ 5741575 w 5741575"/>
              <a:gd name="connsiteY0" fmla="*/ 0 h 955271"/>
              <a:gd name="connsiteX1" fmla="*/ 5741575 w 5741575"/>
              <a:gd name="connsiteY1" fmla="*/ 955271 h 955271"/>
              <a:gd name="connsiteX2" fmla="*/ 0 w 5741575"/>
              <a:gd name="connsiteY2" fmla="*/ 955271 h 955271"/>
              <a:gd name="connsiteX3" fmla="*/ 8558 w 5741575"/>
              <a:gd name="connsiteY3" fmla="*/ 953971 h 955271"/>
              <a:gd name="connsiteX4" fmla="*/ 16894 w 5741575"/>
              <a:gd name="connsiteY4" fmla="*/ 953847 h 955271"/>
              <a:gd name="connsiteX5" fmla="*/ 28156 w 5741575"/>
              <a:gd name="connsiteY5" fmla="*/ 951374 h 955271"/>
              <a:gd name="connsiteX6" fmla="*/ 28293 w 5741575"/>
              <a:gd name="connsiteY6" fmla="*/ 950971 h 955271"/>
              <a:gd name="connsiteX7" fmla="*/ 59229 w 5741575"/>
              <a:gd name="connsiteY7" fmla="*/ 903950 h 955271"/>
              <a:gd name="connsiteX8" fmla="*/ 148657 w 5741575"/>
              <a:gd name="connsiteY8" fmla="*/ 898134 h 955271"/>
              <a:gd name="connsiteX9" fmla="*/ 174554 w 5741575"/>
              <a:gd name="connsiteY9" fmla="*/ 886351 h 955271"/>
              <a:gd name="connsiteX10" fmla="*/ 187633 w 5741575"/>
              <a:gd name="connsiteY10" fmla="*/ 878226 h 955271"/>
              <a:gd name="connsiteX11" fmla="*/ 187961 w 5741575"/>
              <a:gd name="connsiteY11" fmla="*/ 876538 h 955271"/>
              <a:gd name="connsiteX12" fmla="*/ 240501 w 5741575"/>
              <a:gd name="connsiteY12" fmla="*/ 873150 h 955271"/>
              <a:gd name="connsiteX13" fmla="*/ 246345 w 5741575"/>
              <a:gd name="connsiteY13" fmla="*/ 869942 h 955271"/>
              <a:gd name="connsiteX14" fmla="*/ 306299 w 5741575"/>
              <a:gd name="connsiteY14" fmla="*/ 873609 h 955271"/>
              <a:gd name="connsiteX15" fmla="*/ 331571 w 5741575"/>
              <a:gd name="connsiteY15" fmla="*/ 869866 h 955271"/>
              <a:gd name="connsiteX16" fmla="*/ 384157 w 5741575"/>
              <a:gd name="connsiteY16" fmla="*/ 867971 h 955271"/>
              <a:gd name="connsiteX17" fmla="*/ 477637 w 5741575"/>
              <a:gd name="connsiteY17" fmla="*/ 870334 h 955271"/>
              <a:gd name="connsiteX18" fmla="*/ 570239 w 5741575"/>
              <a:gd name="connsiteY18" fmla="*/ 829596 h 955271"/>
              <a:gd name="connsiteX19" fmla="*/ 772070 w 5741575"/>
              <a:gd name="connsiteY19" fmla="*/ 820296 h 955271"/>
              <a:gd name="connsiteX20" fmla="*/ 948872 w 5741575"/>
              <a:gd name="connsiteY20" fmla="*/ 772201 h 955271"/>
              <a:gd name="connsiteX21" fmla="*/ 1127089 w 5741575"/>
              <a:gd name="connsiteY21" fmla="*/ 746926 h 955271"/>
              <a:gd name="connsiteX22" fmla="*/ 1226314 w 5741575"/>
              <a:gd name="connsiteY22" fmla="*/ 722473 h 955271"/>
              <a:gd name="connsiteX23" fmla="*/ 1278773 w 5741575"/>
              <a:gd name="connsiteY23" fmla="*/ 711503 h 955271"/>
              <a:gd name="connsiteX24" fmla="*/ 1317691 w 5741575"/>
              <a:gd name="connsiteY24" fmla="*/ 708529 h 955271"/>
              <a:gd name="connsiteX25" fmla="*/ 1360404 w 5741575"/>
              <a:gd name="connsiteY25" fmla="*/ 675922 h 955271"/>
              <a:gd name="connsiteX26" fmla="*/ 1412292 w 5741575"/>
              <a:gd name="connsiteY26" fmla="*/ 670793 h 955271"/>
              <a:gd name="connsiteX27" fmla="*/ 1494753 w 5741575"/>
              <a:gd name="connsiteY27" fmla="*/ 644686 h 955271"/>
              <a:gd name="connsiteX28" fmla="*/ 1616217 w 5741575"/>
              <a:gd name="connsiteY28" fmla="*/ 622107 h 955271"/>
              <a:gd name="connsiteX29" fmla="*/ 1710928 w 5741575"/>
              <a:gd name="connsiteY29" fmla="*/ 600666 h 955271"/>
              <a:gd name="connsiteX30" fmla="*/ 1743718 w 5741575"/>
              <a:gd name="connsiteY30" fmla="*/ 584327 h 955271"/>
              <a:gd name="connsiteX31" fmla="*/ 1873778 w 5741575"/>
              <a:gd name="connsiteY31" fmla="*/ 530130 h 955271"/>
              <a:gd name="connsiteX32" fmla="*/ 1988411 w 5741575"/>
              <a:gd name="connsiteY32" fmla="*/ 491599 h 955271"/>
              <a:gd name="connsiteX33" fmla="*/ 2085507 w 5741575"/>
              <a:gd name="connsiteY33" fmla="*/ 498527 h 955271"/>
              <a:gd name="connsiteX34" fmla="*/ 2090767 w 5741575"/>
              <a:gd name="connsiteY34" fmla="*/ 490616 h 955271"/>
              <a:gd name="connsiteX35" fmla="*/ 2151143 w 5741575"/>
              <a:gd name="connsiteY35" fmla="*/ 478332 h 955271"/>
              <a:gd name="connsiteX36" fmla="*/ 2378710 w 5741575"/>
              <a:gd name="connsiteY36" fmla="*/ 477570 h 955271"/>
              <a:gd name="connsiteX37" fmla="*/ 2496256 w 5741575"/>
              <a:gd name="connsiteY37" fmla="*/ 452396 h 955271"/>
              <a:gd name="connsiteX38" fmla="*/ 2535387 w 5741575"/>
              <a:gd name="connsiteY38" fmla="*/ 436645 h 955271"/>
              <a:gd name="connsiteX39" fmla="*/ 2601109 w 5741575"/>
              <a:gd name="connsiteY39" fmla="*/ 410678 h 955271"/>
              <a:gd name="connsiteX40" fmla="*/ 2643855 w 5741575"/>
              <a:gd name="connsiteY40" fmla="*/ 374482 h 955271"/>
              <a:gd name="connsiteX41" fmla="*/ 2657726 w 5741575"/>
              <a:gd name="connsiteY41" fmla="*/ 365841 h 955271"/>
              <a:gd name="connsiteX42" fmla="*/ 2687125 w 5741575"/>
              <a:gd name="connsiteY42" fmla="*/ 366820 h 955271"/>
              <a:gd name="connsiteX43" fmla="*/ 2697479 w 5741575"/>
              <a:gd name="connsiteY43" fmla="*/ 361430 h 955271"/>
              <a:gd name="connsiteX44" fmla="*/ 2701547 w 5741575"/>
              <a:gd name="connsiteY44" fmla="*/ 361545 h 955271"/>
              <a:gd name="connsiteX45" fmla="*/ 2711054 w 5741575"/>
              <a:gd name="connsiteY45" fmla="*/ 360597 h 955271"/>
              <a:gd name="connsiteX46" fmla="*/ 2777227 w 5741575"/>
              <a:gd name="connsiteY46" fmla="*/ 368972 h 955271"/>
              <a:gd name="connsiteX47" fmla="*/ 2779510 w 5741575"/>
              <a:gd name="connsiteY47" fmla="*/ 361652 h 955271"/>
              <a:gd name="connsiteX48" fmla="*/ 2786278 w 5741575"/>
              <a:gd name="connsiteY48" fmla="*/ 359869 h 955271"/>
              <a:gd name="connsiteX49" fmla="*/ 2885545 w 5741575"/>
              <a:gd name="connsiteY49" fmla="*/ 372818 h 955271"/>
              <a:gd name="connsiteX50" fmla="*/ 3009558 w 5741575"/>
              <a:gd name="connsiteY50" fmla="*/ 370573 h 955271"/>
              <a:gd name="connsiteX51" fmla="*/ 3095010 w 5741575"/>
              <a:gd name="connsiteY51" fmla="*/ 332454 h 955271"/>
              <a:gd name="connsiteX52" fmla="*/ 3103742 w 5741575"/>
              <a:gd name="connsiteY52" fmla="*/ 337974 h 955271"/>
              <a:gd name="connsiteX53" fmla="*/ 3165093 w 5741575"/>
              <a:gd name="connsiteY53" fmla="*/ 329459 h 955271"/>
              <a:gd name="connsiteX54" fmla="*/ 3373785 w 5741575"/>
              <a:gd name="connsiteY54" fmla="*/ 255680 h 955271"/>
              <a:gd name="connsiteX55" fmla="*/ 3493851 w 5741575"/>
              <a:gd name="connsiteY55" fmla="*/ 240255 h 955271"/>
              <a:gd name="connsiteX56" fmla="*/ 3537470 w 5741575"/>
              <a:gd name="connsiteY56" fmla="*/ 241867 h 955271"/>
              <a:gd name="connsiteX57" fmla="*/ 3610489 w 5741575"/>
              <a:gd name="connsiteY57" fmla="*/ 244128 h 955271"/>
              <a:gd name="connsiteX58" fmla="*/ 3667539 w 5741575"/>
              <a:gd name="connsiteY58" fmla="*/ 263271 h 955271"/>
              <a:gd name="connsiteX59" fmla="*/ 3727614 w 5741575"/>
              <a:gd name="connsiteY59" fmla="*/ 258245 h 955271"/>
              <a:gd name="connsiteX60" fmla="*/ 3738369 w 5741575"/>
              <a:gd name="connsiteY60" fmla="*/ 234506 h 955271"/>
              <a:gd name="connsiteX61" fmla="*/ 3803670 w 5741575"/>
              <a:gd name="connsiteY61" fmla="*/ 236457 h 955271"/>
              <a:gd name="connsiteX62" fmla="*/ 3903080 w 5741575"/>
              <a:gd name="connsiteY62" fmla="*/ 241890 h 955271"/>
              <a:gd name="connsiteX63" fmla="*/ 4114838 w 5741575"/>
              <a:gd name="connsiteY63" fmla="*/ 238165 h 955271"/>
              <a:gd name="connsiteX64" fmla="*/ 4271023 w 5741575"/>
              <a:gd name="connsiteY64" fmla="*/ 241959 h 955271"/>
              <a:gd name="connsiteX65" fmla="*/ 4367397 w 5741575"/>
              <a:gd name="connsiteY65" fmla="*/ 271442 h 955271"/>
              <a:gd name="connsiteX66" fmla="*/ 4495366 w 5741575"/>
              <a:gd name="connsiteY66" fmla="*/ 271618 h 955271"/>
              <a:gd name="connsiteX67" fmla="*/ 4517347 w 5741575"/>
              <a:gd name="connsiteY67" fmla="*/ 275639 h 955271"/>
              <a:gd name="connsiteX68" fmla="*/ 4546116 w 5741575"/>
              <a:gd name="connsiteY68" fmla="*/ 268568 h 955271"/>
              <a:gd name="connsiteX69" fmla="*/ 4661259 w 5741575"/>
              <a:gd name="connsiteY69" fmla="*/ 238966 h 955271"/>
              <a:gd name="connsiteX70" fmla="*/ 4750403 w 5741575"/>
              <a:gd name="connsiteY70" fmla="*/ 204364 h 955271"/>
              <a:gd name="connsiteX71" fmla="*/ 4867614 w 5741575"/>
              <a:gd name="connsiteY71" fmla="*/ 208668 h 955271"/>
              <a:gd name="connsiteX72" fmla="*/ 4937036 w 5741575"/>
              <a:gd name="connsiteY72" fmla="*/ 195446 h 955271"/>
              <a:gd name="connsiteX73" fmla="*/ 5047626 w 5741575"/>
              <a:gd name="connsiteY73" fmla="*/ 149604 h 955271"/>
              <a:gd name="connsiteX74" fmla="*/ 5200247 w 5741575"/>
              <a:gd name="connsiteY74" fmla="*/ 142695 h 955271"/>
              <a:gd name="connsiteX75" fmla="*/ 5235691 w 5741575"/>
              <a:gd name="connsiteY75" fmla="*/ 173330 h 955271"/>
              <a:gd name="connsiteX76" fmla="*/ 5280133 w 5741575"/>
              <a:gd name="connsiteY76" fmla="*/ 189342 h 955271"/>
              <a:gd name="connsiteX77" fmla="*/ 5291963 w 5741575"/>
              <a:gd name="connsiteY77" fmla="*/ 139446 h 955271"/>
              <a:gd name="connsiteX78" fmla="*/ 5418472 w 5741575"/>
              <a:gd name="connsiteY78" fmla="*/ 89163 h 955271"/>
              <a:gd name="connsiteX79" fmla="*/ 5482354 w 5741575"/>
              <a:gd name="connsiteY79" fmla="*/ 69470 h 955271"/>
              <a:gd name="connsiteX80" fmla="*/ 5583280 w 5741575"/>
              <a:gd name="connsiteY80" fmla="*/ 49787 h 955271"/>
              <a:gd name="connsiteX81" fmla="*/ 5613766 w 5741575"/>
              <a:gd name="connsiteY81" fmla="*/ 41855 h 955271"/>
              <a:gd name="connsiteX82" fmla="*/ 5684952 w 5741575"/>
              <a:gd name="connsiteY82" fmla="*/ 26088 h 955271"/>
              <a:gd name="connsiteX83" fmla="*/ 5741575 w 5741575"/>
              <a:gd name="connsiteY83" fmla="*/ 0 h 955271"/>
              <a:gd name="connsiteX0" fmla="*/ 5741575 w 5741575"/>
              <a:gd name="connsiteY0" fmla="*/ 0 h 955271"/>
              <a:gd name="connsiteX1" fmla="*/ 5741575 w 5741575"/>
              <a:gd name="connsiteY1" fmla="*/ 955271 h 955271"/>
              <a:gd name="connsiteX2" fmla="*/ 0 w 5741575"/>
              <a:gd name="connsiteY2" fmla="*/ 955271 h 955271"/>
              <a:gd name="connsiteX3" fmla="*/ 8558 w 5741575"/>
              <a:gd name="connsiteY3" fmla="*/ 953971 h 955271"/>
              <a:gd name="connsiteX4" fmla="*/ 16894 w 5741575"/>
              <a:gd name="connsiteY4" fmla="*/ 953847 h 955271"/>
              <a:gd name="connsiteX5" fmla="*/ 28156 w 5741575"/>
              <a:gd name="connsiteY5" fmla="*/ 951374 h 955271"/>
              <a:gd name="connsiteX6" fmla="*/ 28293 w 5741575"/>
              <a:gd name="connsiteY6" fmla="*/ 950971 h 955271"/>
              <a:gd name="connsiteX7" fmla="*/ 59229 w 5741575"/>
              <a:gd name="connsiteY7" fmla="*/ 903950 h 955271"/>
              <a:gd name="connsiteX8" fmla="*/ 148657 w 5741575"/>
              <a:gd name="connsiteY8" fmla="*/ 898134 h 955271"/>
              <a:gd name="connsiteX9" fmla="*/ 174554 w 5741575"/>
              <a:gd name="connsiteY9" fmla="*/ 886351 h 955271"/>
              <a:gd name="connsiteX10" fmla="*/ 187633 w 5741575"/>
              <a:gd name="connsiteY10" fmla="*/ 878226 h 955271"/>
              <a:gd name="connsiteX11" fmla="*/ 187961 w 5741575"/>
              <a:gd name="connsiteY11" fmla="*/ 876538 h 955271"/>
              <a:gd name="connsiteX12" fmla="*/ 240501 w 5741575"/>
              <a:gd name="connsiteY12" fmla="*/ 873150 h 955271"/>
              <a:gd name="connsiteX13" fmla="*/ 246345 w 5741575"/>
              <a:gd name="connsiteY13" fmla="*/ 869942 h 955271"/>
              <a:gd name="connsiteX14" fmla="*/ 306299 w 5741575"/>
              <a:gd name="connsiteY14" fmla="*/ 873609 h 955271"/>
              <a:gd name="connsiteX15" fmla="*/ 331571 w 5741575"/>
              <a:gd name="connsiteY15" fmla="*/ 869866 h 955271"/>
              <a:gd name="connsiteX16" fmla="*/ 384157 w 5741575"/>
              <a:gd name="connsiteY16" fmla="*/ 867971 h 955271"/>
              <a:gd name="connsiteX17" fmla="*/ 477637 w 5741575"/>
              <a:gd name="connsiteY17" fmla="*/ 870334 h 955271"/>
              <a:gd name="connsiteX18" fmla="*/ 570239 w 5741575"/>
              <a:gd name="connsiteY18" fmla="*/ 829596 h 955271"/>
              <a:gd name="connsiteX19" fmla="*/ 772070 w 5741575"/>
              <a:gd name="connsiteY19" fmla="*/ 820296 h 955271"/>
              <a:gd name="connsiteX20" fmla="*/ 948872 w 5741575"/>
              <a:gd name="connsiteY20" fmla="*/ 772201 h 955271"/>
              <a:gd name="connsiteX21" fmla="*/ 1127089 w 5741575"/>
              <a:gd name="connsiteY21" fmla="*/ 746926 h 955271"/>
              <a:gd name="connsiteX22" fmla="*/ 1226314 w 5741575"/>
              <a:gd name="connsiteY22" fmla="*/ 722473 h 955271"/>
              <a:gd name="connsiteX23" fmla="*/ 1278773 w 5741575"/>
              <a:gd name="connsiteY23" fmla="*/ 711503 h 955271"/>
              <a:gd name="connsiteX24" fmla="*/ 1317691 w 5741575"/>
              <a:gd name="connsiteY24" fmla="*/ 708529 h 955271"/>
              <a:gd name="connsiteX25" fmla="*/ 1360404 w 5741575"/>
              <a:gd name="connsiteY25" fmla="*/ 675922 h 955271"/>
              <a:gd name="connsiteX26" fmla="*/ 1412292 w 5741575"/>
              <a:gd name="connsiteY26" fmla="*/ 670793 h 955271"/>
              <a:gd name="connsiteX27" fmla="*/ 1494753 w 5741575"/>
              <a:gd name="connsiteY27" fmla="*/ 644686 h 955271"/>
              <a:gd name="connsiteX28" fmla="*/ 1616217 w 5741575"/>
              <a:gd name="connsiteY28" fmla="*/ 622107 h 955271"/>
              <a:gd name="connsiteX29" fmla="*/ 1710928 w 5741575"/>
              <a:gd name="connsiteY29" fmla="*/ 600666 h 955271"/>
              <a:gd name="connsiteX30" fmla="*/ 1743718 w 5741575"/>
              <a:gd name="connsiteY30" fmla="*/ 584327 h 955271"/>
              <a:gd name="connsiteX31" fmla="*/ 1873778 w 5741575"/>
              <a:gd name="connsiteY31" fmla="*/ 530130 h 955271"/>
              <a:gd name="connsiteX32" fmla="*/ 1988411 w 5741575"/>
              <a:gd name="connsiteY32" fmla="*/ 491599 h 955271"/>
              <a:gd name="connsiteX33" fmla="*/ 2085507 w 5741575"/>
              <a:gd name="connsiteY33" fmla="*/ 498527 h 955271"/>
              <a:gd name="connsiteX34" fmla="*/ 2090767 w 5741575"/>
              <a:gd name="connsiteY34" fmla="*/ 490616 h 955271"/>
              <a:gd name="connsiteX35" fmla="*/ 2151143 w 5741575"/>
              <a:gd name="connsiteY35" fmla="*/ 478332 h 955271"/>
              <a:gd name="connsiteX36" fmla="*/ 2378710 w 5741575"/>
              <a:gd name="connsiteY36" fmla="*/ 477570 h 955271"/>
              <a:gd name="connsiteX37" fmla="*/ 2496256 w 5741575"/>
              <a:gd name="connsiteY37" fmla="*/ 452396 h 955271"/>
              <a:gd name="connsiteX38" fmla="*/ 2535387 w 5741575"/>
              <a:gd name="connsiteY38" fmla="*/ 436645 h 955271"/>
              <a:gd name="connsiteX39" fmla="*/ 2601109 w 5741575"/>
              <a:gd name="connsiteY39" fmla="*/ 410678 h 955271"/>
              <a:gd name="connsiteX40" fmla="*/ 2643855 w 5741575"/>
              <a:gd name="connsiteY40" fmla="*/ 374482 h 955271"/>
              <a:gd name="connsiteX41" fmla="*/ 2657726 w 5741575"/>
              <a:gd name="connsiteY41" fmla="*/ 365841 h 955271"/>
              <a:gd name="connsiteX42" fmla="*/ 2687125 w 5741575"/>
              <a:gd name="connsiteY42" fmla="*/ 366820 h 955271"/>
              <a:gd name="connsiteX43" fmla="*/ 2697479 w 5741575"/>
              <a:gd name="connsiteY43" fmla="*/ 361430 h 955271"/>
              <a:gd name="connsiteX44" fmla="*/ 2701547 w 5741575"/>
              <a:gd name="connsiteY44" fmla="*/ 361545 h 955271"/>
              <a:gd name="connsiteX45" fmla="*/ 2711054 w 5741575"/>
              <a:gd name="connsiteY45" fmla="*/ 360597 h 955271"/>
              <a:gd name="connsiteX46" fmla="*/ 2777227 w 5741575"/>
              <a:gd name="connsiteY46" fmla="*/ 368972 h 955271"/>
              <a:gd name="connsiteX47" fmla="*/ 2779510 w 5741575"/>
              <a:gd name="connsiteY47" fmla="*/ 361652 h 955271"/>
              <a:gd name="connsiteX48" fmla="*/ 2885545 w 5741575"/>
              <a:gd name="connsiteY48" fmla="*/ 372818 h 955271"/>
              <a:gd name="connsiteX49" fmla="*/ 3009558 w 5741575"/>
              <a:gd name="connsiteY49" fmla="*/ 370573 h 955271"/>
              <a:gd name="connsiteX50" fmla="*/ 3095010 w 5741575"/>
              <a:gd name="connsiteY50" fmla="*/ 332454 h 955271"/>
              <a:gd name="connsiteX51" fmla="*/ 3103742 w 5741575"/>
              <a:gd name="connsiteY51" fmla="*/ 337974 h 955271"/>
              <a:gd name="connsiteX52" fmla="*/ 3165093 w 5741575"/>
              <a:gd name="connsiteY52" fmla="*/ 329459 h 955271"/>
              <a:gd name="connsiteX53" fmla="*/ 3373785 w 5741575"/>
              <a:gd name="connsiteY53" fmla="*/ 255680 h 955271"/>
              <a:gd name="connsiteX54" fmla="*/ 3493851 w 5741575"/>
              <a:gd name="connsiteY54" fmla="*/ 240255 h 955271"/>
              <a:gd name="connsiteX55" fmla="*/ 3537470 w 5741575"/>
              <a:gd name="connsiteY55" fmla="*/ 241867 h 955271"/>
              <a:gd name="connsiteX56" fmla="*/ 3610489 w 5741575"/>
              <a:gd name="connsiteY56" fmla="*/ 244128 h 955271"/>
              <a:gd name="connsiteX57" fmla="*/ 3667539 w 5741575"/>
              <a:gd name="connsiteY57" fmla="*/ 263271 h 955271"/>
              <a:gd name="connsiteX58" fmla="*/ 3727614 w 5741575"/>
              <a:gd name="connsiteY58" fmla="*/ 258245 h 955271"/>
              <a:gd name="connsiteX59" fmla="*/ 3738369 w 5741575"/>
              <a:gd name="connsiteY59" fmla="*/ 234506 h 955271"/>
              <a:gd name="connsiteX60" fmla="*/ 3803670 w 5741575"/>
              <a:gd name="connsiteY60" fmla="*/ 236457 h 955271"/>
              <a:gd name="connsiteX61" fmla="*/ 3903080 w 5741575"/>
              <a:gd name="connsiteY61" fmla="*/ 241890 h 955271"/>
              <a:gd name="connsiteX62" fmla="*/ 4114838 w 5741575"/>
              <a:gd name="connsiteY62" fmla="*/ 238165 h 955271"/>
              <a:gd name="connsiteX63" fmla="*/ 4271023 w 5741575"/>
              <a:gd name="connsiteY63" fmla="*/ 241959 h 955271"/>
              <a:gd name="connsiteX64" fmla="*/ 4367397 w 5741575"/>
              <a:gd name="connsiteY64" fmla="*/ 271442 h 955271"/>
              <a:gd name="connsiteX65" fmla="*/ 4495366 w 5741575"/>
              <a:gd name="connsiteY65" fmla="*/ 271618 h 955271"/>
              <a:gd name="connsiteX66" fmla="*/ 4517347 w 5741575"/>
              <a:gd name="connsiteY66" fmla="*/ 275639 h 955271"/>
              <a:gd name="connsiteX67" fmla="*/ 4546116 w 5741575"/>
              <a:gd name="connsiteY67" fmla="*/ 268568 h 955271"/>
              <a:gd name="connsiteX68" fmla="*/ 4661259 w 5741575"/>
              <a:gd name="connsiteY68" fmla="*/ 238966 h 955271"/>
              <a:gd name="connsiteX69" fmla="*/ 4750403 w 5741575"/>
              <a:gd name="connsiteY69" fmla="*/ 204364 h 955271"/>
              <a:gd name="connsiteX70" fmla="*/ 4867614 w 5741575"/>
              <a:gd name="connsiteY70" fmla="*/ 208668 h 955271"/>
              <a:gd name="connsiteX71" fmla="*/ 4937036 w 5741575"/>
              <a:gd name="connsiteY71" fmla="*/ 195446 h 955271"/>
              <a:gd name="connsiteX72" fmla="*/ 5047626 w 5741575"/>
              <a:gd name="connsiteY72" fmla="*/ 149604 h 955271"/>
              <a:gd name="connsiteX73" fmla="*/ 5200247 w 5741575"/>
              <a:gd name="connsiteY73" fmla="*/ 142695 h 955271"/>
              <a:gd name="connsiteX74" fmla="*/ 5235691 w 5741575"/>
              <a:gd name="connsiteY74" fmla="*/ 173330 h 955271"/>
              <a:gd name="connsiteX75" fmla="*/ 5280133 w 5741575"/>
              <a:gd name="connsiteY75" fmla="*/ 189342 h 955271"/>
              <a:gd name="connsiteX76" fmla="*/ 5291963 w 5741575"/>
              <a:gd name="connsiteY76" fmla="*/ 139446 h 955271"/>
              <a:gd name="connsiteX77" fmla="*/ 5418472 w 5741575"/>
              <a:gd name="connsiteY77" fmla="*/ 89163 h 955271"/>
              <a:gd name="connsiteX78" fmla="*/ 5482354 w 5741575"/>
              <a:gd name="connsiteY78" fmla="*/ 69470 h 955271"/>
              <a:gd name="connsiteX79" fmla="*/ 5583280 w 5741575"/>
              <a:gd name="connsiteY79" fmla="*/ 49787 h 955271"/>
              <a:gd name="connsiteX80" fmla="*/ 5613766 w 5741575"/>
              <a:gd name="connsiteY80" fmla="*/ 41855 h 955271"/>
              <a:gd name="connsiteX81" fmla="*/ 5684952 w 5741575"/>
              <a:gd name="connsiteY81" fmla="*/ 26088 h 955271"/>
              <a:gd name="connsiteX82" fmla="*/ 5741575 w 5741575"/>
              <a:gd name="connsiteY82" fmla="*/ 0 h 955271"/>
              <a:gd name="connsiteX0" fmla="*/ 5741575 w 5741575"/>
              <a:gd name="connsiteY0" fmla="*/ 0 h 955271"/>
              <a:gd name="connsiteX1" fmla="*/ 5741575 w 5741575"/>
              <a:gd name="connsiteY1" fmla="*/ 955271 h 955271"/>
              <a:gd name="connsiteX2" fmla="*/ 0 w 5741575"/>
              <a:gd name="connsiteY2" fmla="*/ 955271 h 955271"/>
              <a:gd name="connsiteX3" fmla="*/ 8558 w 5741575"/>
              <a:gd name="connsiteY3" fmla="*/ 953971 h 955271"/>
              <a:gd name="connsiteX4" fmla="*/ 16894 w 5741575"/>
              <a:gd name="connsiteY4" fmla="*/ 953847 h 955271"/>
              <a:gd name="connsiteX5" fmla="*/ 28156 w 5741575"/>
              <a:gd name="connsiteY5" fmla="*/ 951374 h 955271"/>
              <a:gd name="connsiteX6" fmla="*/ 28293 w 5741575"/>
              <a:gd name="connsiteY6" fmla="*/ 950971 h 955271"/>
              <a:gd name="connsiteX7" fmla="*/ 59229 w 5741575"/>
              <a:gd name="connsiteY7" fmla="*/ 903950 h 955271"/>
              <a:gd name="connsiteX8" fmla="*/ 148657 w 5741575"/>
              <a:gd name="connsiteY8" fmla="*/ 898134 h 955271"/>
              <a:gd name="connsiteX9" fmla="*/ 174554 w 5741575"/>
              <a:gd name="connsiteY9" fmla="*/ 886351 h 955271"/>
              <a:gd name="connsiteX10" fmla="*/ 187633 w 5741575"/>
              <a:gd name="connsiteY10" fmla="*/ 878226 h 955271"/>
              <a:gd name="connsiteX11" fmla="*/ 187961 w 5741575"/>
              <a:gd name="connsiteY11" fmla="*/ 876538 h 955271"/>
              <a:gd name="connsiteX12" fmla="*/ 240501 w 5741575"/>
              <a:gd name="connsiteY12" fmla="*/ 873150 h 955271"/>
              <a:gd name="connsiteX13" fmla="*/ 246345 w 5741575"/>
              <a:gd name="connsiteY13" fmla="*/ 869942 h 955271"/>
              <a:gd name="connsiteX14" fmla="*/ 306299 w 5741575"/>
              <a:gd name="connsiteY14" fmla="*/ 873609 h 955271"/>
              <a:gd name="connsiteX15" fmla="*/ 331571 w 5741575"/>
              <a:gd name="connsiteY15" fmla="*/ 869866 h 955271"/>
              <a:gd name="connsiteX16" fmla="*/ 384157 w 5741575"/>
              <a:gd name="connsiteY16" fmla="*/ 867971 h 955271"/>
              <a:gd name="connsiteX17" fmla="*/ 477637 w 5741575"/>
              <a:gd name="connsiteY17" fmla="*/ 870334 h 955271"/>
              <a:gd name="connsiteX18" fmla="*/ 570239 w 5741575"/>
              <a:gd name="connsiteY18" fmla="*/ 829596 h 955271"/>
              <a:gd name="connsiteX19" fmla="*/ 772070 w 5741575"/>
              <a:gd name="connsiteY19" fmla="*/ 820296 h 955271"/>
              <a:gd name="connsiteX20" fmla="*/ 948872 w 5741575"/>
              <a:gd name="connsiteY20" fmla="*/ 772201 h 955271"/>
              <a:gd name="connsiteX21" fmla="*/ 1127089 w 5741575"/>
              <a:gd name="connsiteY21" fmla="*/ 746926 h 955271"/>
              <a:gd name="connsiteX22" fmla="*/ 1226314 w 5741575"/>
              <a:gd name="connsiteY22" fmla="*/ 722473 h 955271"/>
              <a:gd name="connsiteX23" fmla="*/ 1278773 w 5741575"/>
              <a:gd name="connsiteY23" fmla="*/ 711503 h 955271"/>
              <a:gd name="connsiteX24" fmla="*/ 1317691 w 5741575"/>
              <a:gd name="connsiteY24" fmla="*/ 708529 h 955271"/>
              <a:gd name="connsiteX25" fmla="*/ 1360404 w 5741575"/>
              <a:gd name="connsiteY25" fmla="*/ 675922 h 955271"/>
              <a:gd name="connsiteX26" fmla="*/ 1412292 w 5741575"/>
              <a:gd name="connsiteY26" fmla="*/ 670793 h 955271"/>
              <a:gd name="connsiteX27" fmla="*/ 1494753 w 5741575"/>
              <a:gd name="connsiteY27" fmla="*/ 644686 h 955271"/>
              <a:gd name="connsiteX28" fmla="*/ 1616217 w 5741575"/>
              <a:gd name="connsiteY28" fmla="*/ 622107 h 955271"/>
              <a:gd name="connsiteX29" fmla="*/ 1710928 w 5741575"/>
              <a:gd name="connsiteY29" fmla="*/ 600666 h 955271"/>
              <a:gd name="connsiteX30" fmla="*/ 1743718 w 5741575"/>
              <a:gd name="connsiteY30" fmla="*/ 584327 h 955271"/>
              <a:gd name="connsiteX31" fmla="*/ 1873778 w 5741575"/>
              <a:gd name="connsiteY31" fmla="*/ 530130 h 955271"/>
              <a:gd name="connsiteX32" fmla="*/ 1988411 w 5741575"/>
              <a:gd name="connsiteY32" fmla="*/ 491599 h 955271"/>
              <a:gd name="connsiteX33" fmla="*/ 2085507 w 5741575"/>
              <a:gd name="connsiteY33" fmla="*/ 498527 h 955271"/>
              <a:gd name="connsiteX34" fmla="*/ 2090767 w 5741575"/>
              <a:gd name="connsiteY34" fmla="*/ 490616 h 955271"/>
              <a:gd name="connsiteX35" fmla="*/ 2151143 w 5741575"/>
              <a:gd name="connsiteY35" fmla="*/ 478332 h 955271"/>
              <a:gd name="connsiteX36" fmla="*/ 2378710 w 5741575"/>
              <a:gd name="connsiteY36" fmla="*/ 477570 h 955271"/>
              <a:gd name="connsiteX37" fmla="*/ 2496256 w 5741575"/>
              <a:gd name="connsiteY37" fmla="*/ 452396 h 955271"/>
              <a:gd name="connsiteX38" fmla="*/ 2535387 w 5741575"/>
              <a:gd name="connsiteY38" fmla="*/ 436645 h 955271"/>
              <a:gd name="connsiteX39" fmla="*/ 2601109 w 5741575"/>
              <a:gd name="connsiteY39" fmla="*/ 410678 h 955271"/>
              <a:gd name="connsiteX40" fmla="*/ 2643855 w 5741575"/>
              <a:gd name="connsiteY40" fmla="*/ 374482 h 955271"/>
              <a:gd name="connsiteX41" fmla="*/ 2657726 w 5741575"/>
              <a:gd name="connsiteY41" fmla="*/ 365841 h 955271"/>
              <a:gd name="connsiteX42" fmla="*/ 2687125 w 5741575"/>
              <a:gd name="connsiteY42" fmla="*/ 366820 h 955271"/>
              <a:gd name="connsiteX43" fmla="*/ 2697479 w 5741575"/>
              <a:gd name="connsiteY43" fmla="*/ 361430 h 955271"/>
              <a:gd name="connsiteX44" fmla="*/ 2701547 w 5741575"/>
              <a:gd name="connsiteY44" fmla="*/ 361545 h 955271"/>
              <a:gd name="connsiteX45" fmla="*/ 2711054 w 5741575"/>
              <a:gd name="connsiteY45" fmla="*/ 360597 h 955271"/>
              <a:gd name="connsiteX46" fmla="*/ 2777227 w 5741575"/>
              <a:gd name="connsiteY46" fmla="*/ 368972 h 955271"/>
              <a:gd name="connsiteX47" fmla="*/ 2824768 w 5741575"/>
              <a:gd name="connsiteY47" fmla="*/ 361652 h 955271"/>
              <a:gd name="connsiteX48" fmla="*/ 2885545 w 5741575"/>
              <a:gd name="connsiteY48" fmla="*/ 372818 h 955271"/>
              <a:gd name="connsiteX49" fmla="*/ 3009558 w 5741575"/>
              <a:gd name="connsiteY49" fmla="*/ 370573 h 955271"/>
              <a:gd name="connsiteX50" fmla="*/ 3095010 w 5741575"/>
              <a:gd name="connsiteY50" fmla="*/ 332454 h 955271"/>
              <a:gd name="connsiteX51" fmla="*/ 3103742 w 5741575"/>
              <a:gd name="connsiteY51" fmla="*/ 337974 h 955271"/>
              <a:gd name="connsiteX52" fmla="*/ 3165093 w 5741575"/>
              <a:gd name="connsiteY52" fmla="*/ 329459 h 955271"/>
              <a:gd name="connsiteX53" fmla="*/ 3373785 w 5741575"/>
              <a:gd name="connsiteY53" fmla="*/ 255680 h 955271"/>
              <a:gd name="connsiteX54" fmla="*/ 3493851 w 5741575"/>
              <a:gd name="connsiteY54" fmla="*/ 240255 h 955271"/>
              <a:gd name="connsiteX55" fmla="*/ 3537470 w 5741575"/>
              <a:gd name="connsiteY55" fmla="*/ 241867 h 955271"/>
              <a:gd name="connsiteX56" fmla="*/ 3610489 w 5741575"/>
              <a:gd name="connsiteY56" fmla="*/ 244128 h 955271"/>
              <a:gd name="connsiteX57" fmla="*/ 3667539 w 5741575"/>
              <a:gd name="connsiteY57" fmla="*/ 263271 h 955271"/>
              <a:gd name="connsiteX58" fmla="*/ 3727614 w 5741575"/>
              <a:gd name="connsiteY58" fmla="*/ 258245 h 955271"/>
              <a:gd name="connsiteX59" fmla="*/ 3738369 w 5741575"/>
              <a:gd name="connsiteY59" fmla="*/ 234506 h 955271"/>
              <a:gd name="connsiteX60" fmla="*/ 3803670 w 5741575"/>
              <a:gd name="connsiteY60" fmla="*/ 236457 h 955271"/>
              <a:gd name="connsiteX61" fmla="*/ 3903080 w 5741575"/>
              <a:gd name="connsiteY61" fmla="*/ 241890 h 955271"/>
              <a:gd name="connsiteX62" fmla="*/ 4114838 w 5741575"/>
              <a:gd name="connsiteY62" fmla="*/ 238165 h 955271"/>
              <a:gd name="connsiteX63" fmla="*/ 4271023 w 5741575"/>
              <a:gd name="connsiteY63" fmla="*/ 241959 h 955271"/>
              <a:gd name="connsiteX64" fmla="*/ 4367397 w 5741575"/>
              <a:gd name="connsiteY64" fmla="*/ 271442 h 955271"/>
              <a:gd name="connsiteX65" fmla="*/ 4495366 w 5741575"/>
              <a:gd name="connsiteY65" fmla="*/ 271618 h 955271"/>
              <a:gd name="connsiteX66" fmla="*/ 4517347 w 5741575"/>
              <a:gd name="connsiteY66" fmla="*/ 275639 h 955271"/>
              <a:gd name="connsiteX67" fmla="*/ 4546116 w 5741575"/>
              <a:gd name="connsiteY67" fmla="*/ 268568 h 955271"/>
              <a:gd name="connsiteX68" fmla="*/ 4661259 w 5741575"/>
              <a:gd name="connsiteY68" fmla="*/ 238966 h 955271"/>
              <a:gd name="connsiteX69" fmla="*/ 4750403 w 5741575"/>
              <a:gd name="connsiteY69" fmla="*/ 204364 h 955271"/>
              <a:gd name="connsiteX70" fmla="*/ 4867614 w 5741575"/>
              <a:gd name="connsiteY70" fmla="*/ 208668 h 955271"/>
              <a:gd name="connsiteX71" fmla="*/ 4937036 w 5741575"/>
              <a:gd name="connsiteY71" fmla="*/ 195446 h 955271"/>
              <a:gd name="connsiteX72" fmla="*/ 5047626 w 5741575"/>
              <a:gd name="connsiteY72" fmla="*/ 149604 h 955271"/>
              <a:gd name="connsiteX73" fmla="*/ 5200247 w 5741575"/>
              <a:gd name="connsiteY73" fmla="*/ 142695 h 955271"/>
              <a:gd name="connsiteX74" fmla="*/ 5235691 w 5741575"/>
              <a:gd name="connsiteY74" fmla="*/ 173330 h 955271"/>
              <a:gd name="connsiteX75" fmla="*/ 5280133 w 5741575"/>
              <a:gd name="connsiteY75" fmla="*/ 189342 h 955271"/>
              <a:gd name="connsiteX76" fmla="*/ 5291963 w 5741575"/>
              <a:gd name="connsiteY76" fmla="*/ 139446 h 955271"/>
              <a:gd name="connsiteX77" fmla="*/ 5418472 w 5741575"/>
              <a:gd name="connsiteY77" fmla="*/ 89163 h 955271"/>
              <a:gd name="connsiteX78" fmla="*/ 5482354 w 5741575"/>
              <a:gd name="connsiteY78" fmla="*/ 69470 h 955271"/>
              <a:gd name="connsiteX79" fmla="*/ 5583280 w 5741575"/>
              <a:gd name="connsiteY79" fmla="*/ 49787 h 955271"/>
              <a:gd name="connsiteX80" fmla="*/ 5613766 w 5741575"/>
              <a:gd name="connsiteY80" fmla="*/ 41855 h 955271"/>
              <a:gd name="connsiteX81" fmla="*/ 5684952 w 5741575"/>
              <a:gd name="connsiteY81" fmla="*/ 26088 h 955271"/>
              <a:gd name="connsiteX82" fmla="*/ 5741575 w 5741575"/>
              <a:gd name="connsiteY82" fmla="*/ 0 h 955271"/>
              <a:gd name="connsiteX0" fmla="*/ 5741575 w 5741575"/>
              <a:gd name="connsiteY0" fmla="*/ 0 h 955271"/>
              <a:gd name="connsiteX1" fmla="*/ 5741575 w 5741575"/>
              <a:gd name="connsiteY1" fmla="*/ 955271 h 955271"/>
              <a:gd name="connsiteX2" fmla="*/ 0 w 5741575"/>
              <a:gd name="connsiteY2" fmla="*/ 955271 h 955271"/>
              <a:gd name="connsiteX3" fmla="*/ 8558 w 5741575"/>
              <a:gd name="connsiteY3" fmla="*/ 953971 h 955271"/>
              <a:gd name="connsiteX4" fmla="*/ 16894 w 5741575"/>
              <a:gd name="connsiteY4" fmla="*/ 953847 h 955271"/>
              <a:gd name="connsiteX5" fmla="*/ 28156 w 5741575"/>
              <a:gd name="connsiteY5" fmla="*/ 951374 h 955271"/>
              <a:gd name="connsiteX6" fmla="*/ 28293 w 5741575"/>
              <a:gd name="connsiteY6" fmla="*/ 950971 h 955271"/>
              <a:gd name="connsiteX7" fmla="*/ 59229 w 5741575"/>
              <a:gd name="connsiteY7" fmla="*/ 903950 h 955271"/>
              <a:gd name="connsiteX8" fmla="*/ 148657 w 5741575"/>
              <a:gd name="connsiteY8" fmla="*/ 898134 h 955271"/>
              <a:gd name="connsiteX9" fmla="*/ 174554 w 5741575"/>
              <a:gd name="connsiteY9" fmla="*/ 886351 h 955271"/>
              <a:gd name="connsiteX10" fmla="*/ 187633 w 5741575"/>
              <a:gd name="connsiteY10" fmla="*/ 878226 h 955271"/>
              <a:gd name="connsiteX11" fmla="*/ 187961 w 5741575"/>
              <a:gd name="connsiteY11" fmla="*/ 876538 h 955271"/>
              <a:gd name="connsiteX12" fmla="*/ 240501 w 5741575"/>
              <a:gd name="connsiteY12" fmla="*/ 873150 h 955271"/>
              <a:gd name="connsiteX13" fmla="*/ 246345 w 5741575"/>
              <a:gd name="connsiteY13" fmla="*/ 869942 h 955271"/>
              <a:gd name="connsiteX14" fmla="*/ 306299 w 5741575"/>
              <a:gd name="connsiteY14" fmla="*/ 873609 h 955271"/>
              <a:gd name="connsiteX15" fmla="*/ 331571 w 5741575"/>
              <a:gd name="connsiteY15" fmla="*/ 869866 h 955271"/>
              <a:gd name="connsiteX16" fmla="*/ 384157 w 5741575"/>
              <a:gd name="connsiteY16" fmla="*/ 867971 h 955271"/>
              <a:gd name="connsiteX17" fmla="*/ 477637 w 5741575"/>
              <a:gd name="connsiteY17" fmla="*/ 870334 h 955271"/>
              <a:gd name="connsiteX18" fmla="*/ 570239 w 5741575"/>
              <a:gd name="connsiteY18" fmla="*/ 829596 h 955271"/>
              <a:gd name="connsiteX19" fmla="*/ 772070 w 5741575"/>
              <a:gd name="connsiteY19" fmla="*/ 820296 h 955271"/>
              <a:gd name="connsiteX20" fmla="*/ 948872 w 5741575"/>
              <a:gd name="connsiteY20" fmla="*/ 772201 h 955271"/>
              <a:gd name="connsiteX21" fmla="*/ 1127089 w 5741575"/>
              <a:gd name="connsiteY21" fmla="*/ 746926 h 955271"/>
              <a:gd name="connsiteX22" fmla="*/ 1226314 w 5741575"/>
              <a:gd name="connsiteY22" fmla="*/ 722473 h 955271"/>
              <a:gd name="connsiteX23" fmla="*/ 1278773 w 5741575"/>
              <a:gd name="connsiteY23" fmla="*/ 711503 h 955271"/>
              <a:gd name="connsiteX24" fmla="*/ 1317691 w 5741575"/>
              <a:gd name="connsiteY24" fmla="*/ 708529 h 955271"/>
              <a:gd name="connsiteX25" fmla="*/ 1360404 w 5741575"/>
              <a:gd name="connsiteY25" fmla="*/ 675922 h 955271"/>
              <a:gd name="connsiteX26" fmla="*/ 1412292 w 5741575"/>
              <a:gd name="connsiteY26" fmla="*/ 670793 h 955271"/>
              <a:gd name="connsiteX27" fmla="*/ 1494753 w 5741575"/>
              <a:gd name="connsiteY27" fmla="*/ 644686 h 955271"/>
              <a:gd name="connsiteX28" fmla="*/ 1616217 w 5741575"/>
              <a:gd name="connsiteY28" fmla="*/ 622107 h 955271"/>
              <a:gd name="connsiteX29" fmla="*/ 1710928 w 5741575"/>
              <a:gd name="connsiteY29" fmla="*/ 600666 h 955271"/>
              <a:gd name="connsiteX30" fmla="*/ 1743718 w 5741575"/>
              <a:gd name="connsiteY30" fmla="*/ 584327 h 955271"/>
              <a:gd name="connsiteX31" fmla="*/ 1873778 w 5741575"/>
              <a:gd name="connsiteY31" fmla="*/ 530130 h 955271"/>
              <a:gd name="connsiteX32" fmla="*/ 1988411 w 5741575"/>
              <a:gd name="connsiteY32" fmla="*/ 491599 h 955271"/>
              <a:gd name="connsiteX33" fmla="*/ 2085507 w 5741575"/>
              <a:gd name="connsiteY33" fmla="*/ 498527 h 955271"/>
              <a:gd name="connsiteX34" fmla="*/ 2090767 w 5741575"/>
              <a:gd name="connsiteY34" fmla="*/ 490616 h 955271"/>
              <a:gd name="connsiteX35" fmla="*/ 2151143 w 5741575"/>
              <a:gd name="connsiteY35" fmla="*/ 478332 h 955271"/>
              <a:gd name="connsiteX36" fmla="*/ 2378710 w 5741575"/>
              <a:gd name="connsiteY36" fmla="*/ 477570 h 955271"/>
              <a:gd name="connsiteX37" fmla="*/ 2496256 w 5741575"/>
              <a:gd name="connsiteY37" fmla="*/ 452396 h 955271"/>
              <a:gd name="connsiteX38" fmla="*/ 2535387 w 5741575"/>
              <a:gd name="connsiteY38" fmla="*/ 436645 h 955271"/>
              <a:gd name="connsiteX39" fmla="*/ 2601109 w 5741575"/>
              <a:gd name="connsiteY39" fmla="*/ 410678 h 955271"/>
              <a:gd name="connsiteX40" fmla="*/ 2643855 w 5741575"/>
              <a:gd name="connsiteY40" fmla="*/ 374482 h 955271"/>
              <a:gd name="connsiteX41" fmla="*/ 2657726 w 5741575"/>
              <a:gd name="connsiteY41" fmla="*/ 365841 h 955271"/>
              <a:gd name="connsiteX42" fmla="*/ 2687125 w 5741575"/>
              <a:gd name="connsiteY42" fmla="*/ 366820 h 955271"/>
              <a:gd name="connsiteX43" fmla="*/ 2697479 w 5741575"/>
              <a:gd name="connsiteY43" fmla="*/ 361430 h 955271"/>
              <a:gd name="connsiteX44" fmla="*/ 2701547 w 5741575"/>
              <a:gd name="connsiteY44" fmla="*/ 361545 h 955271"/>
              <a:gd name="connsiteX45" fmla="*/ 2777227 w 5741575"/>
              <a:gd name="connsiteY45" fmla="*/ 368972 h 955271"/>
              <a:gd name="connsiteX46" fmla="*/ 2824768 w 5741575"/>
              <a:gd name="connsiteY46" fmla="*/ 361652 h 955271"/>
              <a:gd name="connsiteX47" fmla="*/ 2885545 w 5741575"/>
              <a:gd name="connsiteY47" fmla="*/ 372818 h 955271"/>
              <a:gd name="connsiteX48" fmla="*/ 3009558 w 5741575"/>
              <a:gd name="connsiteY48" fmla="*/ 370573 h 955271"/>
              <a:gd name="connsiteX49" fmla="*/ 3095010 w 5741575"/>
              <a:gd name="connsiteY49" fmla="*/ 332454 h 955271"/>
              <a:gd name="connsiteX50" fmla="*/ 3103742 w 5741575"/>
              <a:gd name="connsiteY50" fmla="*/ 337974 h 955271"/>
              <a:gd name="connsiteX51" fmla="*/ 3165093 w 5741575"/>
              <a:gd name="connsiteY51" fmla="*/ 329459 h 955271"/>
              <a:gd name="connsiteX52" fmla="*/ 3373785 w 5741575"/>
              <a:gd name="connsiteY52" fmla="*/ 255680 h 955271"/>
              <a:gd name="connsiteX53" fmla="*/ 3493851 w 5741575"/>
              <a:gd name="connsiteY53" fmla="*/ 240255 h 955271"/>
              <a:gd name="connsiteX54" fmla="*/ 3537470 w 5741575"/>
              <a:gd name="connsiteY54" fmla="*/ 241867 h 955271"/>
              <a:gd name="connsiteX55" fmla="*/ 3610489 w 5741575"/>
              <a:gd name="connsiteY55" fmla="*/ 244128 h 955271"/>
              <a:gd name="connsiteX56" fmla="*/ 3667539 w 5741575"/>
              <a:gd name="connsiteY56" fmla="*/ 263271 h 955271"/>
              <a:gd name="connsiteX57" fmla="*/ 3727614 w 5741575"/>
              <a:gd name="connsiteY57" fmla="*/ 258245 h 955271"/>
              <a:gd name="connsiteX58" fmla="*/ 3738369 w 5741575"/>
              <a:gd name="connsiteY58" fmla="*/ 234506 h 955271"/>
              <a:gd name="connsiteX59" fmla="*/ 3803670 w 5741575"/>
              <a:gd name="connsiteY59" fmla="*/ 236457 h 955271"/>
              <a:gd name="connsiteX60" fmla="*/ 3903080 w 5741575"/>
              <a:gd name="connsiteY60" fmla="*/ 241890 h 955271"/>
              <a:gd name="connsiteX61" fmla="*/ 4114838 w 5741575"/>
              <a:gd name="connsiteY61" fmla="*/ 238165 h 955271"/>
              <a:gd name="connsiteX62" fmla="*/ 4271023 w 5741575"/>
              <a:gd name="connsiteY62" fmla="*/ 241959 h 955271"/>
              <a:gd name="connsiteX63" fmla="*/ 4367397 w 5741575"/>
              <a:gd name="connsiteY63" fmla="*/ 271442 h 955271"/>
              <a:gd name="connsiteX64" fmla="*/ 4495366 w 5741575"/>
              <a:gd name="connsiteY64" fmla="*/ 271618 h 955271"/>
              <a:gd name="connsiteX65" fmla="*/ 4517347 w 5741575"/>
              <a:gd name="connsiteY65" fmla="*/ 275639 h 955271"/>
              <a:gd name="connsiteX66" fmla="*/ 4546116 w 5741575"/>
              <a:gd name="connsiteY66" fmla="*/ 268568 h 955271"/>
              <a:gd name="connsiteX67" fmla="*/ 4661259 w 5741575"/>
              <a:gd name="connsiteY67" fmla="*/ 238966 h 955271"/>
              <a:gd name="connsiteX68" fmla="*/ 4750403 w 5741575"/>
              <a:gd name="connsiteY68" fmla="*/ 204364 h 955271"/>
              <a:gd name="connsiteX69" fmla="*/ 4867614 w 5741575"/>
              <a:gd name="connsiteY69" fmla="*/ 208668 h 955271"/>
              <a:gd name="connsiteX70" fmla="*/ 4937036 w 5741575"/>
              <a:gd name="connsiteY70" fmla="*/ 195446 h 955271"/>
              <a:gd name="connsiteX71" fmla="*/ 5047626 w 5741575"/>
              <a:gd name="connsiteY71" fmla="*/ 149604 h 955271"/>
              <a:gd name="connsiteX72" fmla="*/ 5200247 w 5741575"/>
              <a:gd name="connsiteY72" fmla="*/ 142695 h 955271"/>
              <a:gd name="connsiteX73" fmla="*/ 5235691 w 5741575"/>
              <a:gd name="connsiteY73" fmla="*/ 173330 h 955271"/>
              <a:gd name="connsiteX74" fmla="*/ 5280133 w 5741575"/>
              <a:gd name="connsiteY74" fmla="*/ 189342 h 955271"/>
              <a:gd name="connsiteX75" fmla="*/ 5291963 w 5741575"/>
              <a:gd name="connsiteY75" fmla="*/ 139446 h 955271"/>
              <a:gd name="connsiteX76" fmla="*/ 5418472 w 5741575"/>
              <a:gd name="connsiteY76" fmla="*/ 89163 h 955271"/>
              <a:gd name="connsiteX77" fmla="*/ 5482354 w 5741575"/>
              <a:gd name="connsiteY77" fmla="*/ 69470 h 955271"/>
              <a:gd name="connsiteX78" fmla="*/ 5583280 w 5741575"/>
              <a:gd name="connsiteY78" fmla="*/ 49787 h 955271"/>
              <a:gd name="connsiteX79" fmla="*/ 5613766 w 5741575"/>
              <a:gd name="connsiteY79" fmla="*/ 41855 h 955271"/>
              <a:gd name="connsiteX80" fmla="*/ 5684952 w 5741575"/>
              <a:gd name="connsiteY80" fmla="*/ 26088 h 955271"/>
              <a:gd name="connsiteX81" fmla="*/ 5741575 w 5741575"/>
              <a:gd name="connsiteY81" fmla="*/ 0 h 955271"/>
              <a:gd name="connsiteX0" fmla="*/ 5741575 w 5741575"/>
              <a:gd name="connsiteY0" fmla="*/ 0 h 955271"/>
              <a:gd name="connsiteX1" fmla="*/ 5741575 w 5741575"/>
              <a:gd name="connsiteY1" fmla="*/ 955271 h 955271"/>
              <a:gd name="connsiteX2" fmla="*/ 0 w 5741575"/>
              <a:gd name="connsiteY2" fmla="*/ 955271 h 955271"/>
              <a:gd name="connsiteX3" fmla="*/ 8558 w 5741575"/>
              <a:gd name="connsiteY3" fmla="*/ 953971 h 955271"/>
              <a:gd name="connsiteX4" fmla="*/ 16894 w 5741575"/>
              <a:gd name="connsiteY4" fmla="*/ 953847 h 955271"/>
              <a:gd name="connsiteX5" fmla="*/ 28156 w 5741575"/>
              <a:gd name="connsiteY5" fmla="*/ 951374 h 955271"/>
              <a:gd name="connsiteX6" fmla="*/ 28293 w 5741575"/>
              <a:gd name="connsiteY6" fmla="*/ 950971 h 955271"/>
              <a:gd name="connsiteX7" fmla="*/ 59229 w 5741575"/>
              <a:gd name="connsiteY7" fmla="*/ 903950 h 955271"/>
              <a:gd name="connsiteX8" fmla="*/ 148657 w 5741575"/>
              <a:gd name="connsiteY8" fmla="*/ 898134 h 955271"/>
              <a:gd name="connsiteX9" fmla="*/ 174554 w 5741575"/>
              <a:gd name="connsiteY9" fmla="*/ 886351 h 955271"/>
              <a:gd name="connsiteX10" fmla="*/ 187633 w 5741575"/>
              <a:gd name="connsiteY10" fmla="*/ 878226 h 955271"/>
              <a:gd name="connsiteX11" fmla="*/ 187961 w 5741575"/>
              <a:gd name="connsiteY11" fmla="*/ 876538 h 955271"/>
              <a:gd name="connsiteX12" fmla="*/ 240501 w 5741575"/>
              <a:gd name="connsiteY12" fmla="*/ 873150 h 955271"/>
              <a:gd name="connsiteX13" fmla="*/ 246345 w 5741575"/>
              <a:gd name="connsiteY13" fmla="*/ 869942 h 955271"/>
              <a:gd name="connsiteX14" fmla="*/ 306299 w 5741575"/>
              <a:gd name="connsiteY14" fmla="*/ 873609 h 955271"/>
              <a:gd name="connsiteX15" fmla="*/ 331571 w 5741575"/>
              <a:gd name="connsiteY15" fmla="*/ 869866 h 955271"/>
              <a:gd name="connsiteX16" fmla="*/ 384157 w 5741575"/>
              <a:gd name="connsiteY16" fmla="*/ 867971 h 955271"/>
              <a:gd name="connsiteX17" fmla="*/ 477637 w 5741575"/>
              <a:gd name="connsiteY17" fmla="*/ 870334 h 955271"/>
              <a:gd name="connsiteX18" fmla="*/ 570239 w 5741575"/>
              <a:gd name="connsiteY18" fmla="*/ 829596 h 955271"/>
              <a:gd name="connsiteX19" fmla="*/ 772070 w 5741575"/>
              <a:gd name="connsiteY19" fmla="*/ 820296 h 955271"/>
              <a:gd name="connsiteX20" fmla="*/ 948872 w 5741575"/>
              <a:gd name="connsiteY20" fmla="*/ 772201 h 955271"/>
              <a:gd name="connsiteX21" fmla="*/ 1127089 w 5741575"/>
              <a:gd name="connsiteY21" fmla="*/ 746926 h 955271"/>
              <a:gd name="connsiteX22" fmla="*/ 1226314 w 5741575"/>
              <a:gd name="connsiteY22" fmla="*/ 722473 h 955271"/>
              <a:gd name="connsiteX23" fmla="*/ 1278773 w 5741575"/>
              <a:gd name="connsiteY23" fmla="*/ 711503 h 955271"/>
              <a:gd name="connsiteX24" fmla="*/ 1317691 w 5741575"/>
              <a:gd name="connsiteY24" fmla="*/ 708529 h 955271"/>
              <a:gd name="connsiteX25" fmla="*/ 1360404 w 5741575"/>
              <a:gd name="connsiteY25" fmla="*/ 675922 h 955271"/>
              <a:gd name="connsiteX26" fmla="*/ 1412292 w 5741575"/>
              <a:gd name="connsiteY26" fmla="*/ 670793 h 955271"/>
              <a:gd name="connsiteX27" fmla="*/ 1494753 w 5741575"/>
              <a:gd name="connsiteY27" fmla="*/ 644686 h 955271"/>
              <a:gd name="connsiteX28" fmla="*/ 1616217 w 5741575"/>
              <a:gd name="connsiteY28" fmla="*/ 622107 h 955271"/>
              <a:gd name="connsiteX29" fmla="*/ 1710928 w 5741575"/>
              <a:gd name="connsiteY29" fmla="*/ 600666 h 955271"/>
              <a:gd name="connsiteX30" fmla="*/ 1743718 w 5741575"/>
              <a:gd name="connsiteY30" fmla="*/ 584327 h 955271"/>
              <a:gd name="connsiteX31" fmla="*/ 1873778 w 5741575"/>
              <a:gd name="connsiteY31" fmla="*/ 530130 h 955271"/>
              <a:gd name="connsiteX32" fmla="*/ 1988411 w 5741575"/>
              <a:gd name="connsiteY32" fmla="*/ 491599 h 955271"/>
              <a:gd name="connsiteX33" fmla="*/ 2085507 w 5741575"/>
              <a:gd name="connsiteY33" fmla="*/ 498527 h 955271"/>
              <a:gd name="connsiteX34" fmla="*/ 2090767 w 5741575"/>
              <a:gd name="connsiteY34" fmla="*/ 490616 h 955271"/>
              <a:gd name="connsiteX35" fmla="*/ 2151143 w 5741575"/>
              <a:gd name="connsiteY35" fmla="*/ 478332 h 955271"/>
              <a:gd name="connsiteX36" fmla="*/ 2378710 w 5741575"/>
              <a:gd name="connsiteY36" fmla="*/ 477570 h 955271"/>
              <a:gd name="connsiteX37" fmla="*/ 2496256 w 5741575"/>
              <a:gd name="connsiteY37" fmla="*/ 452396 h 955271"/>
              <a:gd name="connsiteX38" fmla="*/ 2535387 w 5741575"/>
              <a:gd name="connsiteY38" fmla="*/ 436645 h 955271"/>
              <a:gd name="connsiteX39" fmla="*/ 2601109 w 5741575"/>
              <a:gd name="connsiteY39" fmla="*/ 410678 h 955271"/>
              <a:gd name="connsiteX40" fmla="*/ 2643855 w 5741575"/>
              <a:gd name="connsiteY40" fmla="*/ 374482 h 955271"/>
              <a:gd name="connsiteX41" fmla="*/ 2657726 w 5741575"/>
              <a:gd name="connsiteY41" fmla="*/ 365841 h 955271"/>
              <a:gd name="connsiteX42" fmla="*/ 2687125 w 5741575"/>
              <a:gd name="connsiteY42" fmla="*/ 366820 h 955271"/>
              <a:gd name="connsiteX43" fmla="*/ 2697479 w 5741575"/>
              <a:gd name="connsiteY43" fmla="*/ 361430 h 955271"/>
              <a:gd name="connsiteX44" fmla="*/ 2731718 w 5741575"/>
              <a:gd name="connsiteY44" fmla="*/ 361545 h 955271"/>
              <a:gd name="connsiteX45" fmla="*/ 2777227 w 5741575"/>
              <a:gd name="connsiteY45" fmla="*/ 368972 h 955271"/>
              <a:gd name="connsiteX46" fmla="*/ 2824768 w 5741575"/>
              <a:gd name="connsiteY46" fmla="*/ 361652 h 955271"/>
              <a:gd name="connsiteX47" fmla="*/ 2885545 w 5741575"/>
              <a:gd name="connsiteY47" fmla="*/ 372818 h 955271"/>
              <a:gd name="connsiteX48" fmla="*/ 3009558 w 5741575"/>
              <a:gd name="connsiteY48" fmla="*/ 370573 h 955271"/>
              <a:gd name="connsiteX49" fmla="*/ 3095010 w 5741575"/>
              <a:gd name="connsiteY49" fmla="*/ 332454 h 955271"/>
              <a:gd name="connsiteX50" fmla="*/ 3103742 w 5741575"/>
              <a:gd name="connsiteY50" fmla="*/ 337974 h 955271"/>
              <a:gd name="connsiteX51" fmla="*/ 3165093 w 5741575"/>
              <a:gd name="connsiteY51" fmla="*/ 329459 h 955271"/>
              <a:gd name="connsiteX52" fmla="*/ 3373785 w 5741575"/>
              <a:gd name="connsiteY52" fmla="*/ 255680 h 955271"/>
              <a:gd name="connsiteX53" fmla="*/ 3493851 w 5741575"/>
              <a:gd name="connsiteY53" fmla="*/ 240255 h 955271"/>
              <a:gd name="connsiteX54" fmla="*/ 3537470 w 5741575"/>
              <a:gd name="connsiteY54" fmla="*/ 241867 h 955271"/>
              <a:gd name="connsiteX55" fmla="*/ 3610489 w 5741575"/>
              <a:gd name="connsiteY55" fmla="*/ 244128 h 955271"/>
              <a:gd name="connsiteX56" fmla="*/ 3667539 w 5741575"/>
              <a:gd name="connsiteY56" fmla="*/ 263271 h 955271"/>
              <a:gd name="connsiteX57" fmla="*/ 3727614 w 5741575"/>
              <a:gd name="connsiteY57" fmla="*/ 258245 h 955271"/>
              <a:gd name="connsiteX58" fmla="*/ 3738369 w 5741575"/>
              <a:gd name="connsiteY58" fmla="*/ 234506 h 955271"/>
              <a:gd name="connsiteX59" fmla="*/ 3803670 w 5741575"/>
              <a:gd name="connsiteY59" fmla="*/ 236457 h 955271"/>
              <a:gd name="connsiteX60" fmla="*/ 3903080 w 5741575"/>
              <a:gd name="connsiteY60" fmla="*/ 241890 h 955271"/>
              <a:gd name="connsiteX61" fmla="*/ 4114838 w 5741575"/>
              <a:gd name="connsiteY61" fmla="*/ 238165 h 955271"/>
              <a:gd name="connsiteX62" fmla="*/ 4271023 w 5741575"/>
              <a:gd name="connsiteY62" fmla="*/ 241959 h 955271"/>
              <a:gd name="connsiteX63" fmla="*/ 4367397 w 5741575"/>
              <a:gd name="connsiteY63" fmla="*/ 271442 h 955271"/>
              <a:gd name="connsiteX64" fmla="*/ 4495366 w 5741575"/>
              <a:gd name="connsiteY64" fmla="*/ 271618 h 955271"/>
              <a:gd name="connsiteX65" fmla="*/ 4517347 w 5741575"/>
              <a:gd name="connsiteY65" fmla="*/ 275639 h 955271"/>
              <a:gd name="connsiteX66" fmla="*/ 4546116 w 5741575"/>
              <a:gd name="connsiteY66" fmla="*/ 268568 h 955271"/>
              <a:gd name="connsiteX67" fmla="*/ 4661259 w 5741575"/>
              <a:gd name="connsiteY67" fmla="*/ 238966 h 955271"/>
              <a:gd name="connsiteX68" fmla="*/ 4750403 w 5741575"/>
              <a:gd name="connsiteY68" fmla="*/ 204364 h 955271"/>
              <a:gd name="connsiteX69" fmla="*/ 4867614 w 5741575"/>
              <a:gd name="connsiteY69" fmla="*/ 208668 h 955271"/>
              <a:gd name="connsiteX70" fmla="*/ 4937036 w 5741575"/>
              <a:gd name="connsiteY70" fmla="*/ 195446 h 955271"/>
              <a:gd name="connsiteX71" fmla="*/ 5047626 w 5741575"/>
              <a:gd name="connsiteY71" fmla="*/ 149604 h 955271"/>
              <a:gd name="connsiteX72" fmla="*/ 5200247 w 5741575"/>
              <a:gd name="connsiteY72" fmla="*/ 142695 h 955271"/>
              <a:gd name="connsiteX73" fmla="*/ 5235691 w 5741575"/>
              <a:gd name="connsiteY73" fmla="*/ 173330 h 955271"/>
              <a:gd name="connsiteX74" fmla="*/ 5280133 w 5741575"/>
              <a:gd name="connsiteY74" fmla="*/ 189342 h 955271"/>
              <a:gd name="connsiteX75" fmla="*/ 5291963 w 5741575"/>
              <a:gd name="connsiteY75" fmla="*/ 139446 h 955271"/>
              <a:gd name="connsiteX76" fmla="*/ 5418472 w 5741575"/>
              <a:gd name="connsiteY76" fmla="*/ 89163 h 955271"/>
              <a:gd name="connsiteX77" fmla="*/ 5482354 w 5741575"/>
              <a:gd name="connsiteY77" fmla="*/ 69470 h 955271"/>
              <a:gd name="connsiteX78" fmla="*/ 5583280 w 5741575"/>
              <a:gd name="connsiteY78" fmla="*/ 49787 h 955271"/>
              <a:gd name="connsiteX79" fmla="*/ 5613766 w 5741575"/>
              <a:gd name="connsiteY79" fmla="*/ 41855 h 955271"/>
              <a:gd name="connsiteX80" fmla="*/ 5684952 w 5741575"/>
              <a:gd name="connsiteY80" fmla="*/ 26088 h 955271"/>
              <a:gd name="connsiteX81" fmla="*/ 5741575 w 5741575"/>
              <a:gd name="connsiteY81" fmla="*/ 0 h 955271"/>
              <a:gd name="connsiteX0" fmla="*/ 5741575 w 5741575"/>
              <a:gd name="connsiteY0" fmla="*/ 0 h 955271"/>
              <a:gd name="connsiteX1" fmla="*/ 5741575 w 5741575"/>
              <a:gd name="connsiteY1" fmla="*/ 955271 h 955271"/>
              <a:gd name="connsiteX2" fmla="*/ 0 w 5741575"/>
              <a:gd name="connsiteY2" fmla="*/ 955271 h 955271"/>
              <a:gd name="connsiteX3" fmla="*/ 8558 w 5741575"/>
              <a:gd name="connsiteY3" fmla="*/ 953971 h 955271"/>
              <a:gd name="connsiteX4" fmla="*/ 16894 w 5741575"/>
              <a:gd name="connsiteY4" fmla="*/ 953847 h 955271"/>
              <a:gd name="connsiteX5" fmla="*/ 28156 w 5741575"/>
              <a:gd name="connsiteY5" fmla="*/ 951374 h 955271"/>
              <a:gd name="connsiteX6" fmla="*/ 28293 w 5741575"/>
              <a:gd name="connsiteY6" fmla="*/ 950971 h 955271"/>
              <a:gd name="connsiteX7" fmla="*/ 59229 w 5741575"/>
              <a:gd name="connsiteY7" fmla="*/ 903950 h 955271"/>
              <a:gd name="connsiteX8" fmla="*/ 148657 w 5741575"/>
              <a:gd name="connsiteY8" fmla="*/ 898134 h 955271"/>
              <a:gd name="connsiteX9" fmla="*/ 174554 w 5741575"/>
              <a:gd name="connsiteY9" fmla="*/ 886351 h 955271"/>
              <a:gd name="connsiteX10" fmla="*/ 187633 w 5741575"/>
              <a:gd name="connsiteY10" fmla="*/ 878226 h 955271"/>
              <a:gd name="connsiteX11" fmla="*/ 187961 w 5741575"/>
              <a:gd name="connsiteY11" fmla="*/ 876538 h 955271"/>
              <a:gd name="connsiteX12" fmla="*/ 240501 w 5741575"/>
              <a:gd name="connsiteY12" fmla="*/ 873150 h 955271"/>
              <a:gd name="connsiteX13" fmla="*/ 246345 w 5741575"/>
              <a:gd name="connsiteY13" fmla="*/ 869942 h 955271"/>
              <a:gd name="connsiteX14" fmla="*/ 306299 w 5741575"/>
              <a:gd name="connsiteY14" fmla="*/ 873609 h 955271"/>
              <a:gd name="connsiteX15" fmla="*/ 331571 w 5741575"/>
              <a:gd name="connsiteY15" fmla="*/ 869866 h 955271"/>
              <a:gd name="connsiteX16" fmla="*/ 384157 w 5741575"/>
              <a:gd name="connsiteY16" fmla="*/ 867971 h 955271"/>
              <a:gd name="connsiteX17" fmla="*/ 477637 w 5741575"/>
              <a:gd name="connsiteY17" fmla="*/ 870334 h 955271"/>
              <a:gd name="connsiteX18" fmla="*/ 570239 w 5741575"/>
              <a:gd name="connsiteY18" fmla="*/ 829596 h 955271"/>
              <a:gd name="connsiteX19" fmla="*/ 772070 w 5741575"/>
              <a:gd name="connsiteY19" fmla="*/ 820296 h 955271"/>
              <a:gd name="connsiteX20" fmla="*/ 948872 w 5741575"/>
              <a:gd name="connsiteY20" fmla="*/ 772201 h 955271"/>
              <a:gd name="connsiteX21" fmla="*/ 1127089 w 5741575"/>
              <a:gd name="connsiteY21" fmla="*/ 746926 h 955271"/>
              <a:gd name="connsiteX22" fmla="*/ 1226314 w 5741575"/>
              <a:gd name="connsiteY22" fmla="*/ 722473 h 955271"/>
              <a:gd name="connsiteX23" fmla="*/ 1278773 w 5741575"/>
              <a:gd name="connsiteY23" fmla="*/ 711503 h 955271"/>
              <a:gd name="connsiteX24" fmla="*/ 1317691 w 5741575"/>
              <a:gd name="connsiteY24" fmla="*/ 708529 h 955271"/>
              <a:gd name="connsiteX25" fmla="*/ 1360404 w 5741575"/>
              <a:gd name="connsiteY25" fmla="*/ 675922 h 955271"/>
              <a:gd name="connsiteX26" fmla="*/ 1412292 w 5741575"/>
              <a:gd name="connsiteY26" fmla="*/ 670793 h 955271"/>
              <a:gd name="connsiteX27" fmla="*/ 1494753 w 5741575"/>
              <a:gd name="connsiteY27" fmla="*/ 644686 h 955271"/>
              <a:gd name="connsiteX28" fmla="*/ 1616217 w 5741575"/>
              <a:gd name="connsiteY28" fmla="*/ 622107 h 955271"/>
              <a:gd name="connsiteX29" fmla="*/ 1710928 w 5741575"/>
              <a:gd name="connsiteY29" fmla="*/ 600666 h 955271"/>
              <a:gd name="connsiteX30" fmla="*/ 1743718 w 5741575"/>
              <a:gd name="connsiteY30" fmla="*/ 584327 h 955271"/>
              <a:gd name="connsiteX31" fmla="*/ 1873778 w 5741575"/>
              <a:gd name="connsiteY31" fmla="*/ 530130 h 955271"/>
              <a:gd name="connsiteX32" fmla="*/ 1988411 w 5741575"/>
              <a:gd name="connsiteY32" fmla="*/ 491599 h 955271"/>
              <a:gd name="connsiteX33" fmla="*/ 2085507 w 5741575"/>
              <a:gd name="connsiteY33" fmla="*/ 498527 h 955271"/>
              <a:gd name="connsiteX34" fmla="*/ 2090767 w 5741575"/>
              <a:gd name="connsiteY34" fmla="*/ 490616 h 955271"/>
              <a:gd name="connsiteX35" fmla="*/ 2151143 w 5741575"/>
              <a:gd name="connsiteY35" fmla="*/ 478332 h 955271"/>
              <a:gd name="connsiteX36" fmla="*/ 2378710 w 5741575"/>
              <a:gd name="connsiteY36" fmla="*/ 477570 h 955271"/>
              <a:gd name="connsiteX37" fmla="*/ 2496256 w 5741575"/>
              <a:gd name="connsiteY37" fmla="*/ 452396 h 955271"/>
              <a:gd name="connsiteX38" fmla="*/ 2535387 w 5741575"/>
              <a:gd name="connsiteY38" fmla="*/ 436645 h 955271"/>
              <a:gd name="connsiteX39" fmla="*/ 2601109 w 5741575"/>
              <a:gd name="connsiteY39" fmla="*/ 410678 h 955271"/>
              <a:gd name="connsiteX40" fmla="*/ 2643855 w 5741575"/>
              <a:gd name="connsiteY40" fmla="*/ 374482 h 955271"/>
              <a:gd name="connsiteX41" fmla="*/ 2657726 w 5741575"/>
              <a:gd name="connsiteY41" fmla="*/ 365841 h 955271"/>
              <a:gd name="connsiteX42" fmla="*/ 2687125 w 5741575"/>
              <a:gd name="connsiteY42" fmla="*/ 366820 h 955271"/>
              <a:gd name="connsiteX43" fmla="*/ 2697479 w 5741575"/>
              <a:gd name="connsiteY43" fmla="*/ 361430 h 955271"/>
              <a:gd name="connsiteX44" fmla="*/ 2731718 w 5741575"/>
              <a:gd name="connsiteY44" fmla="*/ 361545 h 955271"/>
              <a:gd name="connsiteX45" fmla="*/ 2777227 w 5741575"/>
              <a:gd name="connsiteY45" fmla="*/ 368972 h 955271"/>
              <a:gd name="connsiteX46" fmla="*/ 2824768 w 5741575"/>
              <a:gd name="connsiteY46" fmla="*/ 361652 h 955271"/>
              <a:gd name="connsiteX47" fmla="*/ 2885545 w 5741575"/>
              <a:gd name="connsiteY47" fmla="*/ 372818 h 955271"/>
              <a:gd name="connsiteX48" fmla="*/ 3009558 w 5741575"/>
              <a:gd name="connsiteY48" fmla="*/ 370573 h 955271"/>
              <a:gd name="connsiteX49" fmla="*/ 3095010 w 5741575"/>
              <a:gd name="connsiteY49" fmla="*/ 332454 h 955271"/>
              <a:gd name="connsiteX50" fmla="*/ 3103742 w 5741575"/>
              <a:gd name="connsiteY50" fmla="*/ 337974 h 955271"/>
              <a:gd name="connsiteX51" fmla="*/ 3165093 w 5741575"/>
              <a:gd name="connsiteY51" fmla="*/ 329459 h 955271"/>
              <a:gd name="connsiteX52" fmla="*/ 3373785 w 5741575"/>
              <a:gd name="connsiteY52" fmla="*/ 255680 h 955271"/>
              <a:gd name="connsiteX53" fmla="*/ 3493851 w 5741575"/>
              <a:gd name="connsiteY53" fmla="*/ 240255 h 955271"/>
              <a:gd name="connsiteX54" fmla="*/ 3537470 w 5741575"/>
              <a:gd name="connsiteY54" fmla="*/ 241867 h 955271"/>
              <a:gd name="connsiteX55" fmla="*/ 3610489 w 5741575"/>
              <a:gd name="connsiteY55" fmla="*/ 244128 h 955271"/>
              <a:gd name="connsiteX56" fmla="*/ 3667539 w 5741575"/>
              <a:gd name="connsiteY56" fmla="*/ 263271 h 955271"/>
              <a:gd name="connsiteX57" fmla="*/ 3727614 w 5741575"/>
              <a:gd name="connsiteY57" fmla="*/ 258245 h 955271"/>
              <a:gd name="connsiteX58" fmla="*/ 3738369 w 5741575"/>
              <a:gd name="connsiteY58" fmla="*/ 234506 h 955271"/>
              <a:gd name="connsiteX59" fmla="*/ 3803670 w 5741575"/>
              <a:gd name="connsiteY59" fmla="*/ 236457 h 955271"/>
              <a:gd name="connsiteX60" fmla="*/ 3903080 w 5741575"/>
              <a:gd name="connsiteY60" fmla="*/ 241890 h 955271"/>
              <a:gd name="connsiteX61" fmla="*/ 4114838 w 5741575"/>
              <a:gd name="connsiteY61" fmla="*/ 238165 h 955271"/>
              <a:gd name="connsiteX62" fmla="*/ 4271023 w 5741575"/>
              <a:gd name="connsiteY62" fmla="*/ 241959 h 955271"/>
              <a:gd name="connsiteX63" fmla="*/ 4367397 w 5741575"/>
              <a:gd name="connsiteY63" fmla="*/ 271442 h 955271"/>
              <a:gd name="connsiteX64" fmla="*/ 4495366 w 5741575"/>
              <a:gd name="connsiteY64" fmla="*/ 271618 h 955271"/>
              <a:gd name="connsiteX65" fmla="*/ 4517347 w 5741575"/>
              <a:gd name="connsiteY65" fmla="*/ 275639 h 955271"/>
              <a:gd name="connsiteX66" fmla="*/ 4546116 w 5741575"/>
              <a:gd name="connsiteY66" fmla="*/ 268568 h 955271"/>
              <a:gd name="connsiteX67" fmla="*/ 4661259 w 5741575"/>
              <a:gd name="connsiteY67" fmla="*/ 238966 h 955271"/>
              <a:gd name="connsiteX68" fmla="*/ 4750403 w 5741575"/>
              <a:gd name="connsiteY68" fmla="*/ 204364 h 955271"/>
              <a:gd name="connsiteX69" fmla="*/ 4867614 w 5741575"/>
              <a:gd name="connsiteY69" fmla="*/ 208668 h 955271"/>
              <a:gd name="connsiteX70" fmla="*/ 4937036 w 5741575"/>
              <a:gd name="connsiteY70" fmla="*/ 195446 h 955271"/>
              <a:gd name="connsiteX71" fmla="*/ 5047626 w 5741575"/>
              <a:gd name="connsiteY71" fmla="*/ 149604 h 955271"/>
              <a:gd name="connsiteX72" fmla="*/ 5200247 w 5741575"/>
              <a:gd name="connsiteY72" fmla="*/ 142695 h 955271"/>
              <a:gd name="connsiteX73" fmla="*/ 5235691 w 5741575"/>
              <a:gd name="connsiteY73" fmla="*/ 173330 h 955271"/>
              <a:gd name="connsiteX74" fmla="*/ 5291963 w 5741575"/>
              <a:gd name="connsiteY74" fmla="*/ 139446 h 955271"/>
              <a:gd name="connsiteX75" fmla="*/ 5418472 w 5741575"/>
              <a:gd name="connsiteY75" fmla="*/ 89163 h 955271"/>
              <a:gd name="connsiteX76" fmla="*/ 5482354 w 5741575"/>
              <a:gd name="connsiteY76" fmla="*/ 69470 h 955271"/>
              <a:gd name="connsiteX77" fmla="*/ 5583280 w 5741575"/>
              <a:gd name="connsiteY77" fmla="*/ 49787 h 955271"/>
              <a:gd name="connsiteX78" fmla="*/ 5613766 w 5741575"/>
              <a:gd name="connsiteY78" fmla="*/ 41855 h 955271"/>
              <a:gd name="connsiteX79" fmla="*/ 5684952 w 5741575"/>
              <a:gd name="connsiteY79" fmla="*/ 26088 h 955271"/>
              <a:gd name="connsiteX80" fmla="*/ 5741575 w 5741575"/>
              <a:gd name="connsiteY80" fmla="*/ 0 h 955271"/>
              <a:gd name="connsiteX0" fmla="*/ 5741575 w 5741575"/>
              <a:gd name="connsiteY0" fmla="*/ 0 h 955271"/>
              <a:gd name="connsiteX1" fmla="*/ 5741575 w 5741575"/>
              <a:gd name="connsiteY1" fmla="*/ 955271 h 955271"/>
              <a:gd name="connsiteX2" fmla="*/ 0 w 5741575"/>
              <a:gd name="connsiteY2" fmla="*/ 955271 h 955271"/>
              <a:gd name="connsiteX3" fmla="*/ 8558 w 5741575"/>
              <a:gd name="connsiteY3" fmla="*/ 953971 h 955271"/>
              <a:gd name="connsiteX4" fmla="*/ 16894 w 5741575"/>
              <a:gd name="connsiteY4" fmla="*/ 953847 h 955271"/>
              <a:gd name="connsiteX5" fmla="*/ 28156 w 5741575"/>
              <a:gd name="connsiteY5" fmla="*/ 951374 h 955271"/>
              <a:gd name="connsiteX6" fmla="*/ 28293 w 5741575"/>
              <a:gd name="connsiteY6" fmla="*/ 950971 h 955271"/>
              <a:gd name="connsiteX7" fmla="*/ 59229 w 5741575"/>
              <a:gd name="connsiteY7" fmla="*/ 903950 h 955271"/>
              <a:gd name="connsiteX8" fmla="*/ 148657 w 5741575"/>
              <a:gd name="connsiteY8" fmla="*/ 898134 h 955271"/>
              <a:gd name="connsiteX9" fmla="*/ 174554 w 5741575"/>
              <a:gd name="connsiteY9" fmla="*/ 886351 h 955271"/>
              <a:gd name="connsiteX10" fmla="*/ 187633 w 5741575"/>
              <a:gd name="connsiteY10" fmla="*/ 878226 h 955271"/>
              <a:gd name="connsiteX11" fmla="*/ 187961 w 5741575"/>
              <a:gd name="connsiteY11" fmla="*/ 876538 h 955271"/>
              <a:gd name="connsiteX12" fmla="*/ 240501 w 5741575"/>
              <a:gd name="connsiteY12" fmla="*/ 873150 h 955271"/>
              <a:gd name="connsiteX13" fmla="*/ 246345 w 5741575"/>
              <a:gd name="connsiteY13" fmla="*/ 869942 h 955271"/>
              <a:gd name="connsiteX14" fmla="*/ 306299 w 5741575"/>
              <a:gd name="connsiteY14" fmla="*/ 873609 h 955271"/>
              <a:gd name="connsiteX15" fmla="*/ 331571 w 5741575"/>
              <a:gd name="connsiteY15" fmla="*/ 869866 h 955271"/>
              <a:gd name="connsiteX16" fmla="*/ 384157 w 5741575"/>
              <a:gd name="connsiteY16" fmla="*/ 867971 h 955271"/>
              <a:gd name="connsiteX17" fmla="*/ 477637 w 5741575"/>
              <a:gd name="connsiteY17" fmla="*/ 870334 h 955271"/>
              <a:gd name="connsiteX18" fmla="*/ 570239 w 5741575"/>
              <a:gd name="connsiteY18" fmla="*/ 829596 h 955271"/>
              <a:gd name="connsiteX19" fmla="*/ 772070 w 5741575"/>
              <a:gd name="connsiteY19" fmla="*/ 820296 h 955271"/>
              <a:gd name="connsiteX20" fmla="*/ 948872 w 5741575"/>
              <a:gd name="connsiteY20" fmla="*/ 772201 h 955271"/>
              <a:gd name="connsiteX21" fmla="*/ 1127089 w 5741575"/>
              <a:gd name="connsiteY21" fmla="*/ 746926 h 955271"/>
              <a:gd name="connsiteX22" fmla="*/ 1226314 w 5741575"/>
              <a:gd name="connsiteY22" fmla="*/ 722473 h 955271"/>
              <a:gd name="connsiteX23" fmla="*/ 1278773 w 5741575"/>
              <a:gd name="connsiteY23" fmla="*/ 711503 h 955271"/>
              <a:gd name="connsiteX24" fmla="*/ 1317691 w 5741575"/>
              <a:gd name="connsiteY24" fmla="*/ 708529 h 955271"/>
              <a:gd name="connsiteX25" fmla="*/ 1360404 w 5741575"/>
              <a:gd name="connsiteY25" fmla="*/ 675922 h 955271"/>
              <a:gd name="connsiteX26" fmla="*/ 1412292 w 5741575"/>
              <a:gd name="connsiteY26" fmla="*/ 670793 h 955271"/>
              <a:gd name="connsiteX27" fmla="*/ 1494753 w 5741575"/>
              <a:gd name="connsiteY27" fmla="*/ 644686 h 955271"/>
              <a:gd name="connsiteX28" fmla="*/ 1616217 w 5741575"/>
              <a:gd name="connsiteY28" fmla="*/ 622107 h 955271"/>
              <a:gd name="connsiteX29" fmla="*/ 1710928 w 5741575"/>
              <a:gd name="connsiteY29" fmla="*/ 600666 h 955271"/>
              <a:gd name="connsiteX30" fmla="*/ 1743718 w 5741575"/>
              <a:gd name="connsiteY30" fmla="*/ 584327 h 955271"/>
              <a:gd name="connsiteX31" fmla="*/ 1873778 w 5741575"/>
              <a:gd name="connsiteY31" fmla="*/ 530130 h 955271"/>
              <a:gd name="connsiteX32" fmla="*/ 1988411 w 5741575"/>
              <a:gd name="connsiteY32" fmla="*/ 491599 h 955271"/>
              <a:gd name="connsiteX33" fmla="*/ 2085507 w 5741575"/>
              <a:gd name="connsiteY33" fmla="*/ 498527 h 955271"/>
              <a:gd name="connsiteX34" fmla="*/ 2090767 w 5741575"/>
              <a:gd name="connsiteY34" fmla="*/ 490616 h 955271"/>
              <a:gd name="connsiteX35" fmla="*/ 2151143 w 5741575"/>
              <a:gd name="connsiteY35" fmla="*/ 478332 h 955271"/>
              <a:gd name="connsiteX36" fmla="*/ 2378710 w 5741575"/>
              <a:gd name="connsiteY36" fmla="*/ 477570 h 955271"/>
              <a:gd name="connsiteX37" fmla="*/ 2496256 w 5741575"/>
              <a:gd name="connsiteY37" fmla="*/ 452396 h 955271"/>
              <a:gd name="connsiteX38" fmla="*/ 2535387 w 5741575"/>
              <a:gd name="connsiteY38" fmla="*/ 436645 h 955271"/>
              <a:gd name="connsiteX39" fmla="*/ 2601109 w 5741575"/>
              <a:gd name="connsiteY39" fmla="*/ 410678 h 955271"/>
              <a:gd name="connsiteX40" fmla="*/ 2643855 w 5741575"/>
              <a:gd name="connsiteY40" fmla="*/ 374482 h 955271"/>
              <a:gd name="connsiteX41" fmla="*/ 2657726 w 5741575"/>
              <a:gd name="connsiteY41" fmla="*/ 365841 h 955271"/>
              <a:gd name="connsiteX42" fmla="*/ 2687125 w 5741575"/>
              <a:gd name="connsiteY42" fmla="*/ 366820 h 955271"/>
              <a:gd name="connsiteX43" fmla="*/ 2697479 w 5741575"/>
              <a:gd name="connsiteY43" fmla="*/ 361430 h 955271"/>
              <a:gd name="connsiteX44" fmla="*/ 2731718 w 5741575"/>
              <a:gd name="connsiteY44" fmla="*/ 361545 h 955271"/>
              <a:gd name="connsiteX45" fmla="*/ 2777227 w 5741575"/>
              <a:gd name="connsiteY45" fmla="*/ 368972 h 955271"/>
              <a:gd name="connsiteX46" fmla="*/ 2824768 w 5741575"/>
              <a:gd name="connsiteY46" fmla="*/ 361652 h 955271"/>
              <a:gd name="connsiteX47" fmla="*/ 2885545 w 5741575"/>
              <a:gd name="connsiteY47" fmla="*/ 372818 h 955271"/>
              <a:gd name="connsiteX48" fmla="*/ 3009558 w 5741575"/>
              <a:gd name="connsiteY48" fmla="*/ 370573 h 955271"/>
              <a:gd name="connsiteX49" fmla="*/ 3095010 w 5741575"/>
              <a:gd name="connsiteY49" fmla="*/ 332454 h 955271"/>
              <a:gd name="connsiteX50" fmla="*/ 3103742 w 5741575"/>
              <a:gd name="connsiteY50" fmla="*/ 337974 h 955271"/>
              <a:gd name="connsiteX51" fmla="*/ 3165093 w 5741575"/>
              <a:gd name="connsiteY51" fmla="*/ 329459 h 955271"/>
              <a:gd name="connsiteX52" fmla="*/ 3373785 w 5741575"/>
              <a:gd name="connsiteY52" fmla="*/ 255680 h 955271"/>
              <a:gd name="connsiteX53" fmla="*/ 3493851 w 5741575"/>
              <a:gd name="connsiteY53" fmla="*/ 240255 h 955271"/>
              <a:gd name="connsiteX54" fmla="*/ 3537470 w 5741575"/>
              <a:gd name="connsiteY54" fmla="*/ 241867 h 955271"/>
              <a:gd name="connsiteX55" fmla="*/ 3610489 w 5741575"/>
              <a:gd name="connsiteY55" fmla="*/ 244128 h 955271"/>
              <a:gd name="connsiteX56" fmla="*/ 3667539 w 5741575"/>
              <a:gd name="connsiteY56" fmla="*/ 263271 h 955271"/>
              <a:gd name="connsiteX57" fmla="*/ 3727614 w 5741575"/>
              <a:gd name="connsiteY57" fmla="*/ 258245 h 955271"/>
              <a:gd name="connsiteX58" fmla="*/ 3738369 w 5741575"/>
              <a:gd name="connsiteY58" fmla="*/ 234506 h 955271"/>
              <a:gd name="connsiteX59" fmla="*/ 3803670 w 5741575"/>
              <a:gd name="connsiteY59" fmla="*/ 236457 h 955271"/>
              <a:gd name="connsiteX60" fmla="*/ 3903080 w 5741575"/>
              <a:gd name="connsiteY60" fmla="*/ 241890 h 955271"/>
              <a:gd name="connsiteX61" fmla="*/ 4114838 w 5741575"/>
              <a:gd name="connsiteY61" fmla="*/ 238165 h 955271"/>
              <a:gd name="connsiteX62" fmla="*/ 4271023 w 5741575"/>
              <a:gd name="connsiteY62" fmla="*/ 241959 h 955271"/>
              <a:gd name="connsiteX63" fmla="*/ 4367397 w 5741575"/>
              <a:gd name="connsiteY63" fmla="*/ 271442 h 955271"/>
              <a:gd name="connsiteX64" fmla="*/ 4495366 w 5741575"/>
              <a:gd name="connsiteY64" fmla="*/ 271618 h 955271"/>
              <a:gd name="connsiteX65" fmla="*/ 4517347 w 5741575"/>
              <a:gd name="connsiteY65" fmla="*/ 275639 h 955271"/>
              <a:gd name="connsiteX66" fmla="*/ 4546116 w 5741575"/>
              <a:gd name="connsiteY66" fmla="*/ 268568 h 955271"/>
              <a:gd name="connsiteX67" fmla="*/ 4661259 w 5741575"/>
              <a:gd name="connsiteY67" fmla="*/ 238966 h 955271"/>
              <a:gd name="connsiteX68" fmla="*/ 4750403 w 5741575"/>
              <a:gd name="connsiteY68" fmla="*/ 204364 h 955271"/>
              <a:gd name="connsiteX69" fmla="*/ 4867614 w 5741575"/>
              <a:gd name="connsiteY69" fmla="*/ 208668 h 955271"/>
              <a:gd name="connsiteX70" fmla="*/ 4937036 w 5741575"/>
              <a:gd name="connsiteY70" fmla="*/ 195446 h 955271"/>
              <a:gd name="connsiteX71" fmla="*/ 5047626 w 5741575"/>
              <a:gd name="connsiteY71" fmla="*/ 149604 h 955271"/>
              <a:gd name="connsiteX72" fmla="*/ 5200247 w 5741575"/>
              <a:gd name="connsiteY72" fmla="*/ 142695 h 955271"/>
              <a:gd name="connsiteX73" fmla="*/ 5291963 w 5741575"/>
              <a:gd name="connsiteY73" fmla="*/ 139446 h 955271"/>
              <a:gd name="connsiteX74" fmla="*/ 5418472 w 5741575"/>
              <a:gd name="connsiteY74" fmla="*/ 89163 h 955271"/>
              <a:gd name="connsiteX75" fmla="*/ 5482354 w 5741575"/>
              <a:gd name="connsiteY75" fmla="*/ 69470 h 955271"/>
              <a:gd name="connsiteX76" fmla="*/ 5583280 w 5741575"/>
              <a:gd name="connsiteY76" fmla="*/ 49787 h 955271"/>
              <a:gd name="connsiteX77" fmla="*/ 5613766 w 5741575"/>
              <a:gd name="connsiteY77" fmla="*/ 41855 h 955271"/>
              <a:gd name="connsiteX78" fmla="*/ 5684952 w 5741575"/>
              <a:gd name="connsiteY78" fmla="*/ 26088 h 955271"/>
              <a:gd name="connsiteX79" fmla="*/ 5741575 w 5741575"/>
              <a:gd name="connsiteY79" fmla="*/ 0 h 955271"/>
              <a:gd name="connsiteX0" fmla="*/ 5741575 w 5741575"/>
              <a:gd name="connsiteY0" fmla="*/ 0 h 955271"/>
              <a:gd name="connsiteX1" fmla="*/ 5741575 w 5741575"/>
              <a:gd name="connsiteY1" fmla="*/ 955271 h 955271"/>
              <a:gd name="connsiteX2" fmla="*/ 0 w 5741575"/>
              <a:gd name="connsiteY2" fmla="*/ 955271 h 955271"/>
              <a:gd name="connsiteX3" fmla="*/ 8558 w 5741575"/>
              <a:gd name="connsiteY3" fmla="*/ 953971 h 955271"/>
              <a:gd name="connsiteX4" fmla="*/ 16894 w 5741575"/>
              <a:gd name="connsiteY4" fmla="*/ 953847 h 955271"/>
              <a:gd name="connsiteX5" fmla="*/ 28156 w 5741575"/>
              <a:gd name="connsiteY5" fmla="*/ 951374 h 955271"/>
              <a:gd name="connsiteX6" fmla="*/ 28293 w 5741575"/>
              <a:gd name="connsiteY6" fmla="*/ 950971 h 955271"/>
              <a:gd name="connsiteX7" fmla="*/ 59229 w 5741575"/>
              <a:gd name="connsiteY7" fmla="*/ 903950 h 955271"/>
              <a:gd name="connsiteX8" fmla="*/ 148657 w 5741575"/>
              <a:gd name="connsiteY8" fmla="*/ 898134 h 955271"/>
              <a:gd name="connsiteX9" fmla="*/ 174554 w 5741575"/>
              <a:gd name="connsiteY9" fmla="*/ 886351 h 955271"/>
              <a:gd name="connsiteX10" fmla="*/ 187633 w 5741575"/>
              <a:gd name="connsiteY10" fmla="*/ 878226 h 955271"/>
              <a:gd name="connsiteX11" fmla="*/ 187961 w 5741575"/>
              <a:gd name="connsiteY11" fmla="*/ 876538 h 955271"/>
              <a:gd name="connsiteX12" fmla="*/ 240501 w 5741575"/>
              <a:gd name="connsiteY12" fmla="*/ 873150 h 955271"/>
              <a:gd name="connsiteX13" fmla="*/ 246345 w 5741575"/>
              <a:gd name="connsiteY13" fmla="*/ 869942 h 955271"/>
              <a:gd name="connsiteX14" fmla="*/ 306299 w 5741575"/>
              <a:gd name="connsiteY14" fmla="*/ 873609 h 955271"/>
              <a:gd name="connsiteX15" fmla="*/ 331571 w 5741575"/>
              <a:gd name="connsiteY15" fmla="*/ 869866 h 955271"/>
              <a:gd name="connsiteX16" fmla="*/ 384157 w 5741575"/>
              <a:gd name="connsiteY16" fmla="*/ 867971 h 955271"/>
              <a:gd name="connsiteX17" fmla="*/ 477637 w 5741575"/>
              <a:gd name="connsiteY17" fmla="*/ 870334 h 955271"/>
              <a:gd name="connsiteX18" fmla="*/ 570239 w 5741575"/>
              <a:gd name="connsiteY18" fmla="*/ 829596 h 955271"/>
              <a:gd name="connsiteX19" fmla="*/ 772070 w 5741575"/>
              <a:gd name="connsiteY19" fmla="*/ 820296 h 955271"/>
              <a:gd name="connsiteX20" fmla="*/ 948872 w 5741575"/>
              <a:gd name="connsiteY20" fmla="*/ 772201 h 955271"/>
              <a:gd name="connsiteX21" fmla="*/ 1127089 w 5741575"/>
              <a:gd name="connsiteY21" fmla="*/ 746926 h 955271"/>
              <a:gd name="connsiteX22" fmla="*/ 1226314 w 5741575"/>
              <a:gd name="connsiteY22" fmla="*/ 722473 h 955271"/>
              <a:gd name="connsiteX23" fmla="*/ 1278773 w 5741575"/>
              <a:gd name="connsiteY23" fmla="*/ 711503 h 955271"/>
              <a:gd name="connsiteX24" fmla="*/ 1317691 w 5741575"/>
              <a:gd name="connsiteY24" fmla="*/ 708529 h 955271"/>
              <a:gd name="connsiteX25" fmla="*/ 1360404 w 5741575"/>
              <a:gd name="connsiteY25" fmla="*/ 675922 h 955271"/>
              <a:gd name="connsiteX26" fmla="*/ 1412292 w 5741575"/>
              <a:gd name="connsiteY26" fmla="*/ 670793 h 955271"/>
              <a:gd name="connsiteX27" fmla="*/ 1494753 w 5741575"/>
              <a:gd name="connsiteY27" fmla="*/ 644686 h 955271"/>
              <a:gd name="connsiteX28" fmla="*/ 1616217 w 5741575"/>
              <a:gd name="connsiteY28" fmla="*/ 622107 h 955271"/>
              <a:gd name="connsiteX29" fmla="*/ 1710928 w 5741575"/>
              <a:gd name="connsiteY29" fmla="*/ 600666 h 955271"/>
              <a:gd name="connsiteX30" fmla="*/ 1743718 w 5741575"/>
              <a:gd name="connsiteY30" fmla="*/ 584327 h 955271"/>
              <a:gd name="connsiteX31" fmla="*/ 1873778 w 5741575"/>
              <a:gd name="connsiteY31" fmla="*/ 530130 h 955271"/>
              <a:gd name="connsiteX32" fmla="*/ 1988411 w 5741575"/>
              <a:gd name="connsiteY32" fmla="*/ 491599 h 955271"/>
              <a:gd name="connsiteX33" fmla="*/ 2085507 w 5741575"/>
              <a:gd name="connsiteY33" fmla="*/ 498527 h 955271"/>
              <a:gd name="connsiteX34" fmla="*/ 2090767 w 5741575"/>
              <a:gd name="connsiteY34" fmla="*/ 490616 h 955271"/>
              <a:gd name="connsiteX35" fmla="*/ 2151143 w 5741575"/>
              <a:gd name="connsiteY35" fmla="*/ 478332 h 955271"/>
              <a:gd name="connsiteX36" fmla="*/ 2378710 w 5741575"/>
              <a:gd name="connsiteY36" fmla="*/ 477570 h 955271"/>
              <a:gd name="connsiteX37" fmla="*/ 2496256 w 5741575"/>
              <a:gd name="connsiteY37" fmla="*/ 452396 h 955271"/>
              <a:gd name="connsiteX38" fmla="*/ 2535387 w 5741575"/>
              <a:gd name="connsiteY38" fmla="*/ 436645 h 955271"/>
              <a:gd name="connsiteX39" fmla="*/ 2601109 w 5741575"/>
              <a:gd name="connsiteY39" fmla="*/ 410678 h 955271"/>
              <a:gd name="connsiteX40" fmla="*/ 2643855 w 5741575"/>
              <a:gd name="connsiteY40" fmla="*/ 374482 h 955271"/>
              <a:gd name="connsiteX41" fmla="*/ 2657726 w 5741575"/>
              <a:gd name="connsiteY41" fmla="*/ 365841 h 955271"/>
              <a:gd name="connsiteX42" fmla="*/ 2687125 w 5741575"/>
              <a:gd name="connsiteY42" fmla="*/ 366820 h 955271"/>
              <a:gd name="connsiteX43" fmla="*/ 2697479 w 5741575"/>
              <a:gd name="connsiteY43" fmla="*/ 361430 h 955271"/>
              <a:gd name="connsiteX44" fmla="*/ 2731718 w 5741575"/>
              <a:gd name="connsiteY44" fmla="*/ 361545 h 955271"/>
              <a:gd name="connsiteX45" fmla="*/ 2777227 w 5741575"/>
              <a:gd name="connsiteY45" fmla="*/ 368972 h 955271"/>
              <a:gd name="connsiteX46" fmla="*/ 2824768 w 5741575"/>
              <a:gd name="connsiteY46" fmla="*/ 361652 h 955271"/>
              <a:gd name="connsiteX47" fmla="*/ 2885545 w 5741575"/>
              <a:gd name="connsiteY47" fmla="*/ 372818 h 955271"/>
              <a:gd name="connsiteX48" fmla="*/ 3009558 w 5741575"/>
              <a:gd name="connsiteY48" fmla="*/ 370573 h 955271"/>
              <a:gd name="connsiteX49" fmla="*/ 3095010 w 5741575"/>
              <a:gd name="connsiteY49" fmla="*/ 332454 h 955271"/>
              <a:gd name="connsiteX50" fmla="*/ 3103742 w 5741575"/>
              <a:gd name="connsiteY50" fmla="*/ 337974 h 955271"/>
              <a:gd name="connsiteX51" fmla="*/ 3165093 w 5741575"/>
              <a:gd name="connsiteY51" fmla="*/ 329459 h 955271"/>
              <a:gd name="connsiteX52" fmla="*/ 3373785 w 5741575"/>
              <a:gd name="connsiteY52" fmla="*/ 255680 h 955271"/>
              <a:gd name="connsiteX53" fmla="*/ 3493851 w 5741575"/>
              <a:gd name="connsiteY53" fmla="*/ 240255 h 955271"/>
              <a:gd name="connsiteX54" fmla="*/ 3537470 w 5741575"/>
              <a:gd name="connsiteY54" fmla="*/ 241867 h 955271"/>
              <a:gd name="connsiteX55" fmla="*/ 3610489 w 5741575"/>
              <a:gd name="connsiteY55" fmla="*/ 244128 h 955271"/>
              <a:gd name="connsiteX56" fmla="*/ 3667539 w 5741575"/>
              <a:gd name="connsiteY56" fmla="*/ 263271 h 955271"/>
              <a:gd name="connsiteX57" fmla="*/ 3727614 w 5741575"/>
              <a:gd name="connsiteY57" fmla="*/ 258245 h 955271"/>
              <a:gd name="connsiteX58" fmla="*/ 3738369 w 5741575"/>
              <a:gd name="connsiteY58" fmla="*/ 234506 h 955271"/>
              <a:gd name="connsiteX59" fmla="*/ 3803670 w 5741575"/>
              <a:gd name="connsiteY59" fmla="*/ 236457 h 955271"/>
              <a:gd name="connsiteX60" fmla="*/ 3903080 w 5741575"/>
              <a:gd name="connsiteY60" fmla="*/ 241890 h 955271"/>
              <a:gd name="connsiteX61" fmla="*/ 4114838 w 5741575"/>
              <a:gd name="connsiteY61" fmla="*/ 238165 h 955271"/>
              <a:gd name="connsiteX62" fmla="*/ 4271023 w 5741575"/>
              <a:gd name="connsiteY62" fmla="*/ 241959 h 955271"/>
              <a:gd name="connsiteX63" fmla="*/ 4367397 w 5741575"/>
              <a:gd name="connsiteY63" fmla="*/ 271442 h 955271"/>
              <a:gd name="connsiteX64" fmla="*/ 4495366 w 5741575"/>
              <a:gd name="connsiteY64" fmla="*/ 271618 h 955271"/>
              <a:gd name="connsiteX65" fmla="*/ 4517347 w 5741575"/>
              <a:gd name="connsiteY65" fmla="*/ 275639 h 955271"/>
              <a:gd name="connsiteX66" fmla="*/ 4546116 w 5741575"/>
              <a:gd name="connsiteY66" fmla="*/ 268568 h 955271"/>
              <a:gd name="connsiteX67" fmla="*/ 4661259 w 5741575"/>
              <a:gd name="connsiteY67" fmla="*/ 238966 h 955271"/>
              <a:gd name="connsiteX68" fmla="*/ 4750403 w 5741575"/>
              <a:gd name="connsiteY68" fmla="*/ 204364 h 955271"/>
              <a:gd name="connsiteX69" fmla="*/ 4867614 w 5741575"/>
              <a:gd name="connsiteY69" fmla="*/ 208668 h 955271"/>
              <a:gd name="connsiteX70" fmla="*/ 4937036 w 5741575"/>
              <a:gd name="connsiteY70" fmla="*/ 195446 h 955271"/>
              <a:gd name="connsiteX71" fmla="*/ 5067740 w 5741575"/>
              <a:gd name="connsiteY71" fmla="*/ 172293 h 955271"/>
              <a:gd name="connsiteX72" fmla="*/ 5200247 w 5741575"/>
              <a:gd name="connsiteY72" fmla="*/ 142695 h 955271"/>
              <a:gd name="connsiteX73" fmla="*/ 5291963 w 5741575"/>
              <a:gd name="connsiteY73" fmla="*/ 139446 h 955271"/>
              <a:gd name="connsiteX74" fmla="*/ 5418472 w 5741575"/>
              <a:gd name="connsiteY74" fmla="*/ 89163 h 955271"/>
              <a:gd name="connsiteX75" fmla="*/ 5482354 w 5741575"/>
              <a:gd name="connsiteY75" fmla="*/ 69470 h 955271"/>
              <a:gd name="connsiteX76" fmla="*/ 5583280 w 5741575"/>
              <a:gd name="connsiteY76" fmla="*/ 49787 h 955271"/>
              <a:gd name="connsiteX77" fmla="*/ 5613766 w 5741575"/>
              <a:gd name="connsiteY77" fmla="*/ 41855 h 955271"/>
              <a:gd name="connsiteX78" fmla="*/ 5684952 w 5741575"/>
              <a:gd name="connsiteY78" fmla="*/ 26088 h 955271"/>
              <a:gd name="connsiteX79" fmla="*/ 5741575 w 5741575"/>
              <a:gd name="connsiteY79" fmla="*/ 0 h 955271"/>
              <a:gd name="connsiteX0" fmla="*/ 5741575 w 5741575"/>
              <a:gd name="connsiteY0" fmla="*/ 0 h 955271"/>
              <a:gd name="connsiteX1" fmla="*/ 5741575 w 5741575"/>
              <a:gd name="connsiteY1" fmla="*/ 955271 h 955271"/>
              <a:gd name="connsiteX2" fmla="*/ 0 w 5741575"/>
              <a:gd name="connsiteY2" fmla="*/ 955271 h 955271"/>
              <a:gd name="connsiteX3" fmla="*/ 8558 w 5741575"/>
              <a:gd name="connsiteY3" fmla="*/ 953971 h 955271"/>
              <a:gd name="connsiteX4" fmla="*/ 16894 w 5741575"/>
              <a:gd name="connsiteY4" fmla="*/ 953847 h 955271"/>
              <a:gd name="connsiteX5" fmla="*/ 28156 w 5741575"/>
              <a:gd name="connsiteY5" fmla="*/ 951374 h 955271"/>
              <a:gd name="connsiteX6" fmla="*/ 28293 w 5741575"/>
              <a:gd name="connsiteY6" fmla="*/ 950971 h 955271"/>
              <a:gd name="connsiteX7" fmla="*/ 59229 w 5741575"/>
              <a:gd name="connsiteY7" fmla="*/ 903950 h 955271"/>
              <a:gd name="connsiteX8" fmla="*/ 148657 w 5741575"/>
              <a:gd name="connsiteY8" fmla="*/ 898134 h 955271"/>
              <a:gd name="connsiteX9" fmla="*/ 174554 w 5741575"/>
              <a:gd name="connsiteY9" fmla="*/ 886351 h 955271"/>
              <a:gd name="connsiteX10" fmla="*/ 187633 w 5741575"/>
              <a:gd name="connsiteY10" fmla="*/ 878226 h 955271"/>
              <a:gd name="connsiteX11" fmla="*/ 187961 w 5741575"/>
              <a:gd name="connsiteY11" fmla="*/ 876538 h 955271"/>
              <a:gd name="connsiteX12" fmla="*/ 240501 w 5741575"/>
              <a:gd name="connsiteY12" fmla="*/ 873150 h 955271"/>
              <a:gd name="connsiteX13" fmla="*/ 246345 w 5741575"/>
              <a:gd name="connsiteY13" fmla="*/ 869942 h 955271"/>
              <a:gd name="connsiteX14" fmla="*/ 306299 w 5741575"/>
              <a:gd name="connsiteY14" fmla="*/ 873609 h 955271"/>
              <a:gd name="connsiteX15" fmla="*/ 331571 w 5741575"/>
              <a:gd name="connsiteY15" fmla="*/ 869866 h 955271"/>
              <a:gd name="connsiteX16" fmla="*/ 384157 w 5741575"/>
              <a:gd name="connsiteY16" fmla="*/ 867971 h 955271"/>
              <a:gd name="connsiteX17" fmla="*/ 477637 w 5741575"/>
              <a:gd name="connsiteY17" fmla="*/ 870334 h 955271"/>
              <a:gd name="connsiteX18" fmla="*/ 570239 w 5741575"/>
              <a:gd name="connsiteY18" fmla="*/ 829596 h 955271"/>
              <a:gd name="connsiteX19" fmla="*/ 772070 w 5741575"/>
              <a:gd name="connsiteY19" fmla="*/ 820296 h 955271"/>
              <a:gd name="connsiteX20" fmla="*/ 948872 w 5741575"/>
              <a:gd name="connsiteY20" fmla="*/ 772201 h 955271"/>
              <a:gd name="connsiteX21" fmla="*/ 1127089 w 5741575"/>
              <a:gd name="connsiteY21" fmla="*/ 746926 h 955271"/>
              <a:gd name="connsiteX22" fmla="*/ 1226314 w 5741575"/>
              <a:gd name="connsiteY22" fmla="*/ 722473 h 955271"/>
              <a:gd name="connsiteX23" fmla="*/ 1278773 w 5741575"/>
              <a:gd name="connsiteY23" fmla="*/ 711503 h 955271"/>
              <a:gd name="connsiteX24" fmla="*/ 1317691 w 5741575"/>
              <a:gd name="connsiteY24" fmla="*/ 708529 h 955271"/>
              <a:gd name="connsiteX25" fmla="*/ 1360404 w 5741575"/>
              <a:gd name="connsiteY25" fmla="*/ 675922 h 955271"/>
              <a:gd name="connsiteX26" fmla="*/ 1412292 w 5741575"/>
              <a:gd name="connsiteY26" fmla="*/ 670793 h 955271"/>
              <a:gd name="connsiteX27" fmla="*/ 1494753 w 5741575"/>
              <a:gd name="connsiteY27" fmla="*/ 644686 h 955271"/>
              <a:gd name="connsiteX28" fmla="*/ 1616217 w 5741575"/>
              <a:gd name="connsiteY28" fmla="*/ 622107 h 955271"/>
              <a:gd name="connsiteX29" fmla="*/ 1710928 w 5741575"/>
              <a:gd name="connsiteY29" fmla="*/ 600666 h 955271"/>
              <a:gd name="connsiteX30" fmla="*/ 1743718 w 5741575"/>
              <a:gd name="connsiteY30" fmla="*/ 584327 h 955271"/>
              <a:gd name="connsiteX31" fmla="*/ 1873778 w 5741575"/>
              <a:gd name="connsiteY31" fmla="*/ 530130 h 955271"/>
              <a:gd name="connsiteX32" fmla="*/ 1988411 w 5741575"/>
              <a:gd name="connsiteY32" fmla="*/ 491599 h 955271"/>
              <a:gd name="connsiteX33" fmla="*/ 2085507 w 5741575"/>
              <a:gd name="connsiteY33" fmla="*/ 498527 h 955271"/>
              <a:gd name="connsiteX34" fmla="*/ 2090767 w 5741575"/>
              <a:gd name="connsiteY34" fmla="*/ 490616 h 955271"/>
              <a:gd name="connsiteX35" fmla="*/ 2151143 w 5741575"/>
              <a:gd name="connsiteY35" fmla="*/ 478332 h 955271"/>
              <a:gd name="connsiteX36" fmla="*/ 2378710 w 5741575"/>
              <a:gd name="connsiteY36" fmla="*/ 477570 h 955271"/>
              <a:gd name="connsiteX37" fmla="*/ 2496256 w 5741575"/>
              <a:gd name="connsiteY37" fmla="*/ 452396 h 955271"/>
              <a:gd name="connsiteX38" fmla="*/ 2535387 w 5741575"/>
              <a:gd name="connsiteY38" fmla="*/ 436645 h 955271"/>
              <a:gd name="connsiteX39" fmla="*/ 2601109 w 5741575"/>
              <a:gd name="connsiteY39" fmla="*/ 410678 h 955271"/>
              <a:gd name="connsiteX40" fmla="*/ 2643855 w 5741575"/>
              <a:gd name="connsiteY40" fmla="*/ 374482 h 955271"/>
              <a:gd name="connsiteX41" fmla="*/ 2657726 w 5741575"/>
              <a:gd name="connsiteY41" fmla="*/ 365841 h 955271"/>
              <a:gd name="connsiteX42" fmla="*/ 2687125 w 5741575"/>
              <a:gd name="connsiteY42" fmla="*/ 366820 h 955271"/>
              <a:gd name="connsiteX43" fmla="*/ 2697479 w 5741575"/>
              <a:gd name="connsiteY43" fmla="*/ 361430 h 955271"/>
              <a:gd name="connsiteX44" fmla="*/ 2731718 w 5741575"/>
              <a:gd name="connsiteY44" fmla="*/ 361545 h 955271"/>
              <a:gd name="connsiteX45" fmla="*/ 2777227 w 5741575"/>
              <a:gd name="connsiteY45" fmla="*/ 368972 h 955271"/>
              <a:gd name="connsiteX46" fmla="*/ 2824768 w 5741575"/>
              <a:gd name="connsiteY46" fmla="*/ 361652 h 955271"/>
              <a:gd name="connsiteX47" fmla="*/ 2885545 w 5741575"/>
              <a:gd name="connsiteY47" fmla="*/ 372818 h 955271"/>
              <a:gd name="connsiteX48" fmla="*/ 3009558 w 5741575"/>
              <a:gd name="connsiteY48" fmla="*/ 370573 h 955271"/>
              <a:gd name="connsiteX49" fmla="*/ 3095010 w 5741575"/>
              <a:gd name="connsiteY49" fmla="*/ 332454 h 955271"/>
              <a:gd name="connsiteX50" fmla="*/ 3103742 w 5741575"/>
              <a:gd name="connsiteY50" fmla="*/ 337974 h 955271"/>
              <a:gd name="connsiteX51" fmla="*/ 3165093 w 5741575"/>
              <a:gd name="connsiteY51" fmla="*/ 329459 h 955271"/>
              <a:gd name="connsiteX52" fmla="*/ 3373785 w 5741575"/>
              <a:gd name="connsiteY52" fmla="*/ 255680 h 955271"/>
              <a:gd name="connsiteX53" fmla="*/ 3493851 w 5741575"/>
              <a:gd name="connsiteY53" fmla="*/ 240255 h 955271"/>
              <a:gd name="connsiteX54" fmla="*/ 3537470 w 5741575"/>
              <a:gd name="connsiteY54" fmla="*/ 241867 h 955271"/>
              <a:gd name="connsiteX55" fmla="*/ 3610489 w 5741575"/>
              <a:gd name="connsiteY55" fmla="*/ 244128 h 955271"/>
              <a:gd name="connsiteX56" fmla="*/ 3667539 w 5741575"/>
              <a:gd name="connsiteY56" fmla="*/ 263271 h 955271"/>
              <a:gd name="connsiteX57" fmla="*/ 3727614 w 5741575"/>
              <a:gd name="connsiteY57" fmla="*/ 258245 h 955271"/>
              <a:gd name="connsiteX58" fmla="*/ 3738369 w 5741575"/>
              <a:gd name="connsiteY58" fmla="*/ 234506 h 955271"/>
              <a:gd name="connsiteX59" fmla="*/ 3803670 w 5741575"/>
              <a:gd name="connsiteY59" fmla="*/ 236457 h 955271"/>
              <a:gd name="connsiteX60" fmla="*/ 3903080 w 5741575"/>
              <a:gd name="connsiteY60" fmla="*/ 241890 h 955271"/>
              <a:gd name="connsiteX61" fmla="*/ 4114838 w 5741575"/>
              <a:gd name="connsiteY61" fmla="*/ 238165 h 955271"/>
              <a:gd name="connsiteX62" fmla="*/ 4271023 w 5741575"/>
              <a:gd name="connsiteY62" fmla="*/ 241959 h 955271"/>
              <a:gd name="connsiteX63" fmla="*/ 4367397 w 5741575"/>
              <a:gd name="connsiteY63" fmla="*/ 271442 h 955271"/>
              <a:gd name="connsiteX64" fmla="*/ 4495366 w 5741575"/>
              <a:gd name="connsiteY64" fmla="*/ 271618 h 955271"/>
              <a:gd name="connsiteX65" fmla="*/ 4517347 w 5741575"/>
              <a:gd name="connsiteY65" fmla="*/ 275639 h 955271"/>
              <a:gd name="connsiteX66" fmla="*/ 4546116 w 5741575"/>
              <a:gd name="connsiteY66" fmla="*/ 268568 h 955271"/>
              <a:gd name="connsiteX67" fmla="*/ 4661259 w 5741575"/>
              <a:gd name="connsiteY67" fmla="*/ 238966 h 955271"/>
              <a:gd name="connsiteX68" fmla="*/ 4750403 w 5741575"/>
              <a:gd name="connsiteY68" fmla="*/ 204364 h 955271"/>
              <a:gd name="connsiteX69" fmla="*/ 4867614 w 5741575"/>
              <a:gd name="connsiteY69" fmla="*/ 208668 h 955271"/>
              <a:gd name="connsiteX70" fmla="*/ 4937036 w 5741575"/>
              <a:gd name="connsiteY70" fmla="*/ 195446 h 955271"/>
              <a:gd name="connsiteX71" fmla="*/ 5067740 w 5741575"/>
              <a:gd name="connsiteY71" fmla="*/ 172293 h 955271"/>
              <a:gd name="connsiteX72" fmla="*/ 5200247 w 5741575"/>
              <a:gd name="connsiteY72" fmla="*/ 142695 h 955271"/>
              <a:gd name="connsiteX73" fmla="*/ 5291963 w 5741575"/>
              <a:gd name="connsiteY73" fmla="*/ 139446 h 955271"/>
              <a:gd name="connsiteX74" fmla="*/ 5418472 w 5741575"/>
              <a:gd name="connsiteY74" fmla="*/ 89163 h 955271"/>
              <a:gd name="connsiteX75" fmla="*/ 5482354 w 5741575"/>
              <a:gd name="connsiteY75" fmla="*/ 69470 h 955271"/>
              <a:gd name="connsiteX76" fmla="*/ 5583280 w 5741575"/>
              <a:gd name="connsiteY76" fmla="*/ 49787 h 955271"/>
              <a:gd name="connsiteX77" fmla="*/ 5613766 w 5741575"/>
              <a:gd name="connsiteY77" fmla="*/ 41855 h 955271"/>
              <a:gd name="connsiteX78" fmla="*/ 5684952 w 5741575"/>
              <a:gd name="connsiteY78" fmla="*/ 26088 h 955271"/>
              <a:gd name="connsiteX79" fmla="*/ 5741575 w 5741575"/>
              <a:gd name="connsiteY79" fmla="*/ 0 h 955271"/>
              <a:gd name="connsiteX0" fmla="*/ 5741575 w 5741575"/>
              <a:gd name="connsiteY0" fmla="*/ 0 h 955271"/>
              <a:gd name="connsiteX1" fmla="*/ 5741575 w 5741575"/>
              <a:gd name="connsiteY1" fmla="*/ 955271 h 955271"/>
              <a:gd name="connsiteX2" fmla="*/ 0 w 5741575"/>
              <a:gd name="connsiteY2" fmla="*/ 955271 h 955271"/>
              <a:gd name="connsiteX3" fmla="*/ 8558 w 5741575"/>
              <a:gd name="connsiteY3" fmla="*/ 953971 h 955271"/>
              <a:gd name="connsiteX4" fmla="*/ 16894 w 5741575"/>
              <a:gd name="connsiteY4" fmla="*/ 953847 h 955271"/>
              <a:gd name="connsiteX5" fmla="*/ 28156 w 5741575"/>
              <a:gd name="connsiteY5" fmla="*/ 951374 h 955271"/>
              <a:gd name="connsiteX6" fmla="*/ 28293 w 5741575"/>
              <a:gd name="connsiteY6" fmla="*/ 950971 h 955271"/>
              <a:gd name="connsiteX7" fmla="*/ 59229 w 5741575"/>
              <a:gd name="connsiteY7" fmla="*/ 903950 h 955271"/>
              <a:gd name="connsiteX8" fmla="*/ 148657 w 5741575"/>
              <a:gd name="connsiteY8" fmla="*/ 898134 h 955271"/>
              <a:gd name="connsiteX9" fmla="*/ 174554 w 5741575"/>
              <a:gd name="connsiteY9" fmla="*/ 886351 h 955271"/>
              <a:gd name="connsiteX10" fmla="*/ 187633 w 5741575"/>
              <a:gd name="connsiteY10" fmla="*/ 878226 h 955271"/>
              <a:gd name="connsiteX11" fmla="*/ 187961 w 5741575"/>
              <a:gd name="connsiteY11" fmla="*/ 876538 h 955271"/>
              <a:gd name="connsiteX12" fmla="*/ 240501 w 5741575"/>
              <a:gd name="connsiteY12" fmla="*/ 873150 h 955271"/>
              <a:gd name="connsiteX13" fmla="*/ 246345 w 5741575"/>
              <a:gd name="connsiteY13" fmla="*/ 869942 h 955271"/>
              <a:gd name="connsiteX14" fmla="*/ 306299 w 5741575"/>
              <a:gd name="connsiteY14" fmla="*/ 873609 h 955271"/>
              <a:gd name="connsiteX15" fmla="*/ 331571 w 5741575"/>
              <a:gd name="connsiteY15" fmla="*/ 869866 h 955271"/>
              <a:gd name="connsiteX16" fmla="*/ 384157 w 5741575"/>
              <a:gd name="connsiteY16" fmla="*/ 867971 h 955271"/>
              <a:gd name="connsiteX17" fmla="*/ 477637 w 5741575"/>
              <a:gd name="connsiteY17" fmla="*/ 870334 h 955271"/>
              <a:gd name="connsiteX18" fmla="*/ 570239 w 5741575"/>
              <a:gd name="connsiteY18" fmla="*/ 829596 h 955271"/>
              <a:gd name="connsiteX19" fmla="*/ 772070 w 5741575"/>
              <a:gd name="connsiteY19" fmla="*/ 820296 h 955271"/>
              <a:gd name="connsiteX20" fmla="*/ 948872 w 5741575"/>
              <a:gd name="connsiteY20" fmla="*/ 772201 h 955271"/>
              <a:gd name="connsiteX21" fmla="*/ 1127089 w 5741575"/>
              <a:gd name="connsiteY21" fmla="*/ 746926 h 955271"/>
              <a:gd name="connsiteX22" fmla="*/ 1226314 w 5741575"/>
              <a:gd name="connsiteY22" fmla="*/ 722473 h 955271"/>
              <a:gd name="connsiteX23" fmla="*/ 1278773 w 5741575"/>
              <a:gd name="connsiteY23" fmla="*/ 711503 h 955271"/>
              <a:gd name="connsiteX24" fmla="*/ 1317691 w 5741575"/>
              <a:gd name="connsiteY24" fmla="*/ 708529 h 955271"/>
              <a:gd name="connsiteX25" fmla="*/ 1360404 w 5741575"/>
              <a:gd name="connsiteY25" fmla="*/ 675922 h 955271"/>
              <a:gd name="connsiteX26" fmla="*/ 1412292 w 5741575"/>
              <a:gd name="connsiteY26" fmla="*/ 670793 h 955271"/>
              <a:gd name="connsiteX27" fmla="*/ 1494753 w 5741575"/>
              <a:gd name="connsiteY27" fmla="*/ 644686 h 955271"/>
              <a:gd name="connsiteX28" fmla="*/ 1616217 w 5741575"/>
              <a:gd name="connsiteY28" fmla="*/ 622107 h 955271"/>
              <a:gd name="connsiteX29" fmla="*/ 1710928 w 5741575"/>
              <a:gd name="connsiteY29" fmla="*/ 600666 h 955271"/>
              <a:gd name="connsiteX30" fmla="*/ 1743718 w 5741575"/>
              <a:gd name="connsiteY30" fmla="*/ 584327 h 955271"/>
              <a:gd name="connsiteX31" fmla="*/ 1873778 w 5741575"/>
              <a:gd name="connsiteY31" fmla="*/ 530130 h 955271"/>
              <a:gd name="connsiteX32" fmla="*/ 1988411 w 5741575"/>
              <a:gd name="connsiteY32" fmla="*/ 491599 h 955271"/>
              <a:gd name="connsiteX33" fmla="*/ 2085507 w 5741575"/>
              <a:gd name="connsiteY33" fmla="*/ 498527 h 955271"/>
              <a:gd name="connsiteX34" fmla="*/ 2090767 w 5741575"/>
              <a:gd name="connsiteY34" fmla="*/ 490616 h 955271"/>
              <a:gd name="connsiteX35" fmla="*/ 2151143 w 5741575"/>
              <a:gd name="connsiteY35" fmla="*/ 478332 h 955271"/>
              <a:gd name="connsiteX36" fmla="*/ 2378710 w 5741575"/>
              <a:gd name="connsiteY36" fmla="*/ 477570 h 955271"/>
              <a:gd name="connsiteX37" fmla="*/ 2496256 w 5741575"/>
              <a:gd name="connsiteY37" fmla="*/ 452396 h 955271"/>
              <a:gd name="connsiteX38" fmla="*/ 2535387 w 5741575"/>
              <a:gd name="connsiteY38" fmla="*/ 436645 h 955271"/>
              <a:gd name="connsiteX39" fmla="*/ 2601109 w 5741575"/>
              <a:gd name="connsiteY39" fmla="*/ 410678 h 955271"/>
              <a:gd name="connsiteX40" fmla="*/ 2643855 w 5741575"/>
              <a:gd name="connsiteY40" fmla="*/ 374482 h 955271"/>
              <a:gd name="connsiteX41" fmla="*/ 2657726 w 5741575"/>
              <a:gd name="connsiteY41" fmla="*/ 365841 h 955271"/>
              <a:gd name="connsiteX42" fmla="*/ 2687125 w 5741575"/>
              <a:gd name="connsiteY42" fmla="*/ 366820 h 955271"/>
              <a:gd name="connsiteX43" fmla="*/ 2697479 w 5741575"/>
              <a:gd name="connsiteY43" fmla="*/ 361430 h 955271"/>
              <a:gd name="connsiteX44" fmla="*/ 2731718 w 5741575"/>
              <a:gd name="connsiteY44" fmla="*/ 361545 h 955271"/>
              <a:gd name="connsiteX45" fmla="*/ 2777227 w 5741575"/>
              <a:gd name="connsiteY45" fmla="*/ 368972 h 955271"/>
              <a:gd name="connsiteX46" fmla="*/ 2824768 w 5741575"/>
              <a:gd name="connsiteY46" fmla="*/ 361652 h 955271"/>
              <a:gd name="connsiteX47" fmla="*/ 2885545 w 5741575"/>
              <a:gd name="connsiteY47" fmla="*/ 372818 h 955271"/>
              <a:gd name="connsiteX48" fmla="*/ 3009558 w 5741575"/>
              <a:gd name="connsiteY48" fmla="*/ 370573 h 955271"/>
              <a:gd name="connsiteX49" fmla="*/ 3095010 w 5741575"/>
              <a:gd name="connsiteY49" fmla="*/ 332454 h 955271"/>
              <a:gd name="connsiteX50" fmla="*/ 3103742 w 5741575"/>
              <a:gd name="connsiteY50" fmla="*/ 337974 h 955271"/>
              <a:gd name="connsiteX51" fmla="*/ 3195264 w 5741575"/>
              <a:gd name="connsiteY51" fmla="*/ 293158 h 955271"/>
              <a:gd name="connsiteX52" fmla="*/ 3373785 w 5741575"/>
              <a:gd name="connsiteY52" fmla="*/ 255680 h 955271"/>
              <a:gd name="connsiteX53" fmla="*/ 3493851 w 5741575"/>
              <a:gd name="connsiteY53" fmla="*/ 240255 h 955271"/>
              <a:gd name="connsiteX54" fmla="*/ 3537470 w 5741575"/>
              <a:gd name="connsiteY54" fmla="*/ 241867 h 955271"/>
              <a:gd name="connsiteX55" fmla="*/ 3610489 w 5741575"/>
              <a:gd name="connsiteY55" fmla="*/ 244128 h 955271"/>
              <a:gd name="connsiteX56" fmla="*/ 3667539 w 5741575"/>
              <a:gd name="connsiteY56" fmla="*/ 263271 h 955271"/>
              <a:gd name="connsiteX57" fmla="*/ 3727614 w 5741575"/>
              <a:gd name="connsiteY57" fmla="*/ 258245 h 955271"/>
              <a:gd name="connsiteX58" fmla="*/ 3738369 w 5741575"/>
              <a:gd name="connsiteY58" fmla="*/ 234506 h 955271"/>
              <a:gd name="connsiteX59" fmla="*/ 3803670 w 5741575"/>
              <a:gd name="connsiteY59" fmla="*/ 236457 h 955271"/>
              <a:gd name="connsiteX60" fmla="*/ 3903080 w 5741575"/>
              <a:gd name="connsiteY60" fmla="*/ 241890 h 955271"/>
              <a:gd name="connsiteX61" fmla="*/ 4114838 w 5741575"/>
              <a:gd name="connsiteY61" fmla="*/ 238165 h 955271"/>
              <a:gd name="connsiteX62" fmla="*/ 4271023 w 5741575"/>
              <a:gd name="connsiteY62" fmla="*/ 241959 h 955271"/>
              <a:gd name="connsiteX63" fmla="*/ 4367397 w 5741575"/>
              <a:gd name="connsiteY63" fmla="*/ 271442 h 955271"/>
              <a:gd name="connsiteX64" fmla="*/ 4495366 w 5741575"/>
              <a:gd name="connsiteY64" fmla="*/ 271618 h 955271"/>
              <a:gd name="connsiteX65" fmla="*/ 4517347 w 5741575"/>
              <a:gd name="connsiteY65" fmla="*/ 275639 h 955271"/>
              <a:gd name="connsiteX66" fmla="*/ 4546116 w 5741575"/>
              <a:gd name="connsiteY66" fmla="*/ 268568 h 955271"/>
              <a:gd name="connsiteX67" fmla="*/ 4661259 w 5741575"/>
              <a:gd name="connsiteY67" fmla="*/ 238966 h 955271"/>
              <a:gd name="connsiteX68" fmla="*/ 4750403 w 5741575"/>
              <a:gd name="connsiteY68" fmla="*/ 204364 h 955271"/>
              <a:gd name="connsiteX69" fmla="*/ 4867614 w 5741575"/>
              <a:gd name="connsiteY69" fmla="*/ 208668 h 955271"/>
              <a:gd name="connsiteX70" fmla="*/ 4937036 w 5741575"/>
              <a:gd name="connsiteY70" fmla="*/ 195446 h 955271"/>
              <a:gd name="connsiteX71" fmla="*/ 5067740 w 5741575"/>
              <a:gd name="connsiteY71" fmla="*/ 172293 h 955271"/>
              <a:gd name="connsiteX72" fmla="*/ 5200247 w 5741575"/>
              <a:gd name="connsiteY72" fmla="*/ 142695 h 955271"/>
              <a:gd name="connsiteX73" fmla="*/ 5291963 w 5741575"/>
              <a:gd name="connsiteY73" fmla="*/ 139446 h 955271"/>
              <a:gd name="connsiteX74" fmla="*/ 5418472 w 5741575"/>
              <a:gd name="connsiteY74" fmla="*/ 89163 h 955271"/>
              <a:gd name="connsiteX75" fmla="*/ 5482354 w 5741575"/>
              <a:gd name="connsiteY75" fmla="*/ 69470 h 955271"/>
              <a:gd name="connsiteX76" fmla="*/ 5583280 w 5741575"/>
              <a:gd name="connsiteY76" fmla="*/ 49787 h 955271"/>
              <a:gd name="connsiteX77" fmla="*/ 5613766 w 5741575"/>
              <a:gd name="connsiteY77" fmla="*/ 41855 h 955271"/>
              <a:gd name="connsiteX78" fmla="*/ 5684952 w 5741575"/>
              <a:gd name="connsiteY78" fmla="*/ 26088 h 955271"/>
              <a:gd name="connsiteX79" fmla="*/ 5741575 w 5741575"/>
              <a:gd name="connsiteY79" fmla="*/ 0 h 955271"/>
              <a:gd name="connsiteX0" fmla="*/ 5741575 w 5741575"/>
              <a:gd name="connsiteY0" fmla="*/ 0 h 955271"/>
              <a:gd name="connsiteX1" fmla="*/ 5741575 w 5741575"/>
              <a:gd name="connsiteY1" fmla="*/ 955271 h 955271"/>
              <a:gd name="connsiteX2" fmla="*/ 0 w 5741575"/>
              <a:gd name="connsiteY2" fmla="*/ 955271 h 955271"/>
              <a:gd name="connsiteX3" fmla="*/ 8558 w 5741575"/>
              <a:gd name="connsiteY3" fmla="*/ 953971 h 955271"/>
              <a:gd name="connsiteX4" fmla="*/ 16894 w 5741575"/>
              <a:gd name="connsiteY4" fmla="*/ 953847 h 955271"/>
              <a:gd name="connsiteX5" fmla="*/ 28156 w 5741575"/>
              <a:gd name="connsiteY5" fmla="*/ 951374 h 955271"/>
              <a:gd name="connsiteX6" fmla="*/ 28293 w 5741575"/>
              <a:gd name="connsiteY6" fmla="*/ 950971 h 955271"/>
              <a:gd name="connsiteX7" fmla="*/ 59229 w 5741575"/>
              <a:gd name="connsiteY7" fmla="*/ 903950 h 955271"/>
              <a:gd name="connsiteX8" fmla="*/ 148657 w 5741575"/>
              <a:gd name="connsiteY8" fmla="*/ 898134 h 955271"/>
              <a:gd name="connsiteX9" fmla="*/ 174554 w 5741575"/>
              <a:gd name="connsiteY9" fmla="*/ 886351 h 955271"/>
              <a:gd name="connsiteX10" fmla="*/ 187633 w 5741575"/>
              <a:gd name="connsiteY10" fmla="*/ 878226 h 955271"/>
              <a:gd name="connsiteX11" fmla="*/ 187961 w 5741575"/>
              <a:gd name="connsiteY11" fmla="*/ 876538 h 955271"/>
              <a:gd name="connsiteX12" fmla="*/ 240501 w 5741575"/>
              <a:gd name="connsiteY12" fmla="*/ 873150 h 955271"/>
              <a:gd name="connsiteX13" fmla="*/ 246345 w 5741575"/>
              <a:gd name="connsiteY13" fmla="*/ 869942 h 955271"/>
              <a:gd name="connsiteX14" fmla="*/ 306299 w 5741575"/>
              <a:gd name="connsiteY14" fmla="*/ 873609 h 955271"/>
              <a:gd name="connsiteX15" fmla="*/ 331571 w 5741575"/>
              <a:gd name="connsiteY15" fmla="*/ 869866 h 955271"/>
              <a:gd name="connsiteX16" fmla="*/ 384157 w 5741575"/>
              <a:gd name="connsiteY16" fmla="*/ 867971 h 955271"/>
              <a:gd name="connsiteX17" fmla="*/ 477637 w 5741575"/>
              <a:gd name="connsiteY17" fmla="*/ 870334 h 955271"/>
              <a:gd name="connsiteX18" fmla="*/ 570239 w 5741575"/>
              <a:gd name="connsiteY18" fmla="*/ 829596 h 955271"/>
              <a:gd name="connsiteX19" fmla="*/ 772070 w 5741575"/>
              <a:gd name="connsiteY19" fmla="*/ 820296 h 955271"/>
              <a:gd name="connsiteX20" fmla="*/ 948872 w 5741575"/>
              <a:gd name="connsiteY20" fmla="*/ 772201 h 955271"/>
              <a:gd name="connsiteX21" fmla="*/ 1127089 w 5741575"/>
              <a:gd name="connsiteY21" fmla="*/ 746926 h 955271"/>
              <a:gd name="connsiteX22" fmla="*/ 1226314 w 5741575"/>
              <a:gd name="connsiteY22" fmla="*/ 722473 h 955271"/>
              <a:gd name="connsiteX23" fmla="*/ 1278773 w 5741575"/>
              <a:gd name="connsiteY23" fmla="*/ 711503 h 955271"/>
              <a:gd name="connsiteX24" fmla="*/ 1317691 w 5741575"/>
              <a:gd name="connsiteY24" fmla="*/ 708529 h 955271"/>
              <a:gd name="connsiteX25" fmla="*/ 1360404 w 5741575"/>
              <a:gd name="connsiteY25" fmla="*/ 675922 h 955271"/>
              <a:gd name="connsiteX26" fmla="*/ 1412292 w 5741575"/>
              <a:gd name="connsiteY26" fmla="*/ 670793 h 955271"/>
              <a:gd name="connsiteX27" fmla="*/ 1494753 w 5741575"/>
              <a:gd name="connsiteY27" fmla="*/ 644686 h 955271"/>
              <a:gd name="connsiteX28" fmla="*/ 1616217 w 5741575"/>
              <a:gd name="connsiteY28" fmla="*/ 622107 h 955271"/>
              <a:gd name="connsiteX29" fmla="*/ 1710928 w 5741575"/>
              <a:gd name="connsiteY29" fmla="*/ 600666 h 955271"/>
              <a:gd name="connsiteX30" fmla="*/ 1743718 w 5741575"/>
              <a:gd name="connsiteY30" fmla="*/ 584327 h 955271"/>
              <a:gd name="connsiteX31" fmla="*/ 1873778 w 5741575"/>
              <a:gd name="connsiteY31" fmla="*/ 530130 h 955271"/>
              <a:gd name="connsiteX32" fmla="*/ 1988411 w 5741575"/>
              <a:gd name="connsiteY32" fmla="*/ 491599 h 955271"/>
              <a:gd name="connsiteX33" fmla="*/ 2085507 w 5741575"/>
              <a:gd name="connsiteY33" fmla="*/ 498527 h 955271"/>
              <a:gd name="connsiteX34" fmla="*/ 2090767 w 5741575"/>
              <a:gd name="connsiteY34" fmla="*/ 490616 h 955271"/>
              <a:gd name="connsiteX35" fmla="*/ 2151143 w 5741575"/>
              <a:gd name="connsiteY35" fmla="*/ 478332 h 955271"/>
              <a:gd name="connsiteX36" fmla="*/ 2378710 w 5741575"/>
              <a:gd name="connsiteY36" fmla="*/ 477570 h 955271"/>
              <a:gd name="connsiteX37" fmla="*/ 2496256 w 5741575"/>
              <a:gd name="connsiteY37" fmla="*/ 452396 h 955271"/>
              <a:gd name="connsiteX38" fmla="*/ 2535387 w 5741575"/>
              <a:gd name="connsiteY38" fmla="*/ 436645 h 955271"/>
              <a:gd name="connsiteX39" fmla="*/ 2601109 w 5741575"/>
              <a:gd name="connsiteY39" fmla="*/ 410678 h 955271"/>
              <a:gd name="connsiteX40" fmla="*/ 2643855 w 5741575"/>
              <a:gd name="connsiteY40" fmla="*/ 374482 h 955271"/>
              <a:gd name="connsiteX41" fmla="*/ 2657726 w 5741575"/>
              <a:gd name="connsiteY41" fmla="*/ 365841 h 955271"/>
              <a:gd name="connsiteX42" fmla="*/ 2687125 w 5741575"/>
              <a:gd name="connsiteY42" fmla="*/ 366820 h 955271"/>
              <a:gd name="connsiteX43" fmla="*/ 2697479 w 5741575"/>
              <a:gd name="connsiteY43" fmla="*/ 361430 h 955271"/>
              <a:gd name="connsiteX44" fmla="*/ 2731718 w 5741575"/>
              <a:gd name="connsiteY44" fmla="*/ 361545 h 955271"/>
              <a:gd name="connsiteX45" fmla="*/ 2777227 w 5741575"/>
              <a:gd name="connsiteY45" fmla="*/ 368972 h 955271"/>
              <a:gd name="connsiteX46" fmla="*/ 2824768 w 5741575"/>
              <a:gd name="connsiteY46" fmla="*/ 361652 h 955271"/>
              <a:gd name="connsiteX47" fmla="*/ 2885545 w 5741575"/>
              <a:gd name="connsiteY47" fmla="*/ 372818 h 955271"/>
              <a:gd name="connsiteX48" fmla="*/ 3009558 w 5741575"/>
              <a:gd name="connsiteY48" fmla="*/ 370573 h 955271"/>
              <a:gd name="connsiteX49" fmla="*/ 3095010 w 5741575"/>
              <a:gd name="connsiteY49" fmla="*/ 332454 h 955271"/>
              <a:gd name="connsiteX50" fmla="*/ 3148998 w 5741575"/>
              <a:gd name="connsiteY50" fmla="*/ 315286 h 955271"/>
              <a:gd name="connsiteX51" fmla="*/ 3195264 w 5741575"/>
              <a:gd name="connsiteY51" fmla="*/ 293158 h 955271"/>
              <a:gd name="connsiteX52" fmla="*/ 3373785 w 5741575"/>
              <a:gd name="connsiteY52" fmla="*/ 255680 h 955271"/>
              <a:gd name="connsiteX53" fmla="*/ 3493851 w 5741575"/>
              <a:gd name="connsiteY53" fmla="*/ 240255 h 955271"/>
              <a:gd name="connsiteX54" fmla="*/ 3537470 w 5741575"/>
              <a:gd name="connsiteY54" fmla="*/ 241867 h 955271"/>
              <a:gd name="connsiteX55" fmla="*/ 3610489 w 5741575"/>
              <a:gd name="connsiteY55" fmla="*/ 244128 h 955271"/>
              <a:gd name="connsiteX56" fmla="*/ 3667539 w 5741575"/>
              <a:gd name="connsiteY56" fmla="*/ 263271 h 955271"/>
              <a:gd name="connsiteX57" fmla="*/ 3727614 w 5741575"/>
              <a:gd name="connsiteY57" fmla="*/ 258245 h 955271"/>
              <a:gd name="connsiteX58" fmla="*/ 3738369 w 5741575"/>
              <a:gd name="connsiteY58" fmla="*/ 234506 h 955271"/>
              <a:gd name="connsiteX59" fmla="*/ 3803670 w 5741575"/>
              <a:gd name="connsiteY59" fmla="*/ 236457 h 955271"/>
              <a:gd name="connsiteX60" fmla="*/ 3903080 w 5741575"/>
              <a:gd name="connsiteY60" fmla="*/ 241890 h 955271"/>
              <a:gd name="connsiteX61" fmla="*/ 4114838 w 5741575"/>
              <a:gd name="connsiteY61" fmla="*/ 238165 h 955271"/>
              <a:gd name="connsiteX62" fmla="*/ 4271023 w 5741575"/>
              <a:gd name="connsiteY62" fmla="*/ 241959 h 955271"/>
              <a:gd name="connsiteX63" fmla="*/ 4367397 w 5741575"/>
              <a:gd name="connsiteY63" fmla="*/ 271442 h 955271"/>
              <a:gd name="connsiteX64" fmla="*/ 4495366 w 5741575"/>
              <a:gd name="connsiteY64" fmla="*/ 271618 h 955271"/>
              <a:gd name="connsiteX65" fmla="*/ 4517347 w 5741575"/>
              <a:gd name="connsiteY65" fmla="*/ 275639 h 955271"/>
              <a:gd name="connsiteX66" fmla="*/ 4546116 w 5741575"/>
              <a:gd name="connsiteY66" fmla="*/ 268568 h 955271"/>
              <a:gd name="connsiteX67" fmla="*/ 4661259 w 5741575"/>
              <a:gd name="connsiteY67" fmla="*/ 238966 h 955271"/>
              <a:gd name="connsiteX68" fmla="*/ 4750403 w 5741575"/>
              <a:gd name="connsiteY68" fmla="*/ 204364 h 955271"/>
              <a:gd name="connsiteX69" fmla="*/ 4867614 w 5741575"/>
              <a:gd name="connsiteY69" fmla="*/ 208668 h 955271"/>
              <a:gd name="connsiteX70" fmla="*/ 4937036 w 5741575"/>
              <a:gd name="connsiteY70" fmla="*/ 195446 h 955271"/>
              <a:gd name="connsiteX71" fmla="*/ 5067740 w 5741575"/>
              <a:gd name="connsiteY71" fmla="*/ 172293 h 955271"/>
              <a:gd name="connsiteX72" fmla="*/ 5200247 w 5741575"/>
              <a:gd name="connsiteY72" fmla="*/ 142695 h 955271"/>
              <a:gd name="connsiteX73" fmla="*/ 5291963 w 5741575"/>
              <a:gd name="connsiteY73" fmla="*/ 139446 h 955271"/>
              <a:gd name="connsiteX74" fmla="*/ 5418472 w 5741575"/>
              <a:gd name="connsiteY74" fmla="*/ 89163 h 955271"/>
              <a:gd name="connsiteX75" fmla="*/ 5482354 w 5741575"/>
              <a:gd name="connsiteY75" fmla="*/ 69470 h 955271"/>
              <a:gd name="connsiteX76" fmla="*/ 5583280 w 5741575"/>
              <a:gd name="connsiteY76" fmla="*/ 49787 h 955271"/>
              <a:gd name="connsiteX77" fmla="*/ 5613766 w 5741575"/>
              <a:gd name="connsiteY77" fmla="*/ 41855 h 955271"/>
              <a:gd name="connsiteX78" fmla="*/ 5684952 w 5741575"/>
              <a:gd name="connsiteY78" fmla="*/ 26088 h 955271"/>
              <a:gd name="connsiteX79" fmla="*/ 5741575 w 5741575"/>
              <a:gd name="connsiteY79" fmla="*/ 0 h 955271"/>
              <a:gd name="connsiteX0" fmla="*/ 5741575 w 5741575"/>
              <a:gd name="connsiteY0" fmla="*/ 0 h 955271"/>
              <a:gd name="connsiteX1" fmla="*/ 5741575 w 5741575"/>
              <a:gd name="connsiteY1" fmla="*/ 955271 h 955271"/>
              <a:gd name="connsiteX2" fmla="*/ 0 w 5741575"/>
              <a:gd name="connsiteY2" fmla="*/ 955271 h 955271"/>
              <a:gd name="connsiteX3" fmla="*/ 8558 w 5741575"/>
              <a:gd name="connsiteY3" fmla="*/ 953971 h 955271"/>
              <a:gd name="connsiteX4" fmla="*/ 16894 w 5741575"/>
              <a:gd name="connsiteY4" fmla="*/ 953847 h 955271"/>
              <a:gd name="connsiteX5" fmla="*/ 28156 w 5741575"/>
              <a:gd name="connsiteY5" fmla="*/ 951374 h 955271"/>
              <a:gd name="connsiteX6" fmla="*/ 28293 w 5741575"/>
              <a:gd name="connsiteY6" fmla="*/ 950971 h 955271"/>
              <a:gd name="connsiteX7" fmla="*/ 59229 w 5741575"/>
              <a:gd name="connsiteY7" fmla="*/ 903950 h 955271"/>
              <a:gd name="connsiteX8" fmla="*/ 148657 w 5741575"/>
              <a:gd name="connsiteY8" fmla="*/ 898134 h 955271"/>
              <a:gd name="connsiteX9" fmla="*/ 174554 w 5741575"/>
              <a:gd name="connsiteY9" fmla="*/ 886351 h 955271"/>
              <a:gd name="connsiteX10" fmla="*/ 187633 w 5741575"/>
              <a:gd name="connsiteY10" fmla="*/ 878226 h 955271"/>
              <a:gd name="connsiteX11" fmla="*/ 187961 w 5741575"/>
              <a:gd name="connsiteY11" fmla="*/ 876538 h 955271"/>
              <a:gd name="connsiteX12" fmla="*/ 240501 w 5741575"/>
              <a:gd name="connsiteY12" fmla="*/ 873150 h 955271"/>
              <a:gd name="connsiteX13" fmla="*/ 246345 w 5741575"/>
              <a:gd name="connsiteY13" fmla="*/ 869942 h 955271"/>
              <a:gd name="connsiteX14" fmla="*/ 306299 w 5741575"/>
              <a:gd name="connsiteY14" fmla="*/ 873609 h 955271"/>
              <a:gd name="connsiteX15" fmla="*/ 331571 w 5741575"/>
              <a:gd name="connsiteY15" fmla="*/ 869866 h 955271"/>
              <a:gd name="connsiteX16" fmla="*/ 384157 w 5741575"/>
              <a:gd name="connsiteY16" fmla="*/ 867971 h 955271"/>
              <a:gd name="connsiteX17" fmla="*/ 477637 w 5741575"/>
              <a:gd name="connsiteY17" fmla="*/ 870334 h 955271"/>
              <a:gd name="connsiteX18" fmla="*/ 570239 w 5741575"/>
              <a:gd name="connsiteY18" fmla="*/ 829596 h 955271"/>
              <a:gd name="connsiteX19" fmla="*/ 772070 w 5741575"/>
              <a:gd name="connsiteY19" fmla="*/ 820296 h 955271"/>
              <a:gd name="connsiteX20" fmla="*/ 948872 w 5741575"/>
              <a:gd name="connsiteY20" fmla="*/ 772201 h 955271"/>
              <a:gd name="connsiteX21" fmla="*/ 1127089 w 5741575"/>
              <a:gd name="connsiteY21" fmla="*/ 746926 h 955271"/>
              <a:gd name="connsiteX22" fmla="*/ 1226314 w 5741575"/>
              <a:gd name="connsiteY22" fmla="*/ 722473 h 955271"/>
              <a:gd name="connsiteX23" fmla="*/ 1278773 w 5741575"/>
              <a:gd name="connsiteY23" fmla="*/ 711503 h 955271"/>
              <a:gd name="connsiteX24" fmla="*/ 1317691 w 5741575"/>
              <a:gd name="connsiteY24" fmla="*/ 708529 h 955271"/>
              <a:gd name="connsiteX25" fmla="*/ 1360404 w 5741575"/>
              <a:gd name="connsiteY25" fmla="*/ 675922 h 955271"/>
              <a:gd name="connsiteX26" fmla="*/ 1412292 w 5741575"/>
              <a:gd name="connsiteY26" fmla="*/ 670793 h 955271"/>
              <a:gd name="connsiteX27" fmla="*/ 1494753 w 5741575"/>
              <a:gd name="connsiteY27" fmla="*/ 644686 h 955271"/>
              <a:gd name="connsiteX28" fmla="*/ 1616217 w 5741575"/>
              <a:gd name="connsiteY28" fmla="*/ 622107 h 955271"/>
              <a:gd name="connsiteX29" fmla="*/ 1710928 w 5741575"/>
              <a:gd name="connsiteY29" fmla="*/ 600666 h 955271"/>
              <a:gd name="connsiteX30" fmla="*/ 1743718 w 5741575"/>
              <a:gd name="connsiteY30" fmla="*/ 584327 h 955271"/>
              <a:gd name="connsiteX31" fmla="*/ 1873778 w 5741575"/>
              <a:gd name="connsiteY31" fmla="*/ 530130 h 955271"/>
              <a:gd name="connsiteX32" fmla="*/ 1988411 w 5741575"/>
              <a:gd name="connsiteY32" fmla="*/ 491599 h 955271"/>
              <a:gd name="connsiteX33" fmla="*/ 2085507 w 5741575"/>
              <a:gd name="connsiteY33" fmla="*/ 498527 h 955271"/>
              <a:gd name="connsiteX34" fmla="*/ 2090767 w 5741575"/>
              <a:gd name="connsiteY34" fmla="*/ 490616 h 955271"/>
              <a:gd name="connsiteX35" fmla="*/ 2151143 w 5741575"/>
              <a:gd name="connsiteY35" fmla="*/ 478332 h 955271"/>
              <a:gd name="connsiteX36" fmla="*/ 2378710 w 5741575"/>
              <a:gd name="connsiteY36" fmla="*/ 477570 h 955271"/>
              <a:gd name="connsiteX37" fmla="*/ 2496256 w 5741575"/>
              <a:gd name="connsiteY37" fmla="*/ 452396 h 955271"/>
              <a:gd name="connsiteX38" fmla="*/ 2535387 w 5741575"/>
              <a:gd name="connsiteY38" fmla="*/ 436645 h 955271"/>
              <a:gd name="connsiteX39" fmla="*/ 2601109 w 5741575"/>
              <a:gd name="connsiteY39" fmla="*/ 410678 h 955271"/>
              <a:gd name="connsiteX40" fmla="*/ 2643855 w 5741575"/>
              <a:gd name="connsiteY40" fmla="*/ 374482 h 955271"/>
              <a:gd name="connsiteX41" fmla="*/ 2657726 w 5741575"/>
              <a:gd name="connsiteY41" fmla="*/ 365841 h 955271"/>
              <a:gd name="connsiteX42" fmla="*/ 2687125 w 5741575"/>
              <a:gd name="connsiteY42" fmla="*/ 366820 h 955271"/>
              <a:gd name="connsiteX43" fmla="*/ 2697479 w 5741575"/>
              <a:gd name="connsiteY43" fmla="*/ 361430 h 955271"/>
              <a:gd name="connsiteX44" fmla="*/ 2777227 w 5741575"/>
              <a:gd name="connsiteY44" fmla="*/ 368972 h 955271"/>
              <a:gd name="connsiteX45" fmla="*/ 2824768 w 5741575"/>
              <a:gd name="connsiteY45" fmla="*/ 361652 h 955271"/>
              <a:gd name="connsiteX46" fmla="*/ 2885545 w 5741575"/>
              <a:gd name="connsiteY46" fmla="*/ 372818 h 955271"/>
              <a:gd name="connsiteX47" fmla="*/ 3009558 w 5741575"/>
              <a:gd name="connsiteY47" fmla="*/ 370573 h 955271"/>
              <a:gd name="connsiteX48" fmla="*/ 3095010 w 5741575"/>
              <a:gd name="connsiteY48" fmla="*/ 332454 h 955271"/>
              <a:gd name="connsiteX49" fmla="*/ 3148998 w 5741575"/>
              <a:gd name="connsiteY49" fmla="*/ 315286 h 955271"/>
              <a:gd name="connsiteX50" fmla="*/ 3195264 w 5741575"/>
              <a:gd name="connsiteY50" fmla="*/ 293158 h 955271"/>
              <a:gd name="connsiteX51" fmla="*/ 3373785 w 5741575"/>
              <a:gd name="connsiteY51" fmla="*/ 255680 h 955271"/>
              <a:gd name="connsiteX52" fmla="*/ 3493851 w 5741575"/>
              <a:gd name="connsiteY52" fmla="*/ 240255 h 955271"/>
              <a:gd name="connsiteX53" fmla="*/ 3537470 w 5741575"/>
              <a:gd name="connsiteY53" fmla="*/ 241867 h 955271"/>
              <a:gd name="connsiteX54" fmla="*/ 3610489 w 5741575"/>
              <a:gd name="connsiteY54" fmla="*/ 244128 h 955271"/>
              <a:gd name="connsiteX55" fmla="*/ 3667539 w 5741575"/>
              <a:gd name="connsiteY55" fmla="*/ 263271 h 955271"/>
              <a:gd name="connsiteX56" fmla="*/ 3727614 w 5741575"/>
              <a:gd name="connsiteY56" fmla="*/ 258245 h 955271"/>
              <a:gd name="connsiteX57" fmla="*/ 3738369 w 5741575"/>
              <a:gd name="connsiteY57" fmla="*/ 234506 h 955271"/>
              <a:gd name="connsiteX58" fmla="*/ 3803670 w 5741575"/>
              <a:gd name="connsiteY58" fmla="*/ 236457 h 955271"/>
              <a:gd name="connsiteX59" fmla="*/ 3903080 w 5741575"/>
              <a:gd name="connsiteY59" fmla="*/ 241890 h 955271"/>
              <a:gd name="connsiteX60" fmla="*/ 4114838 w 5741575"/>
              <a:gd name="connsiteY60" fmla="*/ 238165 h 955271"/>
              <a:gd name="connsiteX61" fmla="*/ 4271023 w 5741575"/>
              <a:gd name="connsiteY61" fmla="*/ 241959 h 955271"/>
              <a:gd name="connsiteX62" fmla="*/ 4367397 w 5741575"/>
              <a:gd name="connsiteY62" fmla="*/ 271442 h 955271"/>
              <a:gd name="connsiteX63" fmla="*/ 4495366 w 5741575"/>
              <a:gd name="connsiteY63" fmla="*/ 271618 h 955271"/>
              <a:gd name="connsiteX64" fmla="*/ 4517347 w 5741575"/>
              <a:gd name="connsiteY64" fmla="*/ 275639 h 955271"/>
              <a:gd name="connsiteX65" fmla="*/ 4546116 w 5741575"/>
              <a:gd name="connsiteY65" fmla="*/ 268568 h 955271"/>
              <a:gd name="connsiteX66" fmla="*/ 4661259 w 5741575"/>
              <a:gd name="connsiteY66" fmla="*/ 238966 h 955271"/>
              <a:gd name="connsiteX67" fmla="*/ 4750403 w 5741575"/>
              <a:gd name="connsiteY67" fmla="*/ 204364 h 955271"/>
              <a:gd name="connsiteX68" fmla="*/ 4867614 w 5741575"/>
              <a:gd name="connsiteY68" fmla="*/ 208668 h 955271"/>
              <a:gd name="connsiteX69" fmla="*/ 4937036 w 5741575"/>
              <a:gd name="connsiteY69" fmla="*/ 195446 h 955271"/>
              <a:gd name="connsiteX70" fmla="*/ 5067740 w 5741575"/>
              <a:gd name="connsiteY70" fmla="*/ 172293 h 955271"/>
              <a:gd name="connsiteX71" fmla="*/ 5200247 w 5741575"/>
              <a:gd name="connsiteY71" fmla="*/ 142695 h 955271"/>
              <a:gd name="connsiteX72" fmla="*/ 5291963 w 5741575"/>
              <a:gd name="connsiteY72" fmla="*/ 139446 h 955271"/>
              <a:gd name="connsiteX73" fmla="*/ 5418472 w 5741575"/>
              <a:gd name="connsiteY73" fmla="*/ 89163 h 955271"/>
              <a:gd name="connsiteX74" fmla="*/ 5482354 w 5741575"/>
              <a:gd name="connsiteY74" fmla="*/ 69470 h 955271"/>
              <a:gd name="connsiteX75" fmla="*/ 5583280 w 5741575"/>
              <a:gd name="connsiteY75" fmla="*/ 49787 h 955271"/>
              <a:gd name="connsiteX76" fmla="*/ 5613766 w 5741575"/>
              <a:gd name="connsiteY76" fmla="*/ 41855 h 955271"/>
              <a:gd name="connsiteX77" fmla="*/ 5684952 w 5741575"/>
              <a:gd name="connsiteY77" fmla="*/ 26088 h 955271"/>
              <a:gd name="connsiteX78" fmla="*/ 5741575 w 5741575"/>
              <a:gd name="connsiteY78" fmla="*/ 0 h 955271"/>
              <a:gd name="connsiteX0" fmla="*/ 5741575 w 5741575"/>
              <a:gd name="connsiteY0" fmla="*/ 0 h 955271"/>
              <a:gd name="connsiteX1" fmla="*/ 5741575 w 5741575"/>
              <a:gd name="connsiteY1" fmla="*/ 955271 h 955271"/>
              <a:gd name="connsiteX2" fmla="*/ 0 w 5741575"/>
              <a:gd name="connsiteY2" fmla="*/ 955271 h 955271"/>
              <a:gd name="connsiteX3" fmla="*/ 8558 w 5741575"/>
              <a:gd name="connsiteY3" fmla="*/ 953971 h 955271"/>
              <a:gd name="connsiteX4" fmla="*/ 16894 w 5741575"/>
              <a:gd name="connsiteY4" fmla="*/ 953847 h 955271"/>
              <a:gd name="connsiteX5" fmla="*/ 28156 w 5741575"/>
              <a:gd name="connsiteY5" fmla="*/ 951374 h 955271"/>
              <a:gd name="connsiteX6" fmla="*/ 28293 w 5741575"/>
              <a:gd name="connsiteY6" fmla="*/ 950971 h 955271"/>
              <a:gd name="connsiteX7" fmla="*/ 59229 w 5741575"/>
              <a:gd name="connsiteY7" fmla="*/ 903950 h 955271"/>
              <a:gd name="connsiteX8" fmla="*/ 148657 w 5741575"/>
              <a:gd name="connsiteY8" fmla="*/ 898134 h 955271"/>
              <a:gd name="connsiteX9" fmla="*/ 174554 w 5741575"/>
              <a:gd name="connsiteY9" fmla="*/ 886351 h 955271"/>
              <a:gd name="connsiteX10" fmla="*/ 187633 w 5741575"/>
              <a:gd name="connsiteY10" fmla="*/ 878226 h 955271"/>
              <a:gd name="connsiteX11" fmla="*/ 187961 w 5741575"/>
              <a:gd name="connsiteY11" fmla="*/ 876538 h 955271"/>
              <a:gd name="connsiteX12" fmla="*/ 240501 w 5741575"/>
              <a:gd name="connsiteY12" fmla="*/ 873150 h 955271"/>
              <a:gd name="connsiteX13" fmla="*/ 246345 w 5741575"/>
              <a:gd name="connsiteY13" fmla="*/ 869942 h 955271"/>
              <a:gd name="connsiteX14" fmla="*/ 306299 w 5741575"/>
              <a:gd name="connsiteY14" fmla="*/ 873609 h 955271"/>
              <a:gd name="connsiteX15" fmla="*/ 331571 w 5741575"/>
              <a:gd name="connsiteY15" fmla="*/ 869866 h 955271"/>
              <a:gd name="connsiteX16" fmla="*/ 384157 w 5741575"/>
              <a:gd name="connsiteY16" fmla="*/ 867971 h 955271"/>
              <a:gd name="connsiteX17" fmla="*/ 477637 w 5741575"/>
              <a:gd name="connsiteY17" fmla="*/ 870334 h 955271"/>
              <a:gd name="connsiteX18" fmla="*/ 570239 w 5741575"/>
              <a:gd name="connsiteY18" fmla="*/ 829596 h 955271"/>
              <a:gd name="connsiteX19" fmla="*/ 772070 w 5741575"/>
              <a:gd name="connsiteY19" fmla="*/ 820296 h 955271"/>
              <a:gd name="connsiteX20" fmla="*/ 948872 w 5741575"/>
              <a:gd name="connsiteY20" fmla="*/ 772201 h 955271"/>
              <a:gd name="connsiteX21" fmla="*/ 1127089 w 5741575"/>
              <a:gd name="connsiteY21" fmla="*/ 746926 h 955271"/>
              <a:gd name="connsiteX22" fmla="*/ 1226314 w 5741575"/>
              <a:gd name="connsiteY22" fmla="*/ 722473 h 955271"/>
              <a:gd name="connsiteX23" fmla="*/ 1278773 w 5741575"/>
              <a:gd name="connsiteY23" fmla="*/ 711503 h 955271"/>
              <a:gd name="connsiteX24" fmla="*/ 1317691 w 5741575"/>
              <a:gd name="connsiteY24" fmla="*/ 708529 h 955271"/>
              <a:gd name="connsiteX25" fmla="*/ 1360404 w 5741575"/>
              <a:gd name="connsiteY25" fmla="*/ 675922 h 955271"/>
              <a:gd name="connsiteX26" fmla="*/ 1412292 w 5741575"/>
              <a:gd name="connsiteY26" fmla="*/ 670793 h 955271"/>
              <a:gd name="connsiteX27" fmla="*/ 1494753 w 5741575"/>
              <a:gd name="connsiteY27" fmla="*/ 644686 h 955271"/>
              <a:gd name="connsiteX28" fmla="*/ 1616217 w 5741575"/>
              <a:gd name="connsiteY28" fmla="*/ 622107 h 955271"/>
              <a:gd name="connsiteX29" fmla="*/ 1710928 w 5741575"/>
              <a:gd name="connsiteY29" fmla="*/ 600666 h 955271"/>
              <a:gd name="connsiteX30" fmla="*/ 1743718 w 5741575"/>
              <a:gd name="connsiteY30" fmla="*/ 584327 h 955271"/>
              <a:gd name="connsiteX31" fmla="*/ 1873778 w 5741575"/>
              <a:gd name="connsiteY31" fmla="*/ 530130 h 955271"/>
              <a:gd name="connsiteX32" fmla="*/ 1988411 w 5741575"/>
              <a:gd name="connsiteY32" fmla="*/ 491599 h 955271"/>
              <a:gd name="connsiteX33" fmla="*/ 2085507 w 5741575"/>
              <a:gd name="connsiteY33" fmla="*/ 498527 h 955271"/>
              <a:gd name="connsiteX34" fmla="*/ 2090767 w 5741575"/>
              <a:gd name="connsiteY34" fmla="*/ 490616 h 955271"/>
              <a:gd name="connsiteX35" fmla="*/ 2151143 w 5741575"/>
              <a:gd name="connsiteY35" fmla="*/ 478332 h 955271"/>
              <a:gd name="connsiteX36" fmla="*/ 2378710 w 5741575"/>
              <a:gd name="connsiteY36" fmla="*/ 477570 h 955271"/>
              <a:gd name="connsiteX37" fmla="*/ 2496256 w 5741575"/>
              <a:gd name="connsiteY37" fmla="*/ 452396 h 955271"/>
              <a:gd name="connsiteX38" fmla="*/ 2535387 w 5741575"/>
              <a:gd name="connsiteY38" fmla="*/ 436645 h 955271"/>
              <a:gd name="connsiteX39" fmla="*/ 2601109 w 5741575"/>
              <a:gd name="connsiteY39" fmla="*/ 410678 h 955271"/>
              <a:gd name="connsiteX40" fmla="*/ 2643855 w 5741575"/>
              <a:gd name="connsiteY40" fmla="*/ 374482 h 955271"/>
              <a:gd name="connsiteX41" fmla="*/ 2657726 w 5741575"/>
              <a:gd name="connsiteY41" fmla="*/ 365841 h 955271"/>
              <a:gd name="connsiteX42" fmla="*/ 2687125 w 5741575"/>
              <a:gd name="connsiteY42" fmla="*/ 366820 h 955271"/>
              <a:gd name="connsiteX43" fmla="*/ 2777227 w 5741575"/>
              <a:gd name="connsiteY43" fmla="*/ 368972 h 955271"/>
              <a:gd name="connsiteX44" fmla="*/ 2824768 w 5741575"/>
              <a:gd name="connsiteY44" fmla="*/ 361652 h 955271"/>
              <a:gd name="connsiteX45" fmla="*/ 2885545 w 5741575"/>
              <a:gd name="connsiteY45" fmla="*/ 372818 h 955271"/>
              <a:gd name="connsiteX46" fmla="*/ 3009558 w 5741575"/>
              <a:gd name="connsiteY46" fmla="*/ 370573 h 955271"/>
              <a:gd name="connsiteX47" fmla="*/ 3095010 w 5741575"/>
              <a:gd name="connsiteY47" fmla="*/ 332454 h 955271"/>
              <a:gd name="connsiteX48" fmla="*/ 3148998 w 5741575"/>
              <a:gd name="connsiteY48" fmla="*/ 315286 h 955271"/>
              <a:gd name="connsiteX49" fmla="*/ 3195264 w 5741575"/>
              <a:gd name="connsiteY49" fmla="*/ 293158 h 955271"/>
              <a:gd name="connsiteX50" fmla="*/ 3373785 w 5741575"/>
              <a:gd name="connsiteY50" fmla="*/ 255680 h 955271"/>
              <a:gd name="connsiteX51" fmla="*/ 3493851 w 5741575"/>
              <a:gd name="connsiteY51" fmla="*/ 240255 h 955271"/>
              <a:gd name="connsiteX52" fmla="*/ 3537470 w 5741575"/>
              <a:gd name="connsiteY52" fmla="*/ 241867 h 955271"/>
              <a:gd name="connsiteX53" fmla="*/ 3610489 w 5741575"/>
              <a:gd name="connsiteY53" fmla="*/ 244128 h 955271"/>
              <a:gd name="connsiteX54" fmla="*/ 3667539 w 5741575"/>
              <a:gd name="connsiteY54" fmla="*/ 263271 h 955271"/>
              <a:gd name="connsiteX55" fmla="*/ 3727614 w 5741575"/>
              <a:gd name="connsiteY55" fmla="*/ 258245 h 955271"/>
              <a:gd name="connsiteX56" fmla="*/ 3738369 w 5741575"/>
              <a:gd name="connsiteY56" fmla="*/ 234506 h 955271"/>
              <a:gd name="connsiteX57" fmla="*/ 3803670 w 5741575"/>
              <a:gd name="connsiteY57" fmla="*/ 236457 h 955271"/>
              <a:gd name="connsiteX58" fmla="*/ 3903080 w 5741575"/>
              <a:gd name="connsiteY58" fmla="*/ 241890 h 955271"/>
              <a:gd name="connsiteX59" fmla="*/ 4114838 w 5741575"/>
              <a:gd name="connsiteY59" fmla="*/ 238165 h 955271"/>
              <a:gd name="connsiteX60" fmla="*/ 4271023 w 5741575"/>
              <a:gd name="connsiteY60" fmla="*/ 241959 h 955271"/>
              <a:gd name="connsiteX61" fmla="*/ 4367397 w 5741575"/>
              <a:gd name="connsiteY61" fmla="*/ 271442 h 955271"/>
              <a:gd name="connsiteX62" fmla="*/ 4495366 w 5741575"/>
              <a:gd name="connsiteY62" fmla="*/ 271618 h 955271"/>
              <a:gd name="connsiteX63" fmla="*/ 4517347 w 5741575"/>
              <a:gd name="connsiteY63" fmla="*/ 275639 h 955271"/>
              <a:gd name="connsiteX64" fmla="*/ 4546116 w 5741575"/>
              <a:gd name="connsiteY64" fmla="*/ 268568 h 955271"/>
              <a:gd name="connsiteX65" fmla="*/ 4661259 w 5741575"/>
              <a:gd name="connsiteY65" fmla="*/ 238966 h 955271"/>
              <a:gd name="connsiteX66" fmla="*/ 4750403 w 5741575"/>
              <a:gd name="connsiteY66" fmla="*/ 204364 h 955271"/>
              <a:gd name="connsiteX67" fmla="*/ 4867614 w 5741575"/>
              <a:gd name="connsiteY67" fmla="*/ 208668 h 955271"/>
              <a:gd name="connsiteX68" fmla="*/ 4937036 w 5741575"/>
              <a:gd name="connsiteY68" fmla="*/ 195446 h 955271"/>
              <a:gd name="connsiteX69" fmla="*/ 5067740 w 5741575"/>
              <a:gd name="connsiteY69" fmla="*/ 172293 h 955271"/>
              <a:gd name="connsiteX70" fmla="*/ 5200247 w 5741575"/>
              <a:gd name="connsiteY70" fmla="*/ 142695 h 955271"/>
              <a:gd name="connsiteX71" fmla="*/ 5291963 w 5741575"/>
              <a:gd name="connsiteY71" fmla="*/ 139446 h 955271"/>
              <a:gd name="connsiteX72" fmla="*/ 5418472 w 5741575"/>
              <a:gd name="connsiteY72" fmla="*/ 89163 h 955271"/>
              <a:gd name="connsiteX73" fmla="*/ 5482354 w 5741575"/>
              <a:gd name="connsiteY73" fmla="*/ 69470 h 955271"/>
              <a:gd name="connsiteX74" fmla="*/ 5583280 w 5741575"/>
              <a:gd name="connsiteY74" fmla="*/ 49787 h 955271"/>
              <a:gd name="connsiteX75" fmla="*/ 5613766 w 5741575"/>
              <a:gd name="connsiteY75" fmla="*/ 41855 h 955271"/>
              <a:gd name="connsiteX76" fmla="*/ 5684952 w 5741575"/>
              <a:gd name="connsiteY76" fmla="*/ 26088 h 955271"/>
              <a:gd name="connsiteX77" fmla="*/ 5741575 w 5741575"/>
              <a:gd name="connsiteY77" fmla="*/ 0 h 955271"/>
              <a:gd name="connsiteX0" fmla="*/ 5741575 w 5741575"/>
              <a:gd name="connsiteY0" fmla="*/ 0 h 955271"/>
              <a:gd name="connsiteX1" fmla="*/ 5741575 w 5741575"/>
              <a:gd name="connsiteY1" fmla="*/ 955271 h 955271"/>
              <a:gd name="connsiteX2" fmla="*/ 0 w 5741575"/>
              <a:gd name="connsiteY2" fmla="*/ 955271 h 955271"/>
              <a:gd name="connsiteX3" fmla="*/ 8558 w 5741575"/>
              <a:gd name="connsiteY3" fmla="*/ 953971 h 955271"/>
              <a:gd name="connsiteX4" fmla="*/ 16894 w 5741575"/>
              <a:gd name="connsiteY4" fmla="*/ 953847 h 955271"/>
              <a:gd name="connsiteX5" fmla="*/ 28156 w 5741575"/>
              <a:gd name="connsiteY5" fmla="*/ 951374 h 955271"/>
              <a:gd name="connsiteX6" fmla="*/ 28293 w 5741575"/>
              <a:gd name="connsiteY6" fmla="*/ 950971 h 955271"/>
              <a:gd name="connsiteX7" fmla="*/ 59229 w 5741575"/>
              <a:gd name="connsiteY7" fmla="*/ 903950 h 955271"/>
              <a:gd name="connsiteX8" fmla="*/ 148657 w 5741575"/>
              <a:gd name="connsiteY8" fmla="*/ 898134 h 955271"/>
              <a:gd name="connsiteX9" fmla="*/ 174554 w 5741575"/>
              <a:gd name="connsiteY9" fmla="*/ 886351 h 955271"/>
              <a:gd name="connsiteX10" fmla="*/ 187633 w 5741575"/>
              <a:gd name="connsiteY10" fmla="*/ 878226 h 955271"/>
              <a:gd name="connsiteX11" fmla="*/ 187961 w 5741575"/>
              <a:gd name="connsiteY11" fmla="*/ 876538 h 955271"/>
              <a:gd name="connsiteX12" fmla="*/ 240501 w 5741575"/>
              <a:gd name="connsiteY12" fmla="*/ 873150 h 955271"/>
              <a:gd name="connsiteX13" fmla="*/ 246345 w 5741575"/>
              <a:gd name="connsiteY13" fmla="*/ 869942 h 955271"/>
              <a:gd name="connsiteX14" fmla="*/ 306299 w 5741575"/>
              <a:gd name="connsiteY14" fmla="*/ 873609 h 955271"/>
              <a:gd name="connsiteX15" fmla="*/ 331571 w 5741575"/>
              <a:gd name="connsiteY15" fmla="*/ 869866 h 955271"/>
              <a:gd name="connsiteX16" fmla="*/ 384157 w 5741575"/>
              <a:gd name="connsiteY16" fmla="*/ 867971 h 955271"/>
              <a:gd name="connsiteX17" fmla="*/ 477637 w 5741575"/>
              <a:gd name="connsiteY17" fmla="*/ 870334 h 955271"/>
              <a:gd name="connsiteX18" fmla="*/ 570239 w 5741575"/>
              <a:gd name="connsiteY18" fmla="*/ 829596 h 955271"/>
              <a:gd name="connsiteX19" fmla="*/ 772070 w 5741575"/>
              <a:gd name="connsiteY19" fmla="*/ 820296 h 955271"/>
              <a:gd name="connsiteX20" fmla="*/ 948872 w 5741575"/>
              <a:gd name="connsiteY20" fmla="*/ 772201 h 955271"/>
              <a:gd name="connsiteX21" fmla="*/ 1127089 w 5741575"/>
              <a:gd name="connsiteY21" fmla="*/ 746926 h 955271"/>
              <a:gd name="connsiteX22" fmla="*/ 1226314 w 5741575"/>
              <a:gd name="connsiteY22" fmla="*/ 722473 h 955271"/>
              <a:gd name="connsiteX23" fmla="*/ 1278773 w 5741575"/>
              <a:gd name="connsiteY23" fmla="*/ 711503 h 955271"/>
              <a:gd name="connsiteX24" fmla="*/ 1317691 w 5741575"/>
              <a:gd name="connsiteY24" fmla="*/ 708529 h 955271"/>
              <a:gd name="connsiteX25" fmla="*/ 1360404 w 5741575"/>
              <a:gd name="connsiteY25" fmla="*/ 675922 h 955271"/>
              <a:gd name="connsiteX26" fmla="*/ 1412292 w 5741575"/>
              <a:gd name="connsiteY26" fmla="*/ 670793 h 955271"/>
              <a:gd name="connsiteX27" fmla="*/ 1494753 w 5741575"/>
              <a:gd name="connsiteY27" fmla="*/ 644686 h 955271"/>
              <a:gd name="connsiteX28" fmla="*/ 1616217 w 5741575"/>
              <a:gd name="connsiteY28" fmla="*/ 622107 h 955271"/>
              <a:gd name="connsiteX29" fmla="*/ 1710928 w 5741575"/>
              <a:gd name="connsiteY29" fmla="*/ 600666 h 955271"/>
              <a:gd name="connsiteX30" fmla="*/ 1743718 w 5741575"/>
              <a:gd name="connsiteY30" fmla="*/ 584327 h 955271"/>
              <a:gd name="connsiteX31" fmla="*/ 1873778 w 5741575"/>
              <a:gd name="connsiteY31" fmla="*/ 530130 h 955271"/>
              <a:gd name="connsiteX32" fmla="*/ 1988411 w 5741575"/>
              <a:gd name="connsiteY32" fmla="*/ 491599 h 955271"/>
              <a:gd name="connsiteX33" fmla="*/ 2085507 w 5741575"/>
              <a:gd name="connsiteY33" fmla="*/ 498527 h 955271"/>
              <a:gd name="connsiteX34" fmla="*/ 2090767 w 5741575"/>
              <a:gd name="connsiteY34" fmla="*/ 490616 h 955271"/>
              <a:gd name="connsiteX35" fmla="*/ 2151143 w 5741575"/>
              <a:gd name="connsiteY35" fmla="*/ 478332 h 955271"/>
              <a:gd name="connsiteX36" fmla="*/ 2378710 w 5741575"/>
              <a:gd name="connsiteY36" fmla="*/ 477570 h 955271"/>
              <a:gd name="connsiteX37" fmla="*/ 2496256 w 5741575"/>
              <a:gd name="connsiteY37" fmla="*/ 452396 h 955271"/>
              <a:gd name="connsiteX38" fmla="*/ 2535387 w 5741575"/>
              <a:gd name="connsiteY38" fmla="*/ 436645 h 955271"/>
              <a:gd name="connsiteX39" fmla="*/ 2601109 w 5741575"/>
              <a:gd name="connsiteY39" fmla="*/ 410678 h 955271"/>
              <a:gd name="connsiteX40" fmla="*/ 2643855 w 5741575"/>
              <a:gd name="connsiteY40" fmla="*/ 374482 h 955271"/>
              <a:gd name="connsiteX41" fmla="*/ 2657726 w 5741575"/>
              <a:gd name="connsiteY41" fmla="*/ 365841 h 955271"/>
              <a:gd name="connsiteX42" fmla="*/ 2717296 w 5741575"/>
              <a:gd name="connsiteY42" fmla="*/ 362282 h 955271"/>
              <a:gd name="connsiteX43" fmla="*/ 2777227 w 5741575"/>
              <a:gd name="connsiteY43" fmla="*/ 368972 h 955271"/>
              <a:gd name="connsiteX44" fmla="*/ 2824768 w 5741575"/>
              <a:gd name="connsiteY44" fmla="*/ 361652 h 955271"/>
              <a:gd name="connsiteX45" fmla="*/ 2885545 w 5741575"/>
              <a:gd name="connsiteY45" fmla="*/ 372818 h 955271"/>
              <a:gd name="connsiteX46" fmla="*/ 3009558 w 5741575"/>
              <a:gd name="connsiteY46" fmla="*/ 370573 h 955271"/>
              <a:gd name="connsiteX47" fmla="*/ 3095010 w 5741575"/>
              <a:gd name="connsiteY47" fmla="*/ 332454 h 955271"/>
              <a:gd name="connsiteX48" fmla="*/ 3148998 w 5741575"/>
              <a:gd name="connsiteY48" fmla="*/ 315286 h 955271"/>
              <a:gd name="connsiteX49" fmla="*/ 3195264 w 5741575"/>
              <a:gd name="connsiteY49" fmla="*/ 293158 h 955271"/>
              <a:gd name="connsiteX50" fmla="*/ 3373785 w 5741575"/>
              <a:gd name="connsiteY50" fmla="*/ 255680 h 955271"/>
              <a:gd name="connsiteX51" fmla="*/ 3493851 w 5741575"/>
              <a:gd name="connsiteY51" fmla="*/ 240255 h 955271"/>
              <a:gd name="connsiteX52" fmla="*/ 3537470 w 5741575"/>
              <a:gd name="connsiteY52" fmla="*/ 241867 h 955271"/>
              <a:gd name="connsiteX53" fmla="*/ 3610489 w 5741575"/>
              <a:gd name="connsiteY53" fmla="*/ 244128 h 955271"/>
              <a:gd name="connsiteX54" fmla="*/ 3667539 w 5741575"/>
              <a:gd name="connsiteY54" fmla="*/ 263271 h 955271"/>
              <a:gd name="connsiteX55" fmla="*/ 3727614 w 5741575"/>
              <a:gd name="connsiteY55" fmla="*/ 258245 h 955271"/>
              <a:gd name="connsiteX56" fmla="*/ 3738369 w 5741575"/>
              <a:gd name="connsiteY56" fmla="*/ 234506 h 955271"/>
              <a:gd name="connsiteX57" fmla="*/ 3803670 w 5741575"/>
              <a:gd name="connsiteY57" fmla="*/ 236457 h 955271"/>
              <a:gd name="connsiteX58" fmla="*/ 3903080 w 5741575"/>
              <a:gd name="connsiteY58" fmla="*/ 241890 h 955271"/>
              <a:gd name="connsiteX59" fmla="*/ 4114838 w 5741575"/>
              <a:gd name="connsiteY59" fmla="*/ 238165 h 955271"/>
              <a:gd name="connsiteX60" fmla="*/ 4271023 w 5741575"/>
              <a:gd name="connsiteY60" fmla="*/ 241959 h 955271"/>
              <a:gd name="connsiteX61" fmla="*/ 4367397 w 5741575"/>
              <a:gd name="connsiteY61" fmla="*/ 271442 h 955271"/>
              <a:gd name="connsiteX62" fmla="*/ 4495366 w 5741575"/>
              <a:gd name="connsiteY62" fmla="*/ 271618 h 955271"/>
              <a:gd name="connsiteX63" fmla="*/ 4517347 w 5741575"/>
              <a:gd name="connsiteY63" fmla="*/ 275639 h 955271"/>
              <a:gd name="connsiteX64" fmla="*/ 4546116 w 5741575"/>
              <a:gd name="connsiteY64" fmla="*/ 268568 h 955271"/>
              <a:gd name="connsiteX65" fmla="*/ 4661259 w 5741575"/>
              <a:gd name="connsiteY65" fmla="*/ 238966 h 955271"/>
              <a:gd name="connsiteX66" fmla="*/ 4750403 w 5741575"/>
              <a:gd name="connsiteY66" fmla="*/ 204364 h 955271"/>
              <a:gd name="connsiteX67" fmla="*/ 4867614 w 5741575"/>
              <a:gd name="connsiteY67" fmla="*/ 208668 h 955271"/>
              <a:gd name="connsiteX68" fmla="*/ 4937036 w 5741575"/>
              <a:gd name="connsiteY68" fmla="*/ 195446 h 955271"/>
              <a:gd name="connsiteX69" fmla="*/ 5067740 w 5741575"/>
              <a:gd name="connsiteY69" fmla="*/ 172293 h 955271"/>
              <a:gd name="connsiteX70" fmla="*/ 5200247 w 5741575"/>
              <a:gd name="connsiteY70" fmla="*/ 142695 h 955271"/>
              <a:gd name="connsiteX71" fmla="*/ 5291963 w 5741575"/>
              <a:gd name="connsiteY71" fmla="*/ 139446 h 955271"/>
              <a:gd name="connsiteX72" fmla="*/ 5418472 w 5741575"/>
              <a:gd name="connsiteY72" fmla="*/ 89163 h 955271"/>
              <a:gd name="connsiteX73" fmla="*/ 5482354 w 5741575"/>
              <a:gd name="connsiteY73" fmla="*/ 69470 h 955271"/>
              <a:gd name="connsiteX74" fmla="*/ 5583280 w 5741575"/>
              <a:gd name="connsiteY74" fmla="*/ 49787 h 955271"/>
              <a:gd name="connsiteX75" fmla="*/ 5613766 w 5741575"/>
              <a:gd name="connsiteY75" fmla="*/ 41855 h 955271"/>
              <a:gd name="connsiteX76" fmla="*/ 5684952 w 5741575"/>
              <a:gd name="connsiteY76" fmla="*/ 26088 h 955271"/>
              <a:gd name="connsiteX77" fmla="*/ 5741575 w 5741575"/>
              <a:gd name="connsiteY77" fmla="*/ 0 h 955271"/>
              <a:gd name="connsiteX0" fmla="*/ 5741575 w 5741575"/>
              <a:gd name="connsiteY0" fmla="*/ 0 h 955271"/>
              <a:gd name="connsiteX1" fmla="*/ 5741575 w 5741575"/>
              <a:gd name="connsiteY1" fmla="*/ 955271 h 955271"/>
              <a:gd name="connsiteX2" fmla="*/ 0 w 5741575"/>
              <a:gd name="connsiteY2" fmla="*/ 955271 h 955271"/>
              <a:gd name="connsiteX3" fmla="*/ 8558 w 5741575"/>
              <a:gd name="connsiteY3" fmla="*/ 953971 h 955271"/>
              <a:gd name="connsiteX4" fmla="*/ 16894 w 5741575"/>
              <a:gd name="connsiteY4" fmla="*/ 953847 h 955271"/>
              <a:gd name="connsiteX5" fmla="*/ 28156 w 5741575"/>
              <a:gd name="connsiteY5" fmla="*/ 951374 h 955271"/>
              <a:gd name="connsiteX6" fmla="*/ 28293 w 5741575"/>
              <a:gd name="connsiteY6" fmla="*/ 950971 h 955271"/>
              <a:gd name="connsiteX7" fmla="*/ 59229 w 5741575"/>
              <a:gd name="connsiteY7" fmla="*/ 903950 h 955271"/>
              <a:gd name="connsiteX8" fmla="*/ 148657 w 5741575"/>
              <a:gd name="connsiteY8" fmla="*/ 898134 h 955271"/>
              <a:gd name="connsiteX9" fmla="*/ 174554 w 5741575"/>
              <a:gd name="connsiteY9" fmla="*/ 886351 h 955271"/>
              <a:gd name="connsiteX10" fmla="*/ 187633 w 5741575"/>
              <a:gd name="connsiteY10" fmla="*/ 878226 h 955271"/>
              <a:gd name="connsiteX11" fmla="*/ 187961 w 5741575"/>
              <a:gd name="connsiteY11" fmla="*/ 876538 h 955271"/>
              <a:gd name="connsiteX12" fmla="*/ 240501 w 5741575"/>
              <a:gd name="connsiteY12" fmla="*/ 873150 h 955271"/>
              <a:gd name="connsiteX13" fmla="*/ 246345 w 5741575"/>
              <a:gd name="connsiteY13" fmla="*/ 869942 h 955271"/>
              <a:gd name="connsiteX14" fmla="*/ 306299 w 5741575"/>
              <a:gd name="connsiteY14" fmla="*/ 873609 h 955271"/>
              <a:gd name="connsiteX15" fmla="*/ 331571 w 5741575"/>
              <a:gd name="connsiteY15" fmla="*/ 869866 h 955271"/>
              <a:gd name="connsiteX16" fmla="*/ 384157 w 5741575"/>
              <a:gd name="connsiteY16" fmla="*/ 867971 h 955271"/>
              <a:gd name="connsiteX17" fmla="*/ 477637 w 5741575"/>
              <a:gd name="connsiteY17" fmla="*/ 870334 h 955271"/>
              <a:gd name="connsiteX18" fmla="*/ 570239 w 5741575"/>
              <a:gd name="connsiteY18" fmla="*/ 829596 h 955271"/>
              <a:gd name="connsiteX19" fmla="*/ 772070 w 5741575"/>
              <a:gd name="connsiteY19" fmla="*/ 820296 h 955271"/>
              <a:gd name="connsiteX20" fmla="*/ 948872 w 5741575"/>
              <a:gd name="connsiteY20" fmla="*/ 772201 h 955271"/>
              <a:gd name="connsiteX21" fmla="*/ 1127089 w 5741575"/>
              <a:gd name="connsiteY21" fmla="*/ 746926 h 955271"/>
              <a:gd name="connsiteX22" fmla="*/ 1226314 w 5741575"/>
              <a:gd name="connsiteY22" fmla="*/ 722473 h 955271"/>
              <a:gd name="connsiteX23" fmla="*/ 1278773 w 5741575"/>
              <a:gd name="connsiteY23" fmla="*/ 711503 h 955271"/>
              <a:gd name="connsiteX24" fmla="*/ 1317691 w 5741575"/>
              <a:gd name="connsiteY24" fmla="*/ 708529 h 955271"/>
              <a:gd name="connsiteX25" fmla="*/ 1360404 w 5741575"/>
              <a:gd name="connsiteY25" fmla="*/ 675922 h 955271"/>
              <a:gd name="connsiteX26" fmla="*/ 1412292 w 5741575"/>
              <a:gd name="connsiteY26" fmla="*/ 670793 h 955271"/>
              <a:gd name="connsiteX27" fmla="*/ 1494753 w 5741575"/>
              <a:gd name="connsiteY27" fmla="*/ 644686 h 955271"/>
              <a:gd name="connsiteX28" fmla="*/ 1616217 w 5741575"/>
              <a:gd name="connsiteY28" fmla="*/ 622107 h 955271"/>
              <a:gd name="connsiteX29" fmla="*/ 1710928 w 5741575"/>
              <a:gd name="connsiteY29" fmla="*/ 600666 h 955271"/>
              <a:gd name="connsiteX30" fmla="*/ 1743718 w 5741575"/>
              <a:gd name="connsiteY30" fmla="*/ 584327 h 955271"/>
              <a:gd name="connsiteX31" fmla="*/ 1873778 w 5741575"/>
              <a:gd name="connsiteY31" fmla="*/ 530130 h 955271"/>
              <a:gd name="connsiteX32" fmla="*/ 1988411 w 5741575"/>
              <a:gd name="connsiteY32" fmla="*/ 491599 h 955271"/>
              <a:gd name="connsiteX33" fmla="*/ 2085507 w 5741575"/>
              <a:gd name="connsiteY33" fmla="*/ 498527 h 955271"/>
              <a:gd name="connsiteX34" fmla="*/ 2090767 w 5741575"/>
              <a:gd name="connsiteY34" fmla="*/ 490616 h 955271"/>
              <a:gd name="connsiteX35" fmla="*/ 2151143 w 5741575"/>
              <a:gd name="connsiteY35" fmla="*/ 478332 h 955271"/>
              <a:gd name="connsiteX36" fmla="*/ 2378710 w 5741575"/>
              <a:gd name="connsiteY36" fmla="*/ 477570 h 955271"/>
              <a:gd name="connsiteX37" fmla="*/ 2496256 w 5741575"/>
              <a:gd name="connsiteY37" fmla="*/ 452396 h 955271"/>
              <a:gd name="connsiteX38" fmla="*/ 2535387 w 5741575"/>
              <a:gd name="connsiteY38" fmla="*/ 436645 h 955271"/>
              <a:gd name="connsiteX39" fmla="*/ 2601109 w 5741575"/>
              <a:gd name="connsiteY39" fmla="*/ 410678 h 955271"/>
              <a:gd name="connsiteX40" fmla="*/ 2643855 w 5741575"/>
              <a:gd name="connsiteY40" fmla="*/ 374482 h 955271"/>
              <a:gd name="connsiteX41" fmla="*/ 2657726 w 5741575"/>
              <a:gd name="connsiteY41" fmla="*/ 365841 h 955271"/>
              <a:gd name="connsiteX42" fmla="*/ 2717296 w 5741575"/>
              <a:gd name="connsiteY42" fmla="*/ 362282 h 955271"/>
              <a:gd name="connsiteX43" fmla="*/ 2777227 w 5741575"/>
              <a:gd name="connsiteY43" fmla="*/ 368972 h 955271"/>
              <a:gd name="connsiteX44" fmla="*/ 2824768 w 5741575"/>
              <a:gd name="connsiteY44" fmla="*/ 361652 h 955271"/>
              <a:gd name="connsiteX45" fmla="*/ 2885545 w 5741575"/>
              <a:gd name="connsiteY45" fmla="*/ 372818 h 955271"/>
              <a:gd name="connsiteX46" fmla="*/ 3009558 w 5741575"/>
              <a:gd name="connsiteY46" fmla="*/ 370573 h 955271"/>
              <a:gd name="connsiteX47" fmla="*/ 3095010 w 5741575"/>
              <a:gd name="connsiteY47" fmla="*/ 332454 h 955271"/>
              <a:gd name="connsiteX48" fmla="*/ 3148998 w 5741575"/>
              <a:gd name="connsiteY48" fmla="*/ 315286 h 955271"/>
              <a:gd name="connsiteX49" fmla="*/ 3195264 w 5741575"/>
              <a:gd name="connsiteY49" fmla="*/ 293158 h 955271"/>
              <a:gd name="connsiteX50" fmla="*/ 3373785 w 5741575"/>
              <a:gd name="connsiteY50" fmla="*/ 255680 h 955271"/>
              <a:gd name="connsiteX51" fmla="*/ 3493851 w 5741575"/>
              <a:gd name="connsiteY51" fmla="*/ 240255 h 955271"/>
              <a:gd name="connsiteX52" fmla="*/ 3537470 w 5741575"/>
              <a:gd name="connsiteY52" fmla="*/ 241867 h 955271"/>
              <a:gd name="connsiteX53" fmla="*/ 3610489 w 5741575"/>
              <a:gd name="connsiteY53" fmla="*/ 244128 h 955271"/>
              <a:gd name="connsiteX54" fmla="*/ 3667539 w 5741575"/>
              <a:gd name="connsiteY54" fmla="*/ 263271 h 955271"/>
              <a:gd name="connsiteX55" fmla="*/ 3727614 w 5741575"/>
              <a:gd name="connsiteY55" fmla="*/ 258245 h 955271"/>
              <a:gd name="connsiteX56" fmla="*/ 3738369 w 5741575"/>
              <a:gd name="connsiteY56" fmla="*/ 234506 h 955271"/>
              <a:gd name="connsiteX57" fmla="*/ 3803670 w 5741575"/>
              <a:gd name="connsiteY57" fmla="*/ 236457 h 955271"/>
              <a:gd name="connsiteX58" fmla="*/ 3903080 w 5741575"/>
              <a:gd name="connsiteY58" fmla="*/ 241890 h 955271"/>
              <a:gd name="connsiteX59" fmla="*/ 4114838 w 5741575"/>
              <a:gd name="connsiteY59" fmla="*/ 238165 h 955271"/>
              <a:gd name="connsiteX60" fmla="*/ 4271023 w 5741575"/>
              <a:gd name="connsiteY60" fmla="*/ 241959 h 955271"/>
              <a:gd name="connsiteX61" fmla="*/ 4367397 w 5741575"/>
              <a:gd name="connsiteY61" fmla="*/ 271442 h 955271"/>
              <a:gd name="connsiteX62" fmla="*/ 4495366 w 5741575"/>
              <a:gd name="connsiteY62" fmla="*/ 271618 h 955271"/>
              <a:gd name="connsiteX63" fmla="*/ 4517347 w 5741575"/>
              <a:gd name="connsiteY63" fmla="*/ 275639 h 955271"/>
              <a:gd name="connsiteX64" fmla="*/ 4546116 w 5741575"/>
              <a:gd name="connsiteY64" fmla="*/ 268568 h 955271"/>
              <a:gd name="connsiteX65" fmla="*/ 4661259 w 5741575"/>
              <a:gd name="connsiteY65" fmla="*/ 238966 h 955271"/>
              <a:gd name="connsiteX66" fmla="*/ 4750403 w 5741575"/>
              <a:gd name="connsiteY66" fmla="*/ 204364 h 955271"/>
              <a:gd name="connsiteX67" fmla="*/ 4867614 w 5741575"/>
              <a:gd name="connsiteY67" fmla="*/ 208668 h 955271"/>
              <a:gd name="connsiteX68" fmla="*/ 4937036 w 5741575"/>
              <a:gd name="connsiteY68" fmla="*/ 195446 h 955271"/>
              <a:gd name="connsiteX69" fmla="*/ 5067740 w 5741575"/>
              <a:gd name="connsiteY69" fmla="*/ 172293 h 955271"/>
              <a:gd name="connsiteX70" fmla="*/ 5200247 w 5741575"/>
              <a:gd name="connsiteY70" fmla="*/ 142695 h 955271"/>
              <a:gd name="connsiteX71" fmla="*/ 5276878 w 5741575"/>
              <a:gd name="connsiteY71" fmla="*/ 125833 h 955271"/>
              <a:gd name="connsiteX72" fmla="*/ 5418472 w 5741575"/>
              <a:gd name="connsiteY72" fmla="*/ 89163 h 955271"/>
              <a:gd name="connsiteX73" fmla="*/ 5482354 w 5741575"/>
              <a:gd name="connsiteY73" fmla="*/ 69470 h 955271"/>
              <a:gd name="connsiteX74" fmla="*/ 5583280 w 5741575"/>
              <a:gd name="connsiteY74" fmla="*/ 49787 h 955271"/>
              <a:gd name="connsiteX75" fmla="*/ 5613766 w 5741575"/>
              <a:gd name="connsiteY75" fmla="*/ 41855 h 955271"/>
              <a:gd name="connsiteX76" fmla="*/ 5684952 w 5741575"/>
              <a:gd name="connsiteY76" fmla="*/ 26088 h 955271"/>
              <a:gd name="connsiteX77" fmla="*/ 5741575 w 5741575"/>
              <a:gd name="connsiteY77" fmla="*/ 0 h 955271"/>
              <a:gd name="connsiteX0" fmla="*/ 5741575 w 5741575"/>
              <a:gd name="connsiteY0" fmla="*/ 0 h 955271"/>
              <a:gd name="connsiteX1" fmla="*/ 5741575 w 5741575"/>
              <a:gd name="connsiteY1" fmla="*/ 955271 h 955271"/>
              <a:gd name="connsiteX2" fmla="*/ 0 w 5741575"/>
              <a:gd name="connsiteY2" fmla="*/ 955271 h 955271"/>
              <a:gd name="connsiteX3" fmla="*/ 8558 w 5741575"/>
              <a:gd name="connsiteY3" fmla="*/ 953971 h 955271"/>
              <a:gd name="connsiteX4" fmla="*/ 16894 w 5741575"/>
              <a:gd name="connsiteY4" fmla="*/ 953847 h 955271"/>
              <a:gd name="connsiteX5" fmla="*/ 28156 w 5741575"/>
              <a:gd name="connsiteY5" fmla="*/ 951374 h 955271"/>
              <a:gd name="connsiteX6" fmla="*/ 28293 w 5741575"/>
              <a:gd name="connsiteY6" fmla="*/ 950971 h 955271"/>
              <a:gd name="connsiteX7" fmla="*/ 59229 w 5741575"/>
              <a:gd name="connsiteY7" fmla="*/ 903950 h 955271"/>
              <a:gd name="connsiteX8" fmla="*/ 148657 w 5741575"/>
              <a:gd name="connsiteY8" fmla="*/ 898134 h 955271"/>
              <a:gd name="connsiteX9" fmla="*/ 174554 w 5741575"/>
              <a:gd name="connsiteY9" fmla="*/ 886351 h 955271"/>
              <a:gd name="connsiteX10" fmla="*/ 187633 w 5741575"/>
              <a:gd name="connsiteY10" fmla="*/ 878226 h 955271"/>
              <a:gd name="connsiteX11" fmla="*/ 187961 w 5741575"/>
              <a:gd name="connsiteY11" fmla="*/ 876538 h 955271"/>
              <a:gd name="connsiteX12" fmla="*/ 240501 w 5741575"/>
              <a:gd name="connsiteY12" fmla="*/ 873150 h 955271"/>
              <a:gd name="connsiteX13" fmla="*/ 246345 w 5741575"/>
              <a:gd name="connsiteY13" fmla="*/ 869942 h 955271"/>
              <a:gd name="connsiteX14" fmla="*/ 306299 w 5741575"/>
              <a:gd name="connsiteY14" fmla="*/ 873609 h 955271"/>
              <a:gd name="connsiteX15" fmla="*/ 331571 w 5741575"/>
              <a:gd name="connsiteY15" fmla="*/ 869866 h 955271"/>
              <a:gd name="connsiteX16" fmla="*/ 384157 w 5741575"/>
              <a:gd name="connsiteY16" fmla="*/ 867971 h 955271"/>
              <a:gd name="connsiteX17" fmla="*/ 477637 w 5741575"/>
              <a:gd name="connsiteY17" fmla="*/ 870334 h 955271"/>
              <a:gd name="connsiteX18" fmla="*/ 570239 w 5741575"/>
              <a:gd name="connsiteY18" fmla="*/ 829596 h 955271"/>
              <a:gd name="connsiteX19" fmla="*/ 772070 w 5741575"/>
              <a:gd name="connsiteY19" fmla="*/ 820296 h 955271"/>
              <a:gd name="connsiteX20" fmla="*/ 948872 w 5741575"/>
              <a:gd name="connsiteY20" fmla="*/ 772201 h 955271"/>
              <a:gd name="connsiteX21" fmla="*/ 1127089 w 5741575"/>
              <a:gd name="connsiteY21" fmla="*/ 746926 h 955271"/>
              <a:gd name="connsiteX22" fmla="*/ 1226314 w 5741575"/>
              <a:gd name="connsiteY22" fmla="*/ 722473 h 955271"/>
              <a:gd name="connsiteX23" fmla="*/ 1278773 w 5741575"/>
              <a:gd name="connsiteY23" fmla="*/ 711503 h 955271"/>
              <a:gd name="connsiteX24" fmla="*/ 1317691 w 5741575"/>
              <a:gd name="connsiteY24" fmla="*/ 708529 h 955271"/>
              <a:gd name="connsiteX25" fmla="*/ 1360404 w 5741575"/>
              <a:gd name="connsiteY25" fmla="*/ 675922 h 955271"/>
              <a:gd name="connsiteX26" fmla="*/ 1412292 w 5741575"/>
              <a:gd name="connsiteY26" fmla="*/ 670793 h 955271"/>
              <a:gd name="connsiteX27" fmla="*/ 1494753 w 5741575"/>
              <a:gd name="connsiteY27" fmla="*/ 644686 h 955271"/>
              <a:gd name="connsiteX28" fmla="*/ 1616217 w 5741575"/>
              <a:gd name="connsiteY28" fmla="*/ 622107 h 955271"/>
              <a:gd name="connsiteX29" fmla="*/ 1710928 w 5741575"/>
              <a:gd name="connsiteY29" fmla="*/ 600666 h 955271"/>
              <a:gd name="connsiteX30" fmla="*/ 1743718 w 5741575"/>
              <a:gd name="connsiteY30" fmla="*/ 584327 h 955271"/>
              <a:gd name="connsiteX31" fmla="*/ 1873778 w 5741575"/>
              <a:gd name="connsiteY31" fmla="*/ 530130 h 955271"/>
              <a:gd name="connsiteX32" fmla="*/ 1988411 w 5741575"/>
              <a:gd name="connsiteY32" fmla="*/ 491599 h 955271"/>
              <a:gd name="connsiteX33" fmla="*/ 2085507 w 5741575"/>
              <a:gd name="connsiteY33" fmla="*/ 498527 h 955271"/>
              <a:gd name="connsiteX34" fmla="*/ 2090767 w 5741575"/>
              <a:gd name="connsiteY34" fmla="*/ 490616 h 955271"/>
              <a:gd name="connsiteX35" fmla="*/ 2151143 w 5741575"/>
              <a:gd name="connsiteY35" fmla="*/ 478332 h 955271"/>
              <a:gd name="connsiteX36" fmla="*/ 2378710 w 5741575"/>
              <a:gd name="connsiteY36" fmla="*/ 477570 h 955271"/>
              <a:gd name="connsiteX37" fmla="*/ 2496256 w 5741575"/>
              <a:gd name="connsiteY37" fmla="*/ 452396 h 955271"/>
              <a:gd name="connsiteX38" fmla="*/ 2535387 w 5741575"/>
              <a:gd name="connsiteY38" fmla="*/ 436645 h 955271"/>
              <a:gd name="connsiteX39" fmla="*/ 2601109 w 5741575"/>
              <a:gd name="connsiteY39" fmla="*/ 410678 h 955271"/>
              <a:gd name="connsiteX40" fmla="*/ 2643855 w 5741575"/>
              <a:gd name="connsiteY40" fmla="*/ 374482 h 955271"/>
              <a:gd name="connsiteX41" fmla="*/ 2657726 w 5741575"/>
              <a:gd name="connsiteY41" fmla="*/ 365841 h 955271"/>
              <a:gd name="connsiteX42" fmla="*/ 2717296 w 5741575"/>
              <a:gd name="connsiteY42" fmla="*/ 362282 h 955271"/>
              <a:gd name="connsiteX43" fmla="*/ 2777227 w 5741575"/>
              <a:gd name="connsiteY43" fmla="*/ 368972 h 955271"/>
              <a:gd name="connsiteX44" fmla="*/ 2824768 w 5741575"/>
              <a:gd name="connsiteY44" fmla="*/ 361652 h 955271"/>
              <a:gd name="connsiteX45" fmla="*/ 2885545 w 5741575"/>
              <a:gd name="connsiteY45" fmla="*/ 372818 h 955271"/>
              <a:gd name="connsiteX46" fmla="*/ 3009558 w 5741575"/>
              <a:gd name="connsiteY46" fmla="*/ 370573 h 955271"/>
              <a:gd name="connsiteX47" fmla="*/ 3095010 w 5741575"/>
              <a:gd name="connsiteY47" fmla="*/ 332454 h 955271"/>
              <a:gd name="connsiteX48" fmla="*/ 3148998 w 5741575"/>
              <a:gd name="connsiteY48" fmla="*/ 315286 h 955271"/>
              <a:gd name="connsiteX49" fmla="*/ 3195264 w 5741575"/>
              <a:gd name="connsiteY49" fmla="*/ 293158 h 955271"/>
              <a:gd name="connsiteX50" fmla="*/ 3373785 w 5741575"/>
              <a:gd name="connsiteY50" fmla="*/ 255680 h 955271"/>
              <a:gd name="connsiteX51" fmla="*/ 3493851 w 5741575"/>
              <a:gd name="connsiteY51" fmla="*/ 240255 h 955271"/>
              <a:gd name="connsiteX52" fmla="*/ 3537470 w 5741575"/>
              <a:gd name="connsiteY52" fmla="*/ 241867 h 955271"/>
              <a:gd name="connsiteX53" fmla="*/ 3610489 w 5741575"/>
              <a:gd name="connsiteY53" fmla="*/ 244128 h 955271"/>
              <a:gd name="connsiteX54" fmla="*/ 3667539 w 5741575"/>
              <a:gd name="connsiteY54" fmla="*/ 263271 h 955271"/>
              <a:gd name="connsiteX55" fmla="*/ 3727614 w 5741575"/>
              <a:gd name="connsiteY55" fmla="*/ 258245 h 955271"/>
              <a:gd name="connsiteX56" fmla="*/ 3738369 w 5741575"/>
              <a:gd name="connsiteY56" fmla="*/ 234506 h 955271"/>
              <a:gd name="connsiteX57" fmla="*/ 3803670 w 5741575"/>
              <a:gd name="connsiteY57" fmla="*/ 236457 h 955271"/>
              <a:gd name="connsiteX58" fmla="*/ 3903080 w 5741575"/>
              <a:gd name="connsiteY58" fmla="*/ 241890 h 955271"/>
              <a:gd name="connsiteX59" fmla="*/ 4114838 w 5741575"/>
              <a:gd name="connsiteY59" fmla="*/ 238165 h 955271"/>
              <a:gd name="connsiteX60" fmla="*/ 4271023 w 5741575"/>
              <a:gd name="connsiteY60" fmla="*/ 241959 h 955271"/>
              <a:gd name="connsiteX61" fmla="*/ 4367397 w 5741575"/>
              <a:gd name="connsiteY61" fmla="*/ 271442 h 955271"/>
              <a:gd name="connsiteX62" fmla="*/ 4495366 w 5741575"/>
              <a:gd name="connsiteY62" fmla="*/ 271618 h 955271"/>
              <a:gd name="connsiteX63" fmla="*/ 4517347 w 5741575"/>
              <a:gd name="connsiteY63" fmla="*/ 275639 h 955271"/>
              <a:gd name="connsiteX64" fmla="*/ 4546116 w 5741575"/>
              <a:gd name="connsiteY64" fmla="*/ 268568 h 955271"/>
              <a:gd name="connsiteX65" fmla="*/ 4661259 w 5741575"/>
              <a:gd name="connsiteY65" fmla="*/ 238966 h 955271"/>
              <a:gd name="connsiteX66" fmla="*/ 4750403 w 5741575"/>
              <a:gd name="connsiteY66" fmla="*/ 204364 h 955271"/>
              <a:gd name="connsiteX67" fmla="*/ 4867614 w 5741575"/>
              <a:gd name="connsiteY67" fmla="*/ 208668 h 955271"/>
              <a:gd name="connsiteX68" fmla="*/ 4937036 w 5741575"/>
              <a:gd name="connsiteY68" fmla="*/ 195446 h 955271"/>
              <a:gd name="connsiteX69" fmla="*/ 5067740 w 5741575"/>
              <a:gd name="connsiteY69" fmla="*/ 172293 h 955271"/>
              <a:gd name="connsiteX70" fmla="*/ 5200247 w 5741575"/>
              <a:gd name="connsiteY70" fmla="*/ 142695 h 955271"/>
              <a:gd name="connsiteX71" fmla="*/ 5276878 w 5741575"/>
              <a:gd name="connsiteY71" fmla="*/ 125833 h 955271"/>
              <a:gd name="connsiteX72" fmla="*/ 5418472 w 5741575"/>
              <a:gd name="connsiteY72" fmla="*/ 89163 h 955271"/>
              <a:gd name="connsiteX73" fmla="*/ 5482354 w 5741575"/>
              <a:gd name="connsiteY73" fmla="*/ 69470 h 955271"/>
              <a:gd name="connsiteX74" fmla="*/ 5583280 w 5741575"/>
              <a:gd name="connsiteY74" fmla="*/ 49787 h 955271"/>
              <a:gd name="connsiteX75" fmla="*/ 5613766 w 5741575"/>
              <a:gd name="connsiteY75" fmla="*/ 41855 h 955271"/>
              <a:gd name="connsiteX76" fmla="*/ 5684952 w 5741575"/>
              <a:gd name="connsiteY76" fmla="*/ 26088 h 955271"/>
              <a:gd name="connsiteX77" fmla="*/ 5741575 w 5741575"/>
              <a:gd name="connsiteY77" fmla="*/ 0 h 955271"/>
              <a:gd name="connsiteX0" fmla="*/ 5741575 w 5741575"/>
              <a:gd name="connsiteY0" fmla="*/ 0 h 955271"/>
              <a:gd name="connsiteX1" fmla="*/ 5741575 w 5741575"/>
              <a:gd name="connsiteY1" fmla="*/ 955271 h 955271"/>
              <a:gd name="connsiteX2" fmla="*/ 0 w 5741575"/>
              <a:gd name="connsiteY2" fmla="*/ 955271 h 955271"/>
              <a:gd name="connsiteX3" fmla="*/ 8558 w 5741575"/>
              <a:gd name="connsiteY3" fmla="*/ 953971 h 955271"/>
              <a:gd name="connsiteX4" fmla="*/ 16894 w 5741575"/>
              <a:gd name="connsiteY4" fmla="*/ 953847 h 955271"/>
              <a:gd name="connsiteX5" fmla="*/ 28156 w 5741575"/>
              <a:gd name="connsiteY5" fmla="*/ 951374 h 955271"/>
              <a:gd name="connsiteX6" fmla="*/ 28293 w 5741575"/>
              <a:gd name="connsiteY6" fmla="*/ 950971 h 955271"/>
              <a:gd name="connsiteX7" fmla="*/ 59229 w 5741575"/>
              <a:gd name="connsiteY7" fmla="*/ 903950 h 955271"/>
              <a:gd name="connsiteX8" fmla="*/ 148657 w 5741575"/>
              <a:gd name="connsiteY8" fmla="*/ 898134 h 955271"/>
              <a:gd name="connsiteX9" fmla="*/ 174554 w 5741575"/>
              <a:gd name="connsiteY9" fmla="*/ 886351 h 955271"/>
              <a:gd name="connsiteX10" fmla="*/ 187633 w 5741575"/>
              <a:gd name="connsiteY10" fmla="*/ 878226 h 955271"/>
              <a:gd name="connsiteX11" fmla="*/ 187961 w 5741575"/>
              <a:gd name="connsiteY11" fmla="*/ 876538 h 955271"/>
              <a:gd name="connsiteX12" fmla="*/ 240501 w 5741575"/>
              <a:gd name="connsiteY12" fmla="*/ 873150 h 955271"/>
              <a:gd name="connsiteX13" fmla="*/ 246345 w 5741575"/>
              <a:gd name="connsiteY13" fmla="*/ 869942 h 955271"/>
              <a:gd name="connsiteX14" fmla="*/ 306299 w 5741575"/>
              <a:gd name="connsiteY14" fmla="*/ 873609 h 955271"/>
              <a:gd name="connsiteX15" fmla="*/ 331571 w 5741575"/>
              <a:gd name="connsiteY15" fmla="*/ 869866 h 955271"/>
              <a:gd name="connsiteX16" fmla="*/ 384157 w 5741575"/>
              <a:gd name="connsiteY16" fmla="*/ 867971 h 955271"/>
              <a:gd name="connsiteX17" fmla="*/ 477637 w 5741575"/>
              <a:gd name="connsiteY17" fmla="*/ 870334 h 955271"/>
              <a:gd name="connsiteX18" fmla="*/ 570239 w 5741575"/>
              <a:gd name="connsiteY18" fmla="*/ 829596 h 955271"/>
              <a:gd name="connsiteX19" fmla="*/ 772070 w 5741575"/>
              <a:gd name="connsiteY19" fmla="*/ 820296 h 955271"/>
              <a:gd name="connsiteX20" fmla="*/ 948872 w 5741575"/>
              <a:gd name="connsiteY20" fmla="*/ 772201 h 955271"/>
              <a:gd name="connsiteX21" fmla="*/ 1127089 w 5741575"/>
              <a:gd name="connsiteY21" fmla="*/ 746926 h 955271"/>
              <a:gd name="connsiteX22" fmla="*/ 1226314 w 5741575"/>
              <a:gd name="connsiteY22" fmla="*/ 722473 h 955271"/>
              <a:gd name="connsiteX23" fmla="*/ 1278773 w 5741575"/>
              <a:gd name="connsiteY23" fmla="*/ 711503 h 955271"/>
              <a:gd name="connsiteX24" fmla="*/ 1317691 w 5741575"/>
              <a:gd name="connsiteY24" fmla="*/ 708529 h 955271"/>
              <a:gd name="connsiteX25" fmla="*/ 1360404 w 5741575"/>
              <a:gd name="connsiteY25" fmla="*/ 675922 h 955271"/>
              <a:gd name="connsiteX26" fmla="*/ 1412292 w 5741575"/>
              <a:gd name="connsiteY26" fmla="*/ 670793 h 955271"/>
              <a:gd name="connsiteX27" fmla="*/ 1494753 w 5741575"/>
              <a:gd name="connsiteY27" fmla="*/ 644686 h 955271"/>
              <a:gd name="connsiteX28" fmla="*/ 1616217 w 5741575"/>
              <a:gd name="connsiteY28" fmla="*/ 622107 h 955271"/>
              <a:gd name="connsiteX29" fmla="*/ 1710928 w 5741575"/>
              <a:gd name="connsiteY29" fmla="*/ 600666 h 955271"/>
              <a:gd name="connsiteX30" fmla="*/ 1743718 w 5741575"/>
              <a:gd name="connsiteY30" fmla="*/ 584327 h 955271"/>
              <a:gd name="connsiteX31" fmla="*/ 1873778 w 5741575"/>
              <a:gd name="connsiteY31" fmla="*/ 530130 h 955271"/>
              <a:gd name="connsiteX32" fmla="*/ 1988411 w 5741575"/>
              <a:gd name="connsiteY32" fmla="*/ 491599 h 955271"/>
              <a:gd name="connsiteX33" fmla="*/ 2085507 w 5741575"/>
              <a:gd name="connsiteY33" fmla="*/ 498527 h 955271"/>
              <a:gd name="connsiteX34" fmla="*/ 2090767 w 5741575"/>
              <a:gd name="connsiteY34" fmla="*/ 490616 h 955271"/>
              <a:gd name="connsiteX35" fmla="*/ 2151143 w 5741575"/>
              <a:gd name="connsiteY35" fmla="*/ 478332 h 955271"/>
              <a:gd name="connsiteX36" fmla="*/ 2378710 w 5741575"/>
              <a:gd name="connsiteY36" fmla="*/ 477570 h 955271"/>
              <a:gd name="connsiteX37" fmla="*/ 2496256 w 5741575"/>
              <a:gd name="connsiteY37" fmla="*/ 452396 h 955271"/>
              <a:gd name="connsiteX38" fmla="*/ 2535387 w 5741575"/>
              <a:gd name="connsiteY38" fmla="*/ 436645 h 955271"/>
              <a:gd name="connsiteX39" fmla="*/ 2601109 w 5741575"/>
              <a:gd name="connsiteY39" fmla="*/ 410678 h 955271"/>
              <a:gd name="connsiteX40" fmla="*/ 2643855 w 5741575"/>
              <a:gd name="connsiteY40" fmla="*/ 374482 h 955271"/>
              <a:gd name="connsiteX41" fmla="*/ 2657726 w 5741575"/>
              <a:gd name="connsiteY41" fmla="*/ 365841 h 955271"/>
              <a:gd name="connsiteX42" fmla="*/ 2717296 w 5741575"/>
              <a:gd name="connsiteY42" fmla="*/ 362282 h 955271"/>
              <a:gd name="connsiteX43" fmla="*/ 2777227 w 5741575"/>
              <a:gd name="connsiteY43" fmla="*/ 368972 h 955271"/>
              <a:gd name="connsiteX44" fmla="*/ 2824768 w 5741575"/>
              <a:gd name="connsiteY44" fmla="*/ 361652 h 955271"/>
              <a:gd name="connsiteX45" fmla="*/ 2885545 w 5741575"/>
              <a:gd name="connsiteY45" fmla="*/ 372818 h 955271"/>
              <a:gd name="connsiteX46" fmla="*/ 3009558 w 5741575"/>
              <a:gd name="connsiteY46" fmla="*/ 370573 h 955271"/>
              <a:gd name="connsiteX47" fmla="*/ 3095010 w 5741575"/>
              <a:gd name="connsiteY47" fmla="*/ 332454 h 955271"/>
              <a:gd name="connsiteX48" fmla="*/ 3148998 w 5741575"/>
              <a:gd name="connsiteY48" fmla="*/ 315286 h 955271"/>
              <a:gd name="connsiteX49" fmla="*/ 3195264 w 5741575"/>
              <a:gd name="connsiteY49" fmla="*/ 293158 h 955271"/>
              <a:gd name="connsiteX50" fmla="*/ 3373785 w 5741575"/>
              <a:gd name="connsiteY50" fmla="*/ 255680 h 955271"/>
              <a:gd name="connsiteX51" fmla="*/ 3493851 w 5741575"/>
              <a:gd name="connsiteY51" fmla="*/ 240255 h 955271"/>
              <a:gd name="connsiteX52" fmla="*/ 3537470 w 5741575"/>
              <a:gd name="connsiteY52" fmla="*/ 241867 h 955271"/>
              <a:gd name="connsiteX53" fmla="*/ 3610489 w 5741575"/>
              <a:gd name="connsiteY53" fmla="*/ 244128 h 955271"/>
              <a:gd name="connsiteX54" fmla="*/ 3667539 w 5741575"/>
              <a:gd name="connsiteY54" fmla="*/ 263271 h 955271"/>
              <a:gd name="connsiteX55" fmla="*/ 3727614 w 5741575"/>
              <a:gd name="connsiteY55" fmla="*/ 258245 h 955271"/>
              <a:gd name="connsiteX56" fmla="*/ 3738369 w 5741575"/>
              <a:gd name="connsiteY56" fmla="*/ 234506 h 955271"/>
              <a:gd name="connsiteX57" fmla="*/ 3803670 w 5741575"/>
              <a:gd name="connsiteY57" fmla="*/ 236457 h 955271"/>
              <a:gd name="connsiteX58" fmla="*/ 3903080 w 5741575"/>
              <a:gd name="connsiteY58" fmla="*/ 241890 h 955271"/>
              <a:gd name="connsiteX59" fmla="*/ 4114838 w 5741575"/>
              <a:gd name="connsiteY59" fmla="*/ 238165 h 955271"/>
              <a:gd name="connsiteX60" fmla="*/ 4271023 w 5741575"/>
              <a:gd name="connsiteY60" fmla="*/ 241959 h 955271"/>
              <a:gd name="connsiteX61" fmla="*/ 4367397 w 5741575"/>
              <a:gd name="connsiteY61" fmla="*/ 271442 h 955271"/>
              <a:gd name="connsiteX62" fmla="*/ 4495366 w 5741575"/>
              <a:gd name="connsiteY62" fmla="*/ 271618 h 955271"/>
              <a:gd name="connsiteX63" fmla="*/ 4517347 w 5741575"/>
              <a:gd name="connsiteY63" fmla="*/ 275639 h 955271"/>
              <a:gd name="connsiteX64" fmla="*/ 4546116 w 5741575"/>
              <a:gd name="connsiteY64" fmla="*/ 268568 h 955271"/>
              <a:gd name="connsiteX65" fmla="*/ 4661259 w 5741575"/>
              <a:gd name="connsiteY65" fmla="*/ 238966 h 955271"/>
              <a:gd name="connsiteX66" fmla="*/ 4750403 w 5741575"/>
              <a:gd name="connsiteY66" fmla="*/ 204364 h 955271"/>
              <a:gd name="connsiteX67" fmla="*/ 4867614 w 5741575"/>
              <a:gd name="connsiteY67" fmla="*/ 208668 h 955271"/>
              <a:gd name="connsiteX68" fmla="*/ 4937036 w 5741575"/>
              <a:gd name="connsiteY68" fmla="*/ 195446 h 955271"/>
              <a:gd name="connsiteX69" fmla="*/ 5067740 w 5741575"/>
              <a:gd name="connsiteY69" fmla="*/ 172293 h 955271"/>
              <a:gd name="connsiteX70" fmla="*/ 5200247 w 5741575"/>
              <a:gd name="connsiteY70" fmla="*/ 142695 h 955271"/>
              <a:gd name="connsiteX71" fmla="*/ 5276878 w 5741575"/>
              <a:gd name="connsiteY71" fmla="*/ 125833 h 955271"/>
              <a:gd name="connsiteX72" fmla="*/ 5373216 w 5741575"/>
              <a:gd name="connsiteY72" fmla="*/ 102777 h 955271"/>
              <a:gd name="connsiteX73" fmla="*/ 5482354 w 5741575"/>
              <a:gd name="connsiteY73" fmla="*/ 69470 h 955271"/>
              <a:gd name="connsiteX74" fmla="*/ 5583280 w 5741575"/>
              <a:gd name="connsiteY74" fmla="*/ 49787 h 955271"/>
              <a:gd name="connsiteX75" fmla="*/ 5613766 w 5741575"/>
              <a:gd name="connsiteY75" fmla="*/ 41855 h 955271"/>
              <a:gd name="connsiteX76" fmla="*/ 5684952 w 5741575"/>
              <a:gd name="connsiteY76" fmla="*/ 26088 h 955271"/>
              <a:gd name="connsiteX77" fmla="*/ 5741575 w 5741575"/>
              <a:gd name="connsiteY77" fmla="*/ 0 h 955271"/>
              <a:gd name="connsiteX0" fmla="*/ 5741575 w 5741575"/>
              <a:gd name="connsiteY0" fmla="*/ 0 h 955271"/>
              <a:gd name="connsiteX1" fmla="*/ 5741575 w 5741575"/>
              <a:gd name="connsiteY1" fmla="*/ 955271 h 955271"/>
              <a:gd name="connsiteX2" fmla="*/ 0 w 5741575"/>
              <a:gd name="connsiteY2" fmla="*/ 955271 h 955271"/>
              <a:gd name="connsiteX3" fmla="*/ 8558 w 5741575"/>
              <a:gd name="connsiteY3" fmla="*/ 953971 h 955271"/>
              <a:gd name="connsiteX4" fmla="*/ 16894 w 5741575"/>
              <a:gd name="connsiteY4" fmla="*/ 953847 h 955271"/>
              <a:gd name="connsiteX5" fmla="*/ 28156 w 5741575"/>
              <a:gd name="connsiteY5" fmla="*/ 951374 h 955271"/>
              <a:gd name="connsiteX6" fmla="*/ 28293 w 5741575"/>
              <a:gd name="connsiteY6" fmla="*/ 950971 h 955271"/>
              <a:gd name="connsiteX7" fmla="*/ 59229 w 5741575"/>
              <a:gd name="connsiteY7" fmla="*/ 903950 h 955271"/>
              <a:gd name="connsiteX8" fmla="*/ 148657 w 5741575"/>
              <a:gd name="connsiteY8" fmla="*/ 898134 h 955271"/>
              <a:gd name="connsiteX9" fmla="*/ 174554 w 5741575"/>
              <a:gd name="connsiteY9" fmla="*/ 886351 h 955271"/>
              <a:gd name="connsiteX10" fmla="*/ 187633 w 5741575"/>
              <a:gd name="connsiteY10" fmla="*/ 878226 h 955271"/>
              <a:gd name="connsiteX11" fmla="*/ 187961 w 5741575"/>
              <a:gd name="connsiteY11" fmla="*/ 876538 h 955271"/>
              <a:gd name="connsiteX12" fmla="*/ 240501 w 5741575"/>
              <a:gd name="connsiteY12" fmla="*/ 873150 h 955271"/>
              <a:gd name="connsiteX13" fmla="*/ 246345 w 5741575"/>
              <a:gd name="connsiteY13" fmla="*/ 869942 h 955271"/>
              <a:gd name="connsiteX14" fmla="*/ 306299 w 5741575"/>
              <a:gd name="connsiteY14" fmla="*/ 873609 h 955271"/>
              <a:gd name="connsiteX15" fmla="*/ 331571 w 5741575"/>
              <a:gd name="connsiteY15" fmla="*/ 869866 h 955271"/>
              <a:gd name="connsiteX16" fmla="*/ 384157 w 5741575"/>
              <a:gd name="connsiteY16" fmla="*/ 867971 h 955271"/>
              <a:gd name="connsiteX17" fmla="*/ 477637 w 5741575"/>
              <a:gd name="connsiteY17" fmla="*/ 870334 h 955271"/>
              <a:gd name="connsiteX18" fmla="*/ 570239 w 5741575"/>
              <a:gd name="connsiteY18" fmla="*/ 829596 h 955271"/>
              <a:gd name="connsiteX19" fmla="*/ 772070 w 5741575"/>
              <a:gd name="connsiteY19" fmla="*/ 820296 h 955271"/>
              <a:gd name="connsiteX20" fmla="*/ 948872 w 5741575"/>
              <a:gd name="connsiteY20" fmla="*/ 772201 h 955271"/>
              <a:gd name="connsiteX21" fmla="*/ 1127089 w 5741575"/>
              <a:gd name="connsiteY21" fmla="*/ 746926 h 955271"/>
              <a:gd name="connsiteX22" fmla="*/ 1226314 w 5741575"/>
              <a:gd name="connsiteY22" fmla="*/ 722473 h 955271"/>
              <a:gd name="connsiteX23" fmla="*/ 1278773 w 5741575"/>
              <a:gd name="connsiteY23" fmla="*/ 711503 h 955271"/>
              <a:gd name="connsiteX24" fmla="*/ 1317691 w 5741575"/>
              <a:gd name="connsiteY24" fmla="*/ 708529 h 955271"/>
              <a:gd name="connsiteX25" fmla="*/ 1360404 w 5741575"/>
              <a:gd name="connsiteY25" fmla="*/ 675922 h 955271"/>
              <a:gd name="connsiteX26" fmla="*/ 1412292 w 5741575"/>
              <a:gd name="connsiteY26" fmla="*/ 670793 h 955271"/>
              <a:gd name="connsiteX27" fmla="*/ 1494753 w 5741575"/>
              <a:gd name="connsiteY27" fmla="*/ 644686 h 955271"/>
              <a:gd name="connsiteX28" fmla="*/ 1616217 w 5741575"/>
              <a:gd name="connsiteY28" fmla="*/ 622107 h 955271"/>
              <a:gd name="connsiteX29" fmla="*/ 1710928 w 5741575"/>
              <a:gd name="connsiteY29" fmla="*/ 600666 h 955271"/>
              <a:gd name="connsiteX30" fmla="*/ 1743718 w 5741575"/>
              <a:gd name="connsiteY30" fmla="*/ 584327 h 955271"/>
              <a:gd name="connsiteX31" fmla="*/ 1873778 w 5741575"/>
              <a:gd name="connsiteY31" fmla="*/ 530130 h 955271"/>
              <a:gd name="connsiteX32" fmla="*/ 1988411 w 5741575"/>
              <a:gd name="connsiteY32" fmla="*/ 491599 h 955271"/>
              <a:gd name="connsiteX33" fmla="*/ 2085507 w 5741575"/>
              <a:gd name="connsiteY33" fmla="*/ 498527 h 955271"/>
              <a:gd name="connsiteX34" fmla="*/ 2090767 w 5741575"/>
              <a:gd name="connsiteY34" fmla="*/ 490616 h 955271"/>
              <a:gd name="connsiteX35" fmla="*/ 2151143 w 5741575"/>
              <a:gd name="connsiteY35" fmla="*/ 478332 h 955271"/>
              <a:gd name="connsiteX36" fmla="*/ 2378710 w 5741575"/>
              <a:gd name="connsiteY36" fmla="*/ 477570 h 955271"/>
              <a:gd name="connsiteX37" fmla="*/ 2496256 w 5741575"/>
              <a:gd name="connsiteY37" fmla="*/ 452396 h 955271"/>
              <a:gd name="connsiteX38" fmla="*/ 2535387 w 5741575"/>
              <a:gd name="connsiteY38" fmla="*/ 436645 h 955271"/>
              <a:gd name="connsiteX39" fmla="*/ 2601109 w 5741575"/>
              <a:gd name="connsiteY39" fmla="*/ 410678 h 955271"/>
              <a:gd name="connsiteX40" fmla="*/ 2643855 w 5741575"/>
              <a:gd name="connsiteY40" fmla="*/ 374482 h 955271"/>
              <a:gd name="connsiteX41" fmla="*/ 2657726 w 5741575"/>
              <a:gd name="connsiteY41" fmla="*/ 365841 h 955271"/>
              <a:gd name="connsiteX42" fmla="*/ 2717296 w 5741575"/>
              <a:gd name="connsiteY42" fmla="*/ 362282 h 955271"/>
              <a:gd name="connsiteX43" fmla="*/ 2777227 w 5741575"/>
              <a:gd name="connsiteY43" fmla="*/ 368972 h 955271"/>
              <a:gd name="connsiteX44" fmla="*/ 2824768 w 5741575"/>
              <a:gd name="connsiteY44" fmla="*/ 361652 h 955271"/>
              <a:gd name="connsiteX45" fmla="*/ 2885545 w 5741575"/>
              <a:gd name="connsiteY45" fmla="*/ 372818 h 955271"/>
              <a:gd name="connsiteX46" fmla="*/ 3009558 w 5741575"/>
              <a:gd name="connsiteY46" fmla="*/ 370573 h 955271"/>
              <a:gd name="connsiteX47" fmla="*/ 3095010 w 5741575"/>
              <a:gd name="connsiteY47" fmla="*/ 332454 h 955271"/>
              <a:gd name="connsiteX48" fmla="*/ 3148998 w 5741575"/>
              <a:gd name="connsiteY48" fmla="*/ 315286 h 955271"/>
              <a:gd name="connsiteX49" fmla="*/ 3195264 w 5741575"/>
              <a:gd name="connsiteY49" fmla="*/ 293158 h 955271"/>
              <a:gd name="connsiteX50" fmla="*/ 3373785 w 5741575"/>
              <a:gd name="connsiteY50" fmla="*/ 255680 h 955271"/>
              <a:gd name="connsiteX51" fmla="*/ 3493851 w 5741575"/>
              <a:gd name="connsiteY51" fmla="*/ 240255 h 955271"/>
              <a:gd name="connsiteX52" fmla="*/ 3537470 w 5741575"/>
              <a:gd name="connsiteY52" fmla="*/ 241867 h 955271"/>
              <a:gd name="connsiteX53" fmla="*/ 3610489 w 5741575"/>
              <a:gd name="connsiteY53" fmla="*/ 244128 h 955271"/>
              <a:gd name="connsiteX54" fmla="*/ 3667539 w 5741575"/>
              <a:gd name="connsiteY54" fmla="*/ 263271 h 955271"/>
              <a:gd name="connsiteX55" fmla="*/ 3727614 w 5741575"/>
              <a:gd name="connsiteY55" fmla="*/ 258245 h 955271"/>
              <a:gd name="connsiteX56" fmla="*/ 3738369 w 5741575"/>
              <a:gd name="connsiteY56" fmla="*/ 234506 h 955271"/>
              <a:gd name="connsiteX57" fmla="*/ 3803670 w 5741575"/>
              <a:gd name="connsiteY57" fmla="*/ 236457 h 955271"/>
              <a:gd name="connsiteX58" fmla="*/ 3903080 w 5741575"/>
              <a:gd name="connsiteY58" fmla="*/ 241890 h 955271"/>
              <a:gd name="connsiteX59" fmla="*/ 4114838 w 5741575"/>
              <a:gd name="connsiteY59" fmla="*/ 238165 h 955271"/>
              <a:gd name="connsiteX60" fmla="*/ 4271023 w 5741575"/>
              <a:gd name="connsiteY60" fmla="*/ 241959 h 955271"/>
              <a:gd name="connsiteX61" fmla="*/ 4367397 w 5741575"/>
              <a:gd name="connsiteY61" fmla="*/ 271442 h 955271"/>
              <a:gd name="connsiteX62" fmla="*/ 4495366 w 5741575"/>
              <a:gd name="connsiteY62" fmla="*/ 271618 h 955271"/>
              <a:gd name="connsiteX63" fmla="*/ 4517347 w 5741575"/>
              <a:gd name="connsiteY63" fmla="*/ 275639 h 955271"/>
              <a:gd name="connsiteX64" fmla="*/ 4546116 w 5741575"/>
              <a:gd name="connsiteY64" fmla="*/ 268568 h 955271"/>
              <a:gd name="connsiteX65" fmla="*/ 4661259 w 5741575"/>
              <a:gd name="connsiteY65" fmla="*/ 238966 h 955271"/>
              <a:gd name="connsiteX66" fmla="*/ 4750403 w 5741575"/>
              <a:gd name="connsiteY66" fmla="*/ 204364 h 955271"/>
              <a:gd name="connsiteX67" fmla="*/ 4867614 w 5741575"/>
              <a:gd name="connsiteY67" fmla="*/ 208668 h 955271"/>
              <a:gd name="connsiteX68" fmla="*/ 4937036 w 5741575"/>
              <a:gd name="connsiteY68" fmla="*/ 195446 h 955271"/>
              <a:gd name="connsiteX69" fmla="*/ 5067740 w 5741575"/>
              <a:gd name="connsiteY69" fmla="*/ 172293 h 955271"/>
              <a:gd name="connsiteX70" fmla="*/ 5200247 w 5741575"/>
              <a:gd name="connsiteY70" fmla="*/ 142695 h 955271"/>
              <a:gd name="connsiteX71" fmla="*/ 5276878 w 5741575"/>
              <a:gd name="connsiteY71" fmla="*/ 125833 h 955271"/>
              <a:gd name="connsiteX72" fmla="*/ 5373216 w 5741575"/>
              <a:gd name="connsiteY72" fmla="*/ 111851 h 955271"/>
              <a:gd name="connsiteX73" fmla="*/ 5482354 w 5741575"/>
              <a:gd name="connsiteY73" fmla="*/ 69470 h 955271"/>
              <a:gd name="connsiteX74" fmla="*/ 5583280 w 5741575"/>
              <a:gd name="connsiteY74" fmla="*/ 49787 h 955271"/>
              <a:gd name="connsiteX75" fmla="*/ 5613766 w 5741575"/>
              <a:gd name="connsiteY75" fmla="*/ 41855 h 955271"/>
              <a:gd name="connsiteX76" fmla="*/ 5684952 w 5741575"/>
              <a:gd name="connsiteY76" fmla="*/ 26088 h 955271"/>
              <a:gd name="connsiteX77" fmla="*/ 5741575 w 5741575"/>
              <a:gd name="connsiteY77" fmla="*/ 0 h 955271"/>
              <a:gd name="connsiteX0" fmla="*/ 5741575 w 5741575"/>
              <a:gd name="connsiteY0" fmla="*/ 0 h 955271"/>
              <a:gd name="connsiteX1" fmla="*/ 5741575 w 5741575"/>
              <a:gd name="connsiteY1" fmla="*/ 955271 h 955271"/>
              <a:gd name="connsiteX2" fmla="*/ 0 w 5741575"/>
              <a:gd name="connsiteY2" fmla="*/ 955271 h 955271"/>
              <a:gd name="connsiteX3" fmla="*/ 8558 w 5741575"/>
              <a:gd name="connsiteY3" fmla="*/ 953971 h 955271"/>
              <a:gd name="connsiteX4" fmla="*/ 16894 w 5741575"/>
              <a:gd name="connsiteY4" fmla="*/ 953847 h 955271"/>
              <a:gd name="connsiteX5" fmla="*/ 28156 w 5741575"/>
              <a:gd name="connsiteY5" fmla="*/ 951374 h 955271"/>
              <a:gd name="connsiteX6" fmla="*/ 28293 w 5741575"/>
              <a:gd name="connsiteY6" fmla="*/ 950971 h 955271"/>
              <a:gd name="connsiteX7" fmla="*/ 59229 w 5741575"/>
              <a:gd name="connsiteY7" fmla="*/ 903950 h 955271"/>
              <a:gd name="connsiteX8" fmla="*/ 148657 w 5741575"/>
              <a:gd name="connsiteY8" fmla="*/ 898134 h 955271"/>
              <a:gd name="connsiteX9" fmla="*/ 174554 w 5741575"/>
              <a:gd name="connsiteY9" fmla="*/ 886351 h 955271"/>
              <a:gd name="connsiteX10" fmla="*/ 187633 w 5741575"/>
              <a:gd name="connsiteY10" fmla="*/ 878226 h 955271"/>
              <a:gd name="connsiteX11" fmla="*/ 187961 w 5741575"/>
              <a:gd name="connsiteY11" fmla="*/ 876538 h 955271"/>
              <a:gd name="connsiteX12" fmla="*/ 240501 w 5741575"/>
              <a:gd name="connsiteY12" fmla="*/ 873150 h 955271"/>
              <a:gd name="connsiteX13" fmla="*/ 246345 w 5741575"/>
              <a:gd name="connsiteY13" fmla="*/ 869942 h 955271"/>
              <a:gd name="connsiteX14" fmla="*/ 306299 w 5741575"/>
              <a:gd name="connsiteY14" fmla="*/ 873609 h 955271"/>
              <a:gd name="connsiteX15" fmla="*/ 331571 w 5741575"/>
              <a:gd name="connsiteY15" fmla="*/ 869866 h 955271"/>
              <a:gd name="connsiteX16" fmla="*/ 384157 w 5741575"/>
              <a:gd name="connsiteY16" fmla="*/ 867971 h 955271"/>
              <a:gd name="connsiteX17" fmla="*/ 477637 w 5741575"/>
              <a:gd name="connsiteY17" fmla="*/ 870334 h 955271"/>
              <a:gd name="connsiteX18" fmla="*/ 570239 w 5741575"/>
              <a:gd name="connsiteY18" fmla="*/ 829596 h 955271"/>
              <a:gd name="connsiteX19" fmla="*/ 772070 w 5741575"/>
              <a:gd name="connsiteY19" fmla="*/ 820296 h 955271"/>
              <a:gd name="connsiteX20" fmla="*/ 948872 w 5741575"/>
              <a:gd name="connsiteY20" fmla="*/ 772201 h 955271"/>
              <a:gd name="connsiteX21" fmla="*/ 1127089 w 5741575"/>
              <a:gd name="connsiteY21" fmla="*/ 746926 h 955271"/>
              <a:gd name="connsiteX22" fmla="*/ 1226314 w 5741575"/>
              <a:gd name="connsiteY22" fmla="*/ 722473 h 955271"/>
              <a:gd name="connsiteX23" fmla="*/ 1278773 w 5741575"/>
              <a:gd name="connsiteY23" fmla="*/ 711503 h 955271"/>
              <a:gd name="connsiteX24" fmla="*/ 1317691 w 5741575"/>
              <a:gd name="connsiteY24" fmla="*/ 708529 h 955271"/>
              <a:gd name="connsiteX25" fmla="*/ 1360404 w 5741575"/>
              <a:gd name="connsiteY25" fmla="*/ 675922 h 955271"/>
              <a:gd name="connsiteX26" fmla="*/ 1412292 w 5741575"/>
              <a:gd name="connsiteY26" fmla="*/ 670793 h 955271"/>
              <a:gd name="connsiteX27" fmla="*/ 1494753 w 5741575"/>
              <a:gd name="connsiteY27" fmla="*/ 644686 h 955271"/>
              <a:gd name="connsiteX28" fmla="*/ 1616217 w 5741575"/>
              <a:gd name="connsiteY28" fmla="*/ 622107 h 955271"/>
              <a:gd name="connsiteX29" fmla="*/ 1710928 w 5741575"/>
              <a:gd name="connsiteY29" fmla="*/ 600666 h 955271"/>
              <a:gd name="connsiteX30" fmla="*/ 1743718 w 5741575"/>
              <a:gd name="connsiteY30" fmla="*/ 584327 h 955271"/>
              <a:gd name="connsiteX31" fmla="*/ 1873778 w 5741575"/>
              <a:gd name="connsiteY31" fmla="*/ 530130 h 955271"/>
              <a:gd name="connsiteX32" fmla="*/ 1988411 w 5741575"/>
              <a:gd name="connsiteY32" fmla="*/ 491599 h 955271"/>
              <a:gd name="connsiteX33" fmla="*/ 2085507 w 5741575"/>
              <a:gd name="connsiteY33" fmla="*/ 498527 h 955271"/>
              <a:gd name="connsiteX34" fmla="*/ 2090767 w 5741575"/>
              <a:gd name="connsiteY34" fmla="*/ 490616 h 955271"/>
              <a:gd name="connsiteX35" fmla="*/ 2151143 w 5741575"/>
              <a:gd name="connsiteY35" fmla="*/ 478332 h 955271"/>
              <a:gd name="connsiteX36" fmla="*/ 2378710 w 5741575"/>
              <a:gd name="connsiteY36" fmla="*/ 477570 h 955271"/>
              <a:gd name="connsiteX37" fmla="*/ 2496256 w 5741575"/>
              <a:gd name="connsiteY37" fmla="*/ 452396 h 955271"/>
              <a:gd name="connsiteX38" fmla="*/ 2535387 w 5741575"/>
              <a:gd name="connsiteY38" fmla="*/ 436645 h 955271"/>
              <a:gd name="connsiteX39" fmla="*/ 2601109 w 5741575"/>
              <a:gd name="connsiteY39" fmla="*/ 410678 h 955271"/>
              <a:gd name="connsiteX40" fmla="*/ 2643855 w 5741575"/>
              <a:gd name="connsiteY40" fmla="*/ 374482 h 955271"/>
              <a:gd name="connsiteX41" fmla="*/ 2657726 w 5741575"/>
              <a:gd name="connsiteY41" fmla="*/ 365841 h 955271"/>
              <a:gd name="connsiteX42" fmla="*/ 2717296 w 5741575"/>
              <a:gd name="connsiteY42" fmla="*/ 362282 h 955271"/>
              <a:gd name="connsiteX43" fmla="*/ 2777227 w 5741575"/>
              <a:gd name="connsiteY43" fmla="*/ 368972 h 955271"/>
              <a:gd name="connsiteX44" fmla="*/ 2824768 w 5741575"/>
              <a:gd name="connsiteY44" fmla="*/ 361652 h 955271"/>
              <a:gd name="connsiteX45" fmla="*/ 2885545 w 5741575"/>
              <a:gd name="connsiteY45" fmla="*/ 372818 h 955271"/>
              <a:gd name="connsiteX46" fmla="*/ 3009558 w 5741575"/>
              <a:gd name="connsiteY46" fmla="*/ 370573 h 955271"/>
              <a:gd name="connsiteX47" fmla="*/ 3095010 w 5741575"/>
              <a:gd name="connsiteY47" fmla="*/ 332454 h 955271"/>
              <a:gd name="connsiteX48" fmla="*/ 3148998 w 5741575"/>
              <a:gd name="connsiteY48" fmla="*/ 315286 h 955271"/>
              <a:gd name="connsiteX49" fmla="*/ 3195264 w 5741575"/>
              <a:gd name="connsiteY49" fmla="*/ 293158 h 955271"/>
              <a:gd name="connsiteX50" fmla="*/ 3373785 w 5741575"/>
              <a:gd name="connsiteY50" fmla="*/ 255680 h 955271"/>
              <a:gd name="connsiteX51" fmla="*/ 3493851 w 5741575"/>
              <a:gd name="connsiteY51" fmla="*/ 240255 h 955271"/>
              <a:gd name="connsiteX52" fmla="*/ 3537470 w 5741575"/>
              <a:gd name="connsiteY52" fmla="*/ 241867 h 955271"/>
              <a:gd name="connsiteX53" fmla="*/ 3610489 w 5741575"/>
              <a:gd name="connsiteY53" fmla="*/ 244128 h 955271"/>
              <a:gd name="connsiteX54" fmla="*/ 3667539 w 5741575"/>
              <a:gd name="connsiteY54" fmla="*/ 263271 h 955271"/>
              <a:gd name="connsiteX55" fmla="*/ 3727614 w 5741575"/>
              <a:gd name="connsiteY55" fmla="*/ 258245 h 955271"/>
              <a:gd name="connsiteX56" fmla="*/ 3738369 w 5741575"/>
              <a:gd name="connsiteY56" fmla="*/ 234506 h 955271"/>
              <a:gd name="connsiteX57" fmla="*/ 3803670 w 5741575"/>
              <a:gd name="connsiteY57" fmla="*/ 236457 h 955271"/>
              <a:gd name="connsiteX58" fmla="*/ 3903080 w 5741575"/>
              <a:gd name="connsiteY58" fmla="*/ 241890 h 955271"/>
              <a:gd name="connsiteX59" fmla="*/ 4114838 w 5741575"/>
              <a:gd name="connsiteY59" fmla="*/ 238165 h 955271"/>
              <a:gd name="connsiteX60" fmla="*/ 4271023 w 5741575"/>
              <a:gd name="connsiteY60" fmla="*/ 241959 h 955271"/>
              <a:gd name="connsiteX61" fmla="*/ 4367397 w 5741575"/>
              <a:gd name="connsiteY61" fmla="*/ 271442 h 955271"/>
              <a:gd name="connsiteX62" fmla="*/ 4495366 w 5741575"/>
              <a:gd name="connsiteY62" fmla="*/ 271618 h 955271"/>
              <a:gd name="connsiteX63" fmla="*/ 4517347 w 5741575"/>
              <a:gd name="connsiteY63" fmla="*/ 275639 h 955271"/>
              <a:gd name="connsiteX64" fmla="*/ 4546116 w 5741575"/>
              <a:gd name="connsiteY64" fmla="*/ 268568 h 955271"/>
              <a:gd name="connsiteX65" fmla="*/ 4661259 w 5741575"/>
              <a:gd name="connsiteY65" fmla="*/ 238966 h 955271"/>
              <a:gd name="connsiteX66" fmla="*/ 4750403 w 5741575"/>
              <a:gd name="connsiteY66" fmla="*/ 204364 h 955271"/>
              <a:gd name="connsiteX67" fmla="*/ 4867614 w 5741575"/>
              <a:gd name="connsiteY67" fmla="*/ 208668 h 955271"/>
              <a:gd name="connsiteX68" fmla="*/ 4937036 w 5741575"/>
              <a:gd name="connsiteY68" fmla="*/ 195446 h 955271"/>
              <a:gd name="connsiteX69" fmla="*/ 5067740 w 5741575"/>
              <a:gd name="connsiteY69" fmla="*/ 172293 h 955271"/>
              <a:gd name="connsiteX70" fmla="*/ 5200247 w 5741575"/>
              <a:gd name="connsiteY70" fmla="*/ 142695 h 955271"/>
              <a:gd name="connsiteX71" fmla="*/ 5276878 w 5741575"/>
              <a:gd name="connsiteY71" fmla="*/ 125833 h 955271"/>
              <a:gd name="connsiteX72" fmla="*/ 5373216 w 5741575"/>
              <a:gd name="connsiteY72" fmla="*/ 111851 h 955271"/>
              <a:gd name="connsiteX73" fmla="*/ 5482354 w 5741575"/>
              <a:gd name="connsiteY73" fmla="*/ 69470 h 955271"/>
              <a:gd name="connsiteX74" fmla="*/ 5583280 w 5741575"/>
              <a:gd name="connsiteY74" fmla="*/ 49787 h 955271"/>
              <a:gd name="connsiteX75" fmla="*/ 5613766 w 5741575"/>
              <a:gd name="connsiteY75" fmla="*/ 41855 h 955271"/>
              <a:gd name="connsiteX76" fmla="*/ 5684952 w 5741575"/>
              <a:gd name="connsiteY76" fmla="*/ 26088 h 955271"/>
              <a:gd name="connsiteX77" fmla="*/ 5741575 w 5741575"/>
              <a:gd name="connsiteY77" fmla="*/ 0 h 955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5741575" h="955271">
                <a:moveTo>
                  <a:pt x="5741575" y="0"/>
                </a:moveTo>
                <a:lnTo>
                  <a:pt x="5741575" y="955271"/>
                </a:lnTo>
                <a:lnTo>
                  <a:pt x="0" y="955271"/>
                </a:lnTo>
                <a:lnTo>
                  <a:pt x="8558" y="953971"/>
                </a:lnTo>
                <a:lnTo>
                  <a:pt x="16894" y="953847"/>
                </a:lnTo>
                <a:cubicBezTo>
                  <a:pt x="22474" y="953361"/>
                  <a:pt x="25973" y="952524"/>
                  <a:pt x="28156" y="951374"/>
                </a:cubicBezTo>
                <a:cubicBezTo>
                  <a:pt x="28201" y="951240"/>
                  <a:pt x="28247" y="951105"/>
                  <a:pt x="28293" y="950971"/>
                </a:cubicBezTo>
                <a:lnTo>
                  <a:pt x="59229" y="903950"/>
                </a:lnTo>
                <a:cubicBezTo>
                  <a:pt x="79290" y="895144"/>
                  <a:pt x="126084" y="908630"/>
                  <a:pt x="148657" y="898134"/>
                </a:cubicBezTo>
                <a:cubicBezTo>
                  <a:pt x="172173" y="896348"/>
                  <a:pt x="191809" y="908449"/>
                  <a:pt x="174554" y="886351"/>
                </a:cubicBezTo>
                <a:cubicBezTo>
                  <a:pt x="182014" y="885083"/>
                  <a:pt x="185699" y="882087"/>
                  <a:pt x="187633" y="878226"/>
                </a:cubicBezTo>
                <a:cubicBezTo>
                  <a:pt x="187742" y="877663"/>
                  <a:pt x="187852" y="877101"/>
                  <a:pt x="187961" y="876538"/>
                </a:cubicBezTo>
                <a:lnTo>
                  <a:pt x="240501" y="873150"/>
                </a:lnTo>
                <a:lnTo>
                  <a:pt x="246345" y="869942"/>
                </a:lnTo>
                <a:lnTo>
                  <a:pt x="306299" y="873609"/>
                </a:lnTo>
                <a:cubicBezTo>
                  <a:pt x="312531" y="875279"/>
                  <a:pt x="320316" y="874896"/>
                  <a:pt x="331571" y="869866"/>
                </a:cubicBezTo>
                <a:lnTo>
                  <a:pt x="384157" y="867971"/>
                </a:lnTo>
                <a:lnTo>
                  <a:pt x="477637" y="870334"/>
                </a:lnTo>
                <a:cubicBezTo>
                  <a:pt x="485456" y="872042"/>
                  <a:pt x="563433" y="825458"/>
                  <a:pt x="570239" y="829596"/>
                </a:cubicBezTo>
                <a:cubicBezTo>
                  <a:pt x="641939" y="824282"/>
                  <a:pt x="685473" y="832029"/>
                  <a:pt x="772070" y="820296"/>
                </a:cubicBezTo>
                <a:cubicBezTo>
                  <a:pt x="833120" y="817018"/>
                  <a:pt x="871984" y="794388"/>
                  <a:pt x="948872" y="772201"/>
                </a:cubicBezTo>
                <a:cubicBezTo>
                  <a:pt x="1011630" y="801590"/>
                  <a:pt x="1039188" y="762914"/>
                  <a:pt x="1127089" y="746926"/>
                </a:cubicBezTo>
                <a:cubicBezTo>
                  <a:pt x="1186739" y="737882"/>
                  <a:pt x="1185110" y="732158"/>
                  <a:pt x="1226314" y="722473"/>
                </a:cubicBezTo>
                <a:cubicBezTo>
                  <a:pt x="1234331" y="718091"/>
                  <a:pt x="1271693" y="717214"/>
                  <a:pt x="1278773" y="711503"/>
                </a:cubicBezTo>
                <a:lnTo>
                  <a:pt x="1317691" y="708529"/>
                </a:lnTo>
                <a:lnTo>
                  <a:pt x="1360404" y="675922"/>
                </a:lnTo>
                <a:lnTo>
                  <a:pt x="1412292" y="670793"/>
                </a:lnTo>
                <a:lnTo>
                  <a:pt x="1494753" y="644686"/>
                </a:lnTo>
                <a:cubicBezTo>
                  <a:pt x="1542884" y="655944"/>
                  <a:pt x="1556151" y="606226"/>
                  <a:pt x="1616217" y="622107"/>
                </a:cubicBezTo>
                <a:cubicBezTo>
                  <a:pt x="1637755" y="624837"/>
                  <a:pt x="1701030" y="614257"/>
                  <a:pt x="1710928" y="600666"/>
                </a:cubicBezTo>
                <a:cubicBezTo>
                  <a:pt x="1723693" y="596072"/>
                  <a:pt x="1739861" y="597834"/>
                  <a:pt x="1743718" y="584327"/>
                </a:cubicBezTo>
                <a:cubicBezTo>
                  <a:pt x="1770860" y="572571"/>
                  <a:pt x="1832996" y="545585"/>
                  <a:pt x="1873778" y="530130"/>
                </a:cubicBezTo>
                <a:cubicBezTo>
                  <a:pt x="1902425" y="541995"/>
                  <a:pt x="1929013" y="504913"/>
                  <a:pt x="1988411" y="491599"/>
                </a:cubicBezTo>
                <a:cubicBezTo>
                  <a:pt x="2020077" y="505546"/>
                  <a:pt x="2028363" y="482381"/>
                  <a:pt x="2085507" y="498527"/>
                </a:cubicBezTo>
                <a:cubicBezTo>
                  <a:pt x="2086719" y="495769"/>
                  <a:pt x="2088490" y="493104"/>
                  <a:pt x="2090767" y="490616"/>
                </a:cubicBezTo>
                <a:cubicBezTo>
                  <a:pt x="2103992" y="476161"/>
                  <a:pt x="2131025" y="470659"/>
                  <a:pt x="2151143" y="478332"/>
                </a:cubicBezTo>
                <a:cubicBezTo>
                  <a:pt x="2240088" y="497642"/>
                  <a:pt x="2310118" y="483043"/>
                  <a:pt x="2378710" y="477570"/>
                </a:cubicBezTo>
                <a:cubicBezTo>
                  <a:pt x="2454975" y="467585"/>
                  <a:pt x="2391576" y="437831"/>
                  <a:pt x="2496256" y="452396"/>
                </a:cubicBezTo>
                <a:cubicBezTo>
                  <a:pt x="2501503" y="436899"/>
                  <a:pt x="2513119" y="433980"/>
                  <a:pt x="2535387" y="436645"/>
                </a:cubicBezTo>
                <a:cubicBezTo>
                  <a:pt x="2572084" y="430778"/>
                  <a:pt x="2557124" y="397207"/>
                  <a:pt x="2601109" y="410678"/>
                </a:cubicBezTo>
                <a:cubicBezTo>
                  <a:pt x="2588000" y="393616"/>
                  <a:pt x="2667428" y="390302"/>
                  <a:pt x="2643855" y="374482"/>
                </a:cubicBezTo>
                <a:cubicBezTo>
                  <a:pt x="2648277" y="369169"/>
                  <a:pt x="2645486" y="367874"/>
                  <a:pt x="2657726" y="365841"/>
                </a:cubicBezTo>
                <a:cubicBezTo>
                  <a:pt x="2669966" y="363808"/>
                  <a:pt x="2707566" y="363569"/>
                  <a:pt x="2717296" y="362282"/>
                </a:cubicBezTo>
                <a:lnTo>
                  <a:pt x="2777227" y="368972"/>
                </a:lnTo>
                <a:lnTo>
                  <a:pt x="2824768" y="361652"/>
                </a:lnTo>
                <a:lnTo>
                  <a:pt x="2885545" y="372818"/>
                </a:lnTo>
                <a:cubicBezTo>
                  <a:pt x="2905895" y="352581"/>
                  <a:pt x="2948591" y="377825"/>
                  <a:pt x="3009558" y="370573"/>
                </a:cubicBezTo>
                <a:cubicBezTo>
                  <a:pt x="3031640" y="347442"/>
                  <a:pt x="3050695" y="365935"/>
                  <a:pt x="3095010" y="332454"/>
                </a:cubicBezTo>
                <a:cubicBezTo>
                  <a:pt x="3097485" y="334582"/>
                  <a:pt x="3132289" y="321835"/>
                  <a:pt x="3148998" y="315286"/>
                </a:cubicBezTo>
                <a:cubicBezTo>
                  <a:pt x="3165707" y="308737"/>
                  <a:pt x="3180646" y="306766"/>
                  <a:pt x="3195264" y="293158"/>
                </a:cubicBezTo>
                <a:cubicBezTo>
                  <a:pt x="3267122" y="246372"/>
                  <a:pt x="3308286" y="273118"/>
                  <a:pt x="3373785" y="255680"/>
                </a:cubicBezTo>
                <a:cubicBezTo>
                  <a:pt x="3448540" y="239861"/>
                  <a:pt x="3405238" y="287846"/>
                  <a:pt x="3493851" y="240255"/>
                </a:cubicBezTo>
                <a:cubicBezTo>
                  <a:pt x="3506326" y="252723"/>
                  <a:pt x="3518405" y="251593"/>
                  <a:pt x="3537470" y="241867"/>
                </a:cubicBezTo>
                <a:cubicBezTo>
                  <a:pt x="3573967" y="235226"/>
                  <a:pt x="3576893" y="270855"/>
                  <a:pt x="3610489" y="244128"/>
                </a:cubicBezTo>
                <a:cubicBezTo>
                  <a:pt x="3606935" y="264036"/>
                  <a:pt x="3681284" y="241075"/>
                  <a:pt x="3667539" y="263271"/>
                </a:cubicBezTo>
                <a:cubicBezTo>
                  <a:pt x="3694251" y="276940"/>
                  <a:pt x="3701441" y="246803"/>
                  <a:pt x="3727614" y="258245"/>
                </a:cubicBezTo>
                <a:cubicBezTo>
                  <a:pt x="3754952" y="257751"/>
                  <a:pt x="3708960" y="240314"/>
                  <a:pt x="3738369" y="234506"/>
                </a:cubicBezTo>
                <a:cubicBezTo>
                  <a:pt x="3774580" y="230879"/>
                  <a:pt x="3768868" y="196201"/>
                  <a:pt x="3803670" y="236457"/>
                </a:cubicBezTo>
                <a:cubicBezTo>
                  <a:pt x="3839567" y="220301"/>
                  <a:pt x="3850064" y="239151"/>
                  <a:pt x="3903080" y="241890"/>
                </a:cubicBezTo>
                <a:cubicBezTo>
                  <a:pt x="3954941" y="242175"/>
                  <a:pt x="4053514" y="238154"/>
                  <a:pt x="4114838" y="238165"/>
                </a:cubicBezTo>
                <a:cubicBezTo>
                  <a:pt x="4173784" y="217210"/>
                  <a:pt x="4209756" y="243378"/>
                  <a:pt x="4271023" y="241959"/>
                </a:cubicBezTo>
                <a:cubicBezTo>
                  <a:pt x="4326191" y="205535"/>
                  <a:pt x="4316856" y="279258"/>
                  <a:pt x="4367397" y="271442"/>
                </a:cubicBezTo>
                <a:cubicBezTo>
                  <a:pt x="4420874" y="271391"/>
                  <a:pt x="4369000" y="295343"/>
                  <a:pt x="4495366" y="271618"/>
                </a:cubicBezTo>
                <a:cubicBezTo>
                  <a:pt x="4501905" y="266287"/>
                  <a:pt x="4518077" y="269240"/>
                  <a:pt x="4517347" y="275639"/>
                </a:cubicBezTo>
                <a:cubicBezTo>
                  <a:pt x="4525170" y="272832"/>
                  <a:pt x="4542809" y="258800"/>
                  <a:pt x="4546116" y="268568"/>
                </a:cubicBezTo>
                <a:cubicBezTo>
                  <a:pt x="4586961" y="265354"/>
                  <a:pt x="4626617" y="255160"/>
                  <a:pt x="4661259" y="238966"/>
                </a:cubicBezTo>
                <a:cubicBezTo>
                  <a:pt x="4741966" y="247639"/>
                  <a:pt x="4693066" y="205693"/>
                  <a:pt x="4750403" y="204364"/>
                </a:cubicBezTo>
                <a:cubicBezTo>
                  <a:pt x="4798501" y="219113"/>
                  <a:pt x="4813319" y="201253"/>
                  <a:pt x="4867614" y="208668"/>
                </a:cubicBezTo>
                <a:cubicBezTo>
                  <a:pt x="4881621" y="174373"/>
                  <a:pt x="4917566" y="206761"/>
                  <a:pt x="4937036" y="195446"/>
                </a:cubicBezTo>
                <a:cubicBezTo>
                  <a:pt x="4974214" y="229763"/>
                  <a:pt x="5033435" y="175163"/>
                  <a:pt x="5067740" y="172293"/>
                </a:cubicBezTo>
                <a:cubicBezTo>
                  <a:pt x="5126160" y="173265"/>
                  <a:pt x="5172786" y="183138"/>
                  <a:pt x="5200247" y="142695"/>
                </a:cubicBezTo>
                <a:cubicBezTo>
                  <a:pt x="5240970" y="141002"/>
                  <a:pt x="5240507" y="134755"/>
                  <a:pt x="5276878" y="125833"/>
                </a:cubicBezTo>
                <a:cubicBezTo>
                  <a:pt x="5316470" y="106736"/>
                  <a:pt x="5327221" y="110178"/>
                  <a:pt x="5373216" y="111851"/>
                </a:cubicBezTo>
                <a:cubicBezTo>
                  <a:pt x="5382801" y="84741"/>
                  <a:pt x="5419294" y="93078"/>
                  <a:pt x="5482354" y="69470"/>
                </a:cubicBezTo>
                <a:cubicBezTo>
                  <a:pt x="5507119" y="85574"/>
                  <a:pt x="5545363" y="52240"/>
                  <a:pt x="5583280" y="49787"/>
                </a:cubicBezTo>
                <a:cubicBezTo>
                  <a:pt x="5589344" y="36484"/>
                  <a:pt x="5598103" y="36349"/>
                  <a:pt x="5613766" y="41855"/>
                </a:cubicBezTo>
                <a:cubicBezTo>
                  <a:pt x="5636621" y="41086"/>
                  <a:pt x="5660728" y="35034"/>
                  <a:pt x="5684952" y="26088"/>
                </a:cubicBezTo>
                <a:lnTo>
                  <a:pt x="5741575" y="0"/>
                </a:lnTo>
                <a:close/>
              </a:path>
            </a:pathLst>
          </a:custGeom>
          <a:solidFill>
            <a:srgbClr val="82766A">
              <a:alpha val="15000"/>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3A0A6CE4-8F7E-C2E6-20C8-A23145B0B310}"/>
              </a:ext>
            </a:extLst>
          </p:cNvPr>
          <p:cNvSpPr>
            <a:spLocks noGrp="1"/>
          </p:cNvSpPr>
          <p:nvPr>
            <p:ph type="sldNum" sz="quarter" idx="10"/>
          </p:nvPr>
        </p:nvSpPr>
        <p:spPr>
          <a:xfrm>
            <a:off x="8610600" y="6356350"/>
            <a:ext cx="2743200" cy="365125"/>
          </a:xfrm>
        </p:spPr>
        <p:txBody>
          <a:bodyPr>
            <a:normAutofit/>
          </a:bodyPr>
          <a:lstStyle/>
          <a:p>
            <a:pPr>
              <a:spcAft>
                <a:spcPts val="600"/>
              </a:spcAft>
            </a:pPr>
            <a:fld id="{97033E4B-E3EB-3D46-B2D8-3159663620FA}" type="slidenum">
              <a:rPr lang="en-US" sz="1000"/>
              <a:pPr>
                <a:spcAft>
                  <a:spcPts val="600"/>
                </a:spcAft>
              </a:pPr>
              <a:t>15</a:t>
            </a:fld>
            <a:endParaRPr lang="en-US" sz="1000"/>
          </a:p>
        </p:txBody>
      </p:sp>
      <p:sp>
        <p:nvSpPr>
          <p:cNvPr id="19" name="Rectangle 6">
            <a:extLst>
              <a:ext uri="{FF2B5EF4-FFF2-40B4-BE49-F238E27FC236}">
                <a16:creationId xmlns:a16="http://schemas.microsoft.com/office/drawing/2014/main" id="{8D91DE60-2C2D-4D7E-A6B4-C9499017DE4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9082623" y="6128773"/>
            <a:ext cx="1201506" cy="365125"/>
          </a:xfrm>
          <a:custGeom>
            <a:avLst/>
            <a:gdLst>
              <a:gd name="connsiteX0" fmla="*/ 0 w 2142503"/>
              <a:gd name="connsiteY0" fmla="*/ 0 h 571500"/>
              <a:gd name="connsiteX1" fmla="*/ 2142503 w 2142503"/>
              <a:gd name="connsiteY1" fmla="*/ 0 h 571500"/>
              <a:gd name="connsiteX2" fmla="*/ 2142503 w 2142503"/>
              <a:gd name="connsiteY2" fmla="*/ 571500 h 571500"/>
              <a:gd name="connsiteX3" fmla="*/ 0 w 2142503"/>
              <a:gd name="connsiteY3" fmla="*/ 571500 h 571500"/>
              <a:gd name="connsiteX4" fmla="*/ 0 w 2142503"/>
              <a:gd name="connsiteY4" fmla="*/ 0 h 571500"/>
              <a:gd name="connsiteX0" fmla="*/ 0 w 2142503"/>
              <a:gd name="connsiteY0" fmla="*/ 0 h 582145"/>
              <a:gd name="connsiteX1" fmla="*/ 2142503 w 2142503"/>
              <a:gd name="connsiteY1" fmla="*/ 0 h 582145"/>
              <a:gd name="connsiteX2" fmla="*/ 2142503 w 2142503"/>
              <a:gd name="connsiteY2" fmla="*/ 571500 h 582145"/>
              <a:gd name="connsiteX3" fmla="*/ 2050917 w 2142503"/>
              <a:gd name="connsiteY3" fmla="*/ 582088 h 582145"/>
              <a:gd name="connsiteX4" fmla="*/ 0 w 2142503"/>
              <a:gd name="connsiteY4" fmla="*/ 571500 h 582145"/>
              <a:gd name="connsiteX5" fmla="*/ 0 w 2142503"/>
              <a:gd name="connsiteY5" fmla="*/ 0 h 582145"/>
              <a:gd name="connsiteX0" fmla="*/ 0 w 2159832"/>
              <a:gd name="connsiteY0" fmla="*/ 0 h 582145"/>
              <a:gd name="connsiteX1" fmla="*/ 2142503 w 2159832"/>
              <a:gd name="connsiteY1" fmla="*/ 0 h 582145"/>
              <a:gd name="connsiteX2" fmla="*/ 2159829 w 2159832"/>
              <a:gd name="connsiteY2" fmla="*/ 96526 h 582145"/>
              <a:gd name="connsiteX3" fmla="*/ 2142503 w 2159832"/>
              <a:gd name="connsiteY3" fmla="*/ 571500 h 582145"/>
              <a:gd name="connsiteX4" fmla="*/ 2050917 w 2159832"/>
              <a:gd name="connsiteY4" fmla="*/ 582088 h 582145"/>
              <a:gd name="connsiteX5" fmla="*/ 0 w 2159832"/>
              <a:gd name="connsiteY5" fmla="*/ 571500 h 582145"/>
              <a:gd name="connsiteX6" fmla="*/ 0 w 2159832"/>
              <a:gd name="connsiteY6" fmla="*/ 0 h 582145"/>
              <a:gd name="connsiteX0" fmla="*/ 0 w 2159832"/>
              <a:gd name="connsiteY0" fmla="*/ 12386 h 594531"/>
              <a:gd name="connsiteX1" fmla="*/ 67826 w 2159832"/>
              <a:gd name="connsiteY1" fmla="*/ 0 h 594531"/>
              <a:gd name="connsiteX2" fmla="*/ 2142503 w 2159832"/>
              <a:gd name="connsiteY2" fmla="*/ 12386 h 594531"/>
              <a:gd name="connsiteX3" fmla="*/ 2159829 w 2159832"/>
              <a:gd name="connsiteY3" fmla="*/ 108912 h 594531"/>
              <a:gd name="connsiteX4" fmla="*/ 2142503 w 2159832"/>
              <a:gd name="connsiteY4" fmla="*/ 583886 h 594531"/>
              <a:gd name="connsiteX5" fmla="*/ 2050917 w 2159832"/>
              <a:gd name="connsiteY5" fmla="*/ 594474 h 594531"/>
              <a:gd name="connsiteX6" fmla="*/ 0 w 2159832"/>
              <a:gd name="connsiteY6" fmla="*/ 583886 h 594531"/>
              <a:gd name="connsiteX7" fmla="*/ 0 w 2159832"/>
              <a:gd name="connsiteY7" fmla="*/ 12386 h 594531"/>
              <a:gd name="connsiteX0" fmla="*/ 0 w 2168908"/>
              <a:gd name="connsiteY0" fmla="*/ 26000 h 594531"/>
              <a:gd name="connsiteX1" fmla="*/ 76902 w 2168908"/>
              <a:gd name="connsiteY1" fmla="*/ 0 h 594531"/>
              <a:gd name="connsiteX2" fmla="*/ 2151579 w 2168908"/>
              <a:gd name="connsiteY2" fmla="*/ 12386 h 594531"/>
              <a:gd name="connsiteX3" fmla="*/ 2168905 w 2168908"/>
              <a:gd name="connsiteY3" fmla="*/ 108912 h 594531"/>
              <a:gd name="connsiteX4" fmla="*/ 2151579 w 2168908"/>
              <a:gd name="connsiteY4" fmla="*/ 583886 h 594531"/>
              <a:gd name="connsiteX5" fmla="*/ 2059993 w 2168908"/>
              <a:gd name="connsiteY5" fmla="*/ 594474 h 594531"/>
              <a:gd name="connsiteX6" fmla="*/ 9076 w 2168908"/>
              <a:gd name="connsiteY6" fmla="*/ 583886 h 594531"/>
              <a:gd name="connsiteX7" fmla="*/ 0 w 2168908"/>
              <a:gd name="connsiteY7" fmla="*/ 26000 h 594531"/>
              <a:gd name="connsiteX0" fmla="*/ 5393 w 2174301"/>
              <a:gd name="connsiteY0" fmla="*/ 26000 h 594531"/>
              <a:gd name="connsiteX1" fmla="*/ 82295 w 2174301"/>
              <a:gd name="connsiteY1" fmla="*/ 0 h 594531"/>
              <a:gd name="connsiteX2" fmla="*/ 2156972 w 2174301"/>
              <a:gd name="connsiteY2" fmla="*/ 12386 h 594531"/>
              <a:gd name="connsiteX3" fmla="*/ 2174298 w 2174301"/>
              <a:gd name="connsiteY3" fmla="*/ 108912 h 594531"/>
              <a:gd name="connsiteX4" fmla="*/ 2156972 w 2174301"/>
              <a:gd name="connsiteY4" fmla="*/ 583886 h 594531"/>
              <a:gd name="connsiteX5" fmla="*/ 2065386 w 2174301"/>
              <a:gd name="connsiteY5" fmla="*/ 594474 h 594531"/>
              <a:gd name="connsiteX6" fmla="*/ 14469 w 2174301"/>
              <a:gd name="connsiteY6" fmla="*/ 583886 h 594531"/>
              <a:gd name="connsiteX7" fmla="*/ 5393 w 2174301"/>
              <a:gd name="connsiteY7" fmla="*/ 26000 h 594531"/>
              <a:gd name="connsiteX0" fmla="*/ 5393 w 2174301"/>
              <a:gd name="connsiteY0" fmla="*/ 26000 h 594531"/>
              <a:gd name="connsiteX1" fmla="*/ 82295 w 2174301"/>
              <a:gd name="connsiteY1" fmla="*/ 0 h 594531"/>
              <a:gd name="connsiteX2" fmla="*/ 2156972 w 2174301"/>
              <a:gd name="connsiteY2" fmla="*/ 12386 h 594531"/>
              <a:gd name="connsiteX3" fmla="*/ 2174298 w 2174301"/>
              <a:gd name="connsiteY3" fmla="*/ 108912 h 594531"/>
              <a:gd name="connsiteX4" fmla="*/ 2156972 w 2174301"/>
              <a:gd name="connsiteY4" fmla="*/ 583886 h 594531"/>
              <a:gd name="connsiteX5" fmla="*/ 2065386 w 2174301"/>
              <a:gd name="connsiteY5" fmla="*/ 594474 h 594531"/>
              <a:gd name="connsiteX6" fmla="*/ 14469 w 2174301"/>
              <a:gd name="connsiteY6" fmla="*/ 583886 h 594531"/>
              <a:gd name="connsiteX7" fmla="*/ 5393 w 2174301"/>
              <a:gd name="connsiteY7" fmla="*/ 26000 h 594531"/>
              <a:gd name="connsiteX0" fmla="*/ 5393 w 2174301"/>
              <a:gd name="connsiteY0" fmla="*/ 26000 h 594531"/>
              <a:gd name="connsiteX1" fmla="*/ 82295 w 2174301"/>
              <a:gd name="connsiteY1" fmla="*/ 0 h 594531"/>
              <a:gd name="connsiteX2" fmla="*/ 2156972 w 2174301"/>
              <a:gd name="connsiteY2" fmla="*/ 12386 h 594531"/>
              <a:gd name="connsiteX3" fmla="*/ 2174298 w 2174301"/>
              <a:gd name="connsiteY3" fmla="*/ 108912 h 594531"/>
              <a:gd name="connsiteX4" fmla="*/ 2156972 w 2174301"/>
              <a:gd name="connsiteY4" fmla="*/ 583886 h 594531"/>
              <a:gd name="connsiteX5" fmla="*/ 2065386 w 2174301"/>
              <a:gd name="connsiteY5" fmla="*/ 594474 h 594531"/>
              <a:gd name="connsiteX6" fmla="*/ 14469 w 2174301"/>
              <a:gd name="connsiteY6" fmla="*/ 583886 h 594531"/>
              <a:gd name="connsiteX7" fmla="*/ 5393 w 2174301"/>
              <a:gd name="connsiteY7" fmla="*/ 26000 h 594531"/>
              <a:gd name="connsiteX0" fmla="*/ 5393 w 2174301"/>
              <a:gd name="connsiteY0" fmla="*/ 26000 h 594531"/>
              <a:gd name="connsiteX1" fmla="*/ 82295 w 2174301"/>
              <a:gd name="connsiteY1" fmla="*/ 0 h 594531"/>
              <a:gd name="connsiteX2" fmla="*/ 2156972 w 2174301"/>
              <a:gd name="connsiteY2" fmla="*/ 12386 h 594531"/>
              <a:gd name="connsiteX3" fmla="*/ 2174298 w 2174301"/>
              <a:gd name="connsiteY3" fmla="*/ 108912 h 594531"/>
              <a:gd name="connsiteX4" fmla="*/ 2156972 w 2174301"/>
              <a:gd name="connsiteY4" fmla="*/ 583886 h 594531"/>
              <a:gd name="connsiteX5" fmla="*/ 2065386 w 2174301"/>
              <a:gd name="connsiteY5" fmla="*/ 594474 h 594531"/>
              <a:gd name="connsiteX6" fmla="*/ 14469 w 2174301"/>
              <a:gd name="connsiteY6" fmla="*/ 583886 h 594531"/>
              <a:gd name="connsiteX7" fmla="*/ 5393 w 2174301"/>
              <a:gd name="connsiteY7" fmla="*/ 26000 h 594531"/>
              <a:gd name="connsiteX0" fmla="*/ 147197 w 2316105"/>
              <a:gd name="connsiteY0" fmla="*/ 26000 h 594531"/>
              <a:gd name="connsiteX1" fmla="*/ 224099 w 2316105"/>
              <a:gd name="connsiteY1" fmla="*/ 0 h 594531"/>
              <a:gd name="connsiteX2" fmla="*/ 2298776 w 2316105"/>
              <a:gd name="connsiteY2" fmla="*/ 12386 h 594531"/>
              <a:gd name="connsiteX3" fmla="*/ 2316102 w 2316105"/>
              <a:gd name="connsiteY3" fmla="*/ 108912 h 594531"/>
              <a:gd name="connsiteX4" fmla="*/ 2298776 w 2316105"/>
              <a:gd name="connsiteY4" fmla="*/ 583886 h 594531"/>
              <a:gd name="connsiteX5" fmla="*/ 2207190 w 2316105"/>
              <a:gd name="connsiteY5" fmla="*/ 594474 h 594531"/>
              <a:gd name="connsiteX6" fmla="*/ 156273 w 2316105"/>
              <a:gd name="connsiteY6" fmla="*/ 583886 h 594531"/>
              <a:gd name="connsiteX7" fmla="*/ 142416 w 2316105"/>
              <a:gd name="connsiteY7" fmla="*/ 235975 h 594531"/>
              <a:gd name="connsiteX8" fmla="*/ 147197 w 2316105"/>
              <a:gd name="connsiteY8" fmla="*/ 26000 h 594531"/>
              <a:gd name="connsiteX0" fmla="*/ 154684 w 2323592"/>
              <a:gd name="connsiteY0" fmla="*/ 26000 h 594531"/>
              <a:gd name="connsiteX1" fmla="*/ 231586 w 2323592"/>
              <a:gd name="connsiteY1" fmla="*/ 0 h 594531"/>
              <a:gd name="connsiteX2" fmla="*/ 2306263 w 2323592"/>
              <a:gd name="connsiteY2" fmla="*/ 12386 h 594531"/>
              <a:gd name="connsiteX3" fmla="*/ 2323589 w 2323592"/>
              <a:gd name="connsiteY3" fmla="*/ 108912 h 594531"/>
              <a:gd name="connsiteX4" fmla="*/ 2306263 w 2323592"/>
              <a:gd name="connsiteY4" fmla="*/ 583886 h 594531"/>
              <a:gd name="connsiteX5" fmla="*/ 2214677 w 2323592"/>
              <a:gd name="connsiteY5" fmla="*/ 594474 h 594531"/>
              <a:gd name="connsiteX6" fmla="*/ 163760 w 2323592"/>
              <a:gd name="connsiteY6" fmla="*/ 583886 h 594531"/>
              <a:gd name="connsiteX7" fmla="*/ 158979 w 2323592"/>
              <a:gd name="connsiteY7" fmla="*/ 403879 h 594531"/>
              <a:gd name="connsiteX8" fmla="*/ 149903 w 2323592"/>
              <a:gd name="connsiteY8" fmla="*/ 235975 h 594531"/>
              <a:gd name="connsiteX9" fmla="*/ 154684 w 2323592"/>
              <a:gd name="connsiteY9" fmla="*/ 26000 h 594531"/>
              <a:gd name="connsiteX0" fmla="*/ 13665 w 2182573"/>
              <a:gd name="connsiteY0" fmla="*/ 26000 h 594531"/>
              <a:gd name="connsiteX1" fmla="*/ 90567 w 2182573"/>
              <a:gd name="connsiteY1" fmla="*/ 0 h 594531"/>
              <a:gd name="connsiteX2" fmla="*/ 2165244 w 2182573"/>
              <a:gd name="connsiteY2" fmla="*/ 12386 h 594531"/>
              <a:gd name="connsiteX3" fmla="*/ 2182570 w 2182573"/>
              <a:gd name="connsiteY3" fmla="*/ 108912 h 594531"/>
              <a:gd name="connsiteX4" fmla="*/ 2165244 w 2182573"/>
              <a:gd name="connsiteY4" fmla="*/ 583886 h 594531"/>
              <a:gd name="connsiteX5" fmla="*/ 2073658 w 2182573"/>
              <a:gd name="connsiteY5" fmla="*/ 594474 h 594531"/>
              <a:gd name="connsiteX6" fmla="*/ 22741 w 2182573"/>
              <a:gd name="connsiteY6" fmla="*/ 583886 h 594531"/>
              <a:gd name="connsiteX7" fmla="*/ 17960 w 2182573"/>
              <a:gd name="connsiteY7" fmla="*/ 403879 h 594531"/>
              <a:gd name="connsiteX8" fmla="*/ 8884 w 2182573"/>
              <a:gd name="connsiteY8" fmla="*/ 235975 h 594531"/>
              <a:gd name="connsiteX9" fmla="*/ 13665 w 2182573"/>
              <a:gd name="connsiteY9" fmla="*/ 26000 h 594531"/>
              <a:gd name="connsiteX0" fmla="*/ 13665 w 2202120"/>
              <a:gd name="connsiteY0" fmla="*/ 26000 h 594531"/>
              <a:gd name="connsiteX1" fmla="*/ 90567 w 2202120"/>
              <a:gd name="connsiteY1" fmla="*/ 0 h 594531"/>
              <a:gd name="connsiteX2" fmla="*/ 2165244 w 2202120"/>
              <a:gd name="connsiteY2" fmla="*/ 12386 h 594531"/>
              <a:gd name="connsiteX3" fmla="*/ 2182570 w 2202120"/>
              <a:gd name="connsiteY3" fmla="*/ 108912 h 594531"/>
              <a:gd name="connsiteX4" fmla="*/ 2192471 w 2202120"/>
              <a:gd name="connsiteY4" fmla="*/ 583886 h 594531"/>
              <a:gd name="connsiteX5" fmla="*/ 2073658 w 2202120"/>
              <a:gd name="connsiteY5" fmla="*/ 594474 h 594531"/>
              <a:gd name="connsiteX6" fmla="*/ 22741 w 2202120"/>
              <a:gd name="connsiteY6" fmla="*/ 583886 h 594531"/>
              <a:gd name="connsiteX7" fmla="*/ 17960 w 2202120"/>
              <a:gd name="connsiteY7" fmla="*/ 403879 h 594531"/>
              <a:gd name="connsiteX8" fmla="*/ 8884 w 2202120"/>
              <a:gd name="connsiteY8" fmla="*/ 235975 h 594531"/>
              <a:gd name="connsiteX9" fmla="*/ 13665 w 2202120"/>
              <a:gd name="connsiteY9" fmla="*/ 26000 h 594531"/>
              <a:gd name="connsiteX0" fmla="*/ 13665 w 2202036"/>
              <a:gd name="connsiteY0" fmla="*/ 26000 h 594531"/>
              <a:gd name="connsiteX1" fmla="*/ 90567 w 2202036"/>
              <a:gd name="connsiteY1" fmla="*/ 0 h 594531"/>
              <a:gd name="connsiteX2" fmla="*/ 2165244 w 2202036"/>
              <a:gd name="connsiteY2" fmla="*/ 12386 h 594531"/>
              <a:gd name="connsiteX3" fmla="*/ 2182570 w 2202036"/>
              <a:gd name="connsiteY3" fmla="*/ 108912 h 594531"/>
              <a:gd name="connsiteX4" fmla="*/ 2191645 w 2202036"/>
              <a:gd name="connsiteY4" fmla="*/ 422031 h 594531"/>
              <a:gd name="connsiteX5" fmla="*/ 2192471 w 2202036"/>
              <a:gd name="connsiteY5" fmla="*/ 583886 h 594531"/>
              <a:gd name="connsiteX6" fmla="*/ 2073658 w 2202036"/>
              <a:gd name="connsiteY6" fmla="*/ 594474 h 594531"/>
              <a:gd name="connsiteX7" fmla="*/ 22741 w 2202036"/>
              <a:gd name="connsiteY7" fmla="*/ 583886 h 594531"/>
              <a:gd name="connsiteX8" fmla="*/ 17960 w 2202036"/>
              <a:gd name="connsiteY8" fmla="*/ 403879 h 594531"/>
              <a:gd name="connsiteX9" fmla="*/ 8884 w 2202036"/>
              <a:gd name="connsiteY9" fmla="*/ 235975 h 594531"/>
              <a:gd name="connsiteX10" fmla="*/ 13665 w 2202036"/>
              <a:gd name="connsiteY10" fmla="*/ 26000 h 594531"/>
              <a:gd name="connsiteX0" fmla="*/ 142254 w 2330625"/>
              <a:gd name="connsiteY0" fmla="*/ 26000 h 594531"/>
              <a:gd name="connsiteX1" fmla="*/ 219156 w 2330625"/>
              <a:gd name="connsiteY1" fmla="*/ 0 h 594531"/>
              <a:gd name="connsiteX2" fmla="*/ 2293833 w 2330625"/>
              <a:gd name="connsiteY2" fmla="*/ 12386 h 594531"/>
              <a:gd name="connsiteX3" fmla="*/ 2311159 w 2330625"/>
              <a:gd name="connsiteY3" fmla="*/ 108912 h 594531"/>
              <a:gd name="connsiteX4" fmla="*/ 2320234 w 2330625"/>
              <a:gd name="connsiteY4" fmla="*/ 422031 h 594531"/>
              <a:gd name="connsiteX5" fmla="*/ 2321060 w 2330625"/>
              <a:gd name="connsiteY5" fmla="*/ 583886 h 594531"/>
              <a:gd name="connsiteX6" fmla="*/ 2202247 w 2330625"/>
              <a:gd name="connsiteY6" fmla="*/ 594474 h 594531"/>
              <a:gd name="connsiteX7" fmla="*/ 151330 w 2330625"/>
              <a:gd name="connsiteY7" fmla="*/ 583886 h 594531"/>
              <a:gd name="connsiteX8" fmla="*/ 155624 w 2330625"/>
              <a:gd name="connsiteY8" fmla="*/ 512790 h 594531"/>
              <a:gd name="connsiteX9" fmla="*/ 146549 w 2330625"/>
              <a:gd name="connsiteY9" fmla="*/ 403879 h 594531"/>
              <a:gd name="connsiteX10" fmla="*/ 137473 w 2330625"/>
              <a:gd name="connsiteY10" fmla="*/ 235975 h 594531"/>
              <a:gd name="connsiteX11" fmla="*/ 142254 w 2330625"/>
              <a:gd name="connsiteY11" fmla="*/ 26000 h 594531"/>
              <a:gd name="connsiteX0" fmla="*/ 13413 w 2201784"/>
              <a:gd name="connsiteY0" fmla="*/ 26000 h 594531"/>
              <a:gd name="connsiteX1" fmla="*/ 90315 w 2201784"/>
              <a:gd name="connsiteY1" fmla="*/ 0 h 594531"/>
              <a:gd name="connsiteX2" fmla="*/ 2164992 w 2201784"/>
              <a:gd name="connsiteY2" fmla="*/ 12386 h 594531"/>
              <a:gd name="connsiteX3" fmla="*/ 2182318 w 2201784"/>
              <a:gd name="connsiteY3" fmla="*/ 108912 h 594531"/>
              <a:gd name="connsiteX4" fmla="*/ 2191393 w 2201784"/>
              <a:gd name="connsiteY4" fmla="*/ 422031 h 594531"/>
              <a:gd name="connsiteX5" fmla="*/ 2192219 w 2201784"/>
              <a:gd name="connsiteY5" fmla="*/ 583886 h 594531"/>
              <a:gd name="connsiteX6" fmla="*/ 2073406 w 2201784"/>
              <a:gd name="connsiteY6" fmla="*/ 594474 h 594531"/>
              <a:gd name="connsiteX7" fmla="*/ 22489 w 2201784"/>
              <a:gd name="connsiteY7" fmla="*/ 583886 h 594531"/>
              <a:gd name="connsiteX8" fmla="*/ 26783 w 2201784"/>
              <a:gd name="connsiteY8" fmla="*/ 512790 h 594531"/>
              <a:gd name="connsiteX9" fmla="*/ 17708 w 2201784"/>
              <a:gd name="connsiteY9" fmla="*/ 403879 h 594531"/>
              <a:gd name="connsiteX10" fmla="*/ 8632 w 2201784"/>
              <a:gd name="connsiteY10" fmla="*/ 235975 h 594531"/>
              <a:gd name="connsiteX11" fmla="*/ 13413 w 2201784"/>
              <a:gd name="connsiteY11" fmla="*/ 26000 h 594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1784" h="594531">
                <a:moveTo>
                  <a:pt x="13413" y="26000"/>
                </a:moveTo>
                <a:cubicBezTo>
                  <a:pt x="37534" y="24897"/>
                  <a:pt x="66194" y="1103"/>
                  <a:pt x="90315" y="0"/>
                </a:cubicBezTo>
                <a:lnTo>
                  <a:pt x="2164992" y="12386"/>
                </a:lnTo>
                <a:cubicBezTo>
                  <a:pt x="2164717" y="43049"/>
                  <a:pt x="2182593" y="78249"/>
                  <a:pt x="2182318" y="108912"/>
                </a:cubicBezTo>
                <a:cubicBezTo>
                  <a:pt x="2188231" y="177186"/>
                  <a:pt x="2189743" y="342869"/>
                  <a:pt x="2191393" y="422031"/>
                </a:cubicBezTo>
                <a:cubicBezTo>
                  <a:pt x="2193043" y="501193"/>
                  <a:pt x="2213396" y="555146"/>
                  <a:pt x="2192219" y="583886"/>
                </a:cubicBezTo>
                <a:cubicBezTo>
                  <a:pt x="2172279" y="582877"/>
                  <a:pt x="2093346" y="595483"/>
                  <a:pt x="2073406" y="594474"/>
                </a:cubicBezTo>
                <a:lnTo>
                  <a:pt x="22489" y="583886"/>
                </a:lnTo>
                <a:cubicBezTo>
                  <a:pt x="5849" y="592962"/>
                  <a:pt x="27580" y="542791"/>
                  <a:pt x="26783" y="512790"/>
                </a:cubicBezTo>
                <a:cubicBezTo>
                  <a:pt x="25986" y="482789"/>
                  <a:pt x="18464" y="450015"/>
                  <a:pt x="17708" y="403879"/>
                </a:cubicBezTo>
                <a:cubicBezTo>
                  <a:pt x="16952" y="357743"/>
                  <a:pt x="-14855" y="308787"/>
                  <a:pt x="8632" y="235975"/>
                </a:cubicBezTo>
                <a:cubicBezTo>
                  <a:pt x="7119" y="142994"/>
                  <a:pt x="-201" y="65329"/>
                  <a:pt x="13413" y="26000"/>
                </a:cubicBezTo>
                <a:close/>
              </a:path>
            </a:pathLst>
          </a:custGeom>
          <a:solidFill>
            <a:srgbClr val="D9D4D0">
              <a:alpha val="50000"/>
            </a:srgbClr>
          </a:solidFill>
          <a:ln>
            <a:noFill/>
          </a:ln>
          <a:effectLst>
            <a:softEdge rad="635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261348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0743" y="332468"/>
            <a:ext cx="4963886" cy="1347334"/>
          </a:xfrm>
          <a:noFill/>
        </p:spPr>
        <p:txBody>
          <a:bodyPr/>
          <a:lstStyle/>
          <a:p>
            <a:r>
              <a:rPr lang="en-US">
                <a:latin typeface="Arial"/>
                <a:ea typeface="Lato Medium"/>
                <a:cs typeface="Arial"/>
              </a:rPr>
              <a:t>Identification of Patient Partner</a:t>
            </a:r>
            <a:endParaRPr lang="en-US"/>
          </a:p>
        </p:txBody>
      </p:sp>
      <p:sp>
        <p:nvSpPr>
          <p:cNvPr id="4" name="Slide Number Placeholder 3"/>
          <p:cNvSpPr>
            <a:spLocks noGrp="1"/>
          </p:cNvSpPr>
          <p:nvPr>
            <p:ph type="sldNum" sz="quarter" idx="10"/>
          </p:nvPr>
        </p:nvSpPr>
        <p:spPr/>
        <p:txBody>
          <a:bodyPr/>
          <a:lstStyle/>
          <a:p>
            <a:fld id="{97033E4B-E3EB-3D46-B2D8-3159663620FA}" type="slidenum">
              <a:rPr lang="en-US" smtClean="0"/>
              <a:pPr/>
              <a:t>16</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sp>
        <p:nvSpPr>
          <p:cNvPr id="7" name="Wave 6">
            <a:extLst>
              <a:ext uri="{FF2B5EF4-FFF2-40B4-BE49-F238E27FC236}">
                <a16:creationId xmlns:a16="http://schemas.microsoft.com/office/drawing/2014/main" id="{2CC554EE-D164-B50E-1C27-DF280F11B694}"/>
              </a:ext>
            </a:extLst>
          </p:cNvPr>
          <p:cNvSpPr/>
          <p:nvPr/>
        </p:nvSpPr>
        <p:spPr>
          <a:xfrm>
            <a:off x="4687776" y="178395"/>
            <a:ext cx="2074422" cy="1637938"/>
          </a:xfrm>
          <a:prstGeom prst="wave">
            <a:avLst>
              <a:gd name="adj1" fmla="val 12500"/>
              <a:gd name="adj2" fmla="val 0"/>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a:cs typeface="Calibri"/>
              </a:rPr>
              <a:t>2023 Teams Survey</a:t>
            </a:r>
          </a:p>
        </p:txBody>
      </p:sp>
      <p:sp>
        <p:nvSpPr>
          <p:cNvPr id="3" name="TextBox 2">
            <a:extLst>
              <a:ext uri="{FF2B5EF4-FFF2-40B4-BE49-F238E27FC236}">
                <a16:creationId xmlns:a16="http://schemas.microsoft.com/office/drawing/2014/main" id="{AC2BB3A3-ADE2-0C44-760E-980744EA4419}"/>
              </a:ext>
            </a:extLst>
          </p:cNvPr>
          <p:cNvSpPr txBox="1"/>
          <p:nvPr/>
        </p:nvSpPr>
        <p:spPr>
          <a:xfrm>
            <a:off x="1441725" y="1962875"/>
            <a:ext cx="9310899" cy="584775"/>
          </a:xfrm>
          <a:prstGeom prst="rect">
            <a:avLst/>
          </a:prstGeom>
          <a:solidFill>
            <a:schemeClr val="accent3">
              <a:lumMod val="20000"/>
              <a:lumOff val="8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3200"/>
              <a:t>8 Birth Equity Teams have identified a Patient Partner</a:t>
            </a:r>
            <a:endParaRPr lang="en-US"/>
          </a:p>
        </p:txBody>
      </p:sp>
      <p:sp>
        <p:nvSpPr>
          <p:cNvPr id="6" name="TextBox 5">
            <a:extLst>
              <a:ext uri="{FF2B5EF4-FFF2-40B4-BE49-F238E27FC236}">
                <a16:creationId xmlns:a16="http://schemas.microsoft.com/office/drawing/2014/main" id="{2364E342-A98E-4E6A-9ABE-E187A502C24F}"/>
              </a:ext>
            </a:extLst>
          </p:cNvPr>
          <p:cNvSpPr txBox="1"/>
          <p:nvPr/>
        </p:nvSpPr>
        <p:spPr>
          <a:xfrm>
            <a:off x="693169" y="2921934"/>
            <a:ext cx="6343363" cy="3108543"/>
          </a:xfrm>
          <a:prstGeom prst="rect">
            <a:avLst/>
          </a:prstGeom>
          <a:noFill/>
          <a:ln>
            <a:solidFill>
              <a:schemeClr val="accent1"/>
            </a:solidFill>
          </a:ln>
        </p:spPr>
        <p:txBody>
          <a:bodyPr wrap="square" lIns="91440" tIns="45720" rIns="91440" bIns="45720" rtlCol="0" anchor="t">
            <a:spAutoFit/>
          </a:bodyPr>
          <a:lstStyle/>
          <a:p>
            <a:r>
              <a:rPr lang="en-US" sz="2800" u="sng" dirty="0"/>
              <a:t>Methods to Identify Patient Partner:</a:t>
            </a:r>
            <a:endParaRPr lang="en-US" sz="2800" u="sng" dirty="0">
              <a:ea typeface="Calibri"/>
              <a:cs typeface="Calibri"/>
            </a:endParaRPr>
          </a:p>
          <a:p>
            <a:pPr marL="285750" indent="-285750">
              <a:buFont typeface="Arial" panose="020B0604020202020204" pitchFamily="34" charset="0"/>
              <a:buChar char="•"/>
            </a:pPr>
            <a:r>
              <a:rPr lang="en-US" sz="2800" dirty="0"/>
              <a:t>Physician or CNM Referral</a:t>
            </a:r>
            <a:endParaRPr lang="en-US" sz="2800" dirty="0">
              <a:ea typeface="Calibri"/>
              <a:cs typeface="Calibri"/>
            </a:endParaRPr>
          </a:p>
          <a:p>
            <a:pPr marL="285750" indent="-285750">
              <a:buFont typeface="Arial" panose="020B0604020202020204" pitchFamily="34" charset="0"/>
              <a:buChar char="•"/>
            </a:pPr>
            <a:r>
              <a:rPr lang="en-US" sz="2800" dirty="0"/>
              <a:t>Attended Respectful Care Breakfast</a:t>
            </a:r>
            <a:endParaRPr lang="en-US" sz="2800" dirty="0">
              <a:ea typeface="Calibri"/>
              <a:cs typeface="Calibri"/>
            </a:endParaRPr>
          </a:p>
          <a:p>
            <a:pPr marL="285750" indent="-285750">
              <a:buFont typeface="Arial" panose="020B0604020202020204" pitchFamily="34" charset="0"/>
              <a:buChar char="•"/>
            </a:pPr>
            <a:r>
              <a:rPr lang="en-US" sz="2800" dirty="0"/>
              <a:t>Member of Hospital Patient Advisory Committee</a:t>
            </a:r>
            <a:endParaRPr lang="en-US" sz="2800" dirty="0">
              <a:ea typeface="Calibri"/>
              <a:cs typeface="Calibri"/>
            </a:endParaRPr>
          </a:p>
          <a:p>
            <a:pPr marL="285750" indent="-285750">
              <a:buFont typeface="Arial" panose="020B0604020202020204" pitchFamily="34" charset="0"/>
              <a:buChar char="•"/>
            </a:pPr>
            <a:r>
              <a:rPr lang="en-US" sz="2800" dirty="0"/>
              <a:t>Former Patient</a:t>
            </a:r>
          </a:p>
          <a:p>
            <a:pPr marL="285750" indent="-285750">
              <a:buFont typeface="Arial" panose="020B0604020202020204" pitchFamily="34" charset="0"/>
              <a:buChar char="•"/>
            </a:pPr>
            <a:r>
              <a:rPr lang="en-US" sz="2800" dirty="0">
                <a:ea typeface="Calibri"/>
                <a:cs typeface="Calibri"/>
              </a:rPr>
              <a:t>Parent with a baby in the NICU</a:t>
            </a:r>
          </a:p>
        </p:txBody>
      </p:sp>
    </p:spTree>
    <p:extLst>
      <p:ext uri="{BB962C8B-B14F-4D97-AF65-F5344CB8AC3E}">
        <p14:creationId xmlns:p14="http://schemas.microsoft.com/office/powerpoint/2010/main" val="305328732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1571134" y="955812"/>
            <a:ext cx="9049732" cy="4946377"/>
            <a:chOff x="0" y="0"/>
            <a:chExt cx="3575203" cy="1954124"/>
          </a:xfrm>
        </p:grpSpPr>
        <p:sp>
          <p:nvSpPr>
            <p:cNvPr id="3" name="Freeform 3"/>
            <p:cNvSpPr/>
            <p:nvPr/>
          </p:nvSpPr>
          <p:spPr>
            <a:xfrm>
              <a:off x="0" y="0"/>
              <a:ext cx="3575203" cy="1954124"/>
            </a:xfrm>
            <a:custGeom>
              <a:avLst/>
              <a:gdLst/>
              <a:ahLst/>
              <a:cxnLst/>
              <a:rect l="l" t="t" r="r" b="b"/>
              <a:pathLst>
                <a:path w="3575203" h="1954124">
                  <a:moveTo>
                    <a:pt x="29087" y="0"/>
                  </a:moveTo>
                  <a:lnTo>
                    <a:pt x="3546116" y="0"/>
                  </a:lnTo>
                  <a:cubicBezTo>
                    <a:pt x="3553830" y="0"/>
                    <a:pt x="3561229" y="3064"/>
                    <a:pt x="3566683" y="8519"/>
                  </a:cubicBezTo>
                  <a:cubicBezTo>
                    <a:pt x="3572138" y="13974"/>
                    <a:pt x="3575203" y="21372"/>
                    <a:pt x="3575203" y="29087"/>
                  </a:cubicBezTo>
                  <a:lnTo>
                    <a:pt x="3575203" y="1925038"/>
                  </a:lnTo>
                  <a:cubicBezTo>
                    <a:pt x="3575203" y="1941102"/>
                    <a:pt x="3562180" y="1954124"/>
                    <a:pt x="3546116" y="1954124"/>
                  </a:cubicBezTo>
                  <a:lnTo>
                    <a:pt x="29087" y="1954124"/>
                  </a:lnTo>
                  <a:cubicBezTo>
                    <a:pt x="13022" y="1954124"/>
                    <a:pt x="0" y="1941102"/>
                    <a:pt x="0" y="1925038"/>
                  </a:cubicBezTo>
                  <a:lnTo>
                    <a:pt x="0" y="29087"/>
                  </a:lnTo>
                  <a:cubicBezTo>
                    <a:pt x="0" y="13022"/>
                    <a:pt x="13022" y="0"/>
                    <a:pt x="29087" y="0"/>
                  </a:cubicBezTo>
                  <a:close/>
                </a:path>
              </a:pathLst>
            </a:custGeom>
            <a:solidFill>
              <a:srgbClr val="FFE3A2">
                <a:alpha val="30980"/>
              </a:srgbClr>
            </a:solidFill>
          </p:spPr>
        </p:sp>
        <p:sp>
          <p:nvSpPr>
            <p:cNvPr id="4" name="TextBox 4"/>
            <p:cNvSpPr txBox="1"/>
            <p:nvPr/>
          </p:nvSpPr>
          <p:spPr>
            <a:xfrm>
              <a:off x="0" y="-47625"/>
              <a:ext cx="812800" cy="860425"/>
            </a:xfrm>
            <a:prstGeom prst="rect">
              <a:avLst/>
            </a:prstGeom>
          </p:spPr>
          <p:txBody>
            <a:bodyPr lIns="33867" tIns="33867" rIns="33867" bIns="33867" rtlCol="0" anchor="ctr"/>
            <a:lstStyle/>
            <a:p>
              <a:pPr algn="ctr">
                <a:lnSpc>
                  <a:spcPts val="1773"/>
                </a:lnSpc>
              </a:pPr>
              <a:endParaRPr sz="800"/>
            </a:p>
          </p:txBody>
        </p:sp>
      </p:grpSp>
      <p:sp>
        <p:nvSpPr>
          <p:cNvPr id="5" name="TextBox 5"/>
          <p:cNvSpPr txBox="1"/>
          <p:nvPr/>
        </p:nvSpPr>
        <p:spPr>
          <a:xfrm>
            <a:off x="1444134" y="1310854"/>
            <a:ext cx="9285627" cy="1207382"/>
          </a:xfrm>
          <a:prstGeom prst="rect">
            <a:avLst/>
          </a:prstGeom>
        </p:spPr>
        <p:txBody>
          <a:bodyPr lIns="0" tIns="0" rIns="0" bIns="0" rtlCol="0" anchor="t">
            <a:spAutoFit/>
          </a:bodyPr>
          <a:lstStyle/>
          <a:p>
            <a:pPr algn="ctr">
              <a:lnSpc>
                <a:spcPts val="4666"/>
              </a:lnSpc>
            </a:pPr>
            <a:r>
              <a:rPr lang="en-US" sz="4650" spc="233">
                <a:solidFill>
                  <a:srgbClr val="004AAD"/>
                </a:solidFill>
                <a:latin typeface="Hammersmith One"/>
              </a:rPr>
              <a:t>Birth Equity</a:t>
            </a:r>
            <a:endParaRPr lang="en-US" sz="4666" spc="233">
              <a:solidFill>
                <a:srgbClr val="004AAD"/>
              </a:solidFill>
              <a:latin typeface="Hammersmith One"/>
            </a:endParaRPr>
          </a:p>
          <a:p>
            <a:pPr algn="ctr">
              <a:lnSpc>
                <a:spcPts val="4467"/>
              </a:lnSpc>
            </a:pPr>
            <a:r>
              <a:rPr lang="en-US" sz="4450" spc="223">
                <a:solidFill>
                  <a:srgbClr val="004AAD"/>
                </a:solidFill>
                <a:latin typeface="Hammersmith One"/>
              </a:rPr>
              <a:t>Patient Partner Recognition</a:t>
            </a:r>
            <a:endParaRPr lang="en-US"/>
          </a:p>
        </p:txBody>
      </p:sp>
      <p:sp>
        <p:nvSpPr>
          <p:cNvPr id="6" name="Freeform 6"/>
          <p:cNvSpPr/>
          <p:nvPr/>
        </p:nvSpPr>
        <p:spPr>
          <a:xfrm>
            <a:off x="5226060" y="94071"/>
            <a:ext cx="1715856" cy="861741"/>
          </a:xfrm>
          <a:custGeom>
            <a:avLst/>
            <a:gdLst/>
            <a:ahLst/>
            <a:cxnLst/>
            <a:rect l="l" t="t" r="r" b="b"/>
            <a:pathLst>
              <a:path w="2573784" h="1292611">
                <a:moveTo>
                  <a:pt x="0" y="0"/>
                </a:moveTo>
                <a:lnTo>
                  <a:pt x="2573783" y="0"/>
                </a:lnTo>
                <a:lnTo>
                  <a:pt x="2573783" y="1292611"/>
                </a:lnTo>
                <a:lnTo>
                  <a:pt x="0" y="1292611"/>
                </a:lnTo>
                <a:lnTo>
                  <a:pt x="0" y="0"/>
                </a:lnTo>
                <a:close/>
              </a:path>
            </a:pathLst>
          </a:custGeom>
          <a:blipFill>
            <a:blip r:embed="rId3"/>
            <a:stretch>
              <a:fillRect/>
            </a:stretch>
          </a:blipFill>
        </p:spPr>
      </p:sp>
      <p:sp>
        <p:nvSpPr>
          <p:cNvPr id="7" name="Freeform 7"/>
          <p:cNvSpPr/>
          <p:nvPr/>
        </p:nvSpPr>
        <p:spPr>
          <a:xfrm rot="20970386">
            <a:off x="-151947" y="216792"/>
            <a:ext cx="5480877" cy="1305445"/>
          </a:xfrm>
          <a:custGeom>
            <a:avLst/>
            <a:gdLst/>
            <a:ahLst/>
            <a:cxnLst/>
            <a:rect l="l" t="t" r="r" b="b"/>
            <a:pathLst>
              <a:path w="8221315" h="1958168">
                <a:moveTo>
                  <a:pt x="0" y="0"/>
                </a:moveTo>
                <a:lnTo>
                  <a:pt x="8221315" y="0"/>
                </a:lnTo>
                <a:lnTo>
                  <a:pt x="8221315" y="1958167"/>
                </a:lnTo>
                <a:lnTo>
                  <a:pt x="0" y="1958167"/>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sp>
      <p:sp>
        <p:nvSpPr>
          <p:cNvPr id="8" name="Freeform 8"/>
          <p:cNvSpPr/>
          <p:nvPr/>
        </p:nvSpPr>
        <p:spPr>
          <a:xfrm rot="713378" flipH="1">
            <a:off x="6738206" y="216792"/>
            <a:ext cx="5480877" cy="1305445"/>
          </a:xfrm>
          <a:custGeom>
            <a:avLst/>
            <a:gdLst/>
            <a:ahLst/>
            <a:cxnLst/>
            <a:rect l="l" t="t" r="r" b="b"/>
            <a:pathLst>
              <a:path w="8221315" h="1958168">
                <a:moveTo>
                  <a:pt x="8221315" y="0"/>
                </a:moveTo>
                <a:lnTo>
                  <a:pt x="0" y="0"/>
                </a:lnTo>
                <a:lnTo>
                  <a:pt x="0" y="1958167"/>
                </a:lnTo>
                <a:lnTo>
                  <a:pt x="8221315" y="1958167"/>
                </a:lnTo>
                <a:lnTo>
                  <a:pt x="8221315" y="0"/>
                </a:lnTo>
                <a:close/>
              </a:path>
            </a:pathLst>
          </a:custGeom>
          <a:blipFill>
            <a:blip r:embed="rId4">
              <a:extLst>
                <a:ext uri="{96DAC541-7B7A-43D3-8B79-37D633B846F1}">
                  <asvg:svgBlip xmlns:asvg="http://schemas.microsoft.com/office/drawing/2016/SVG/main" r:embed="rId5"/>
                </a:ext>
              </a:extLst>
            </a:blip>
            <a:stretch>
              <a:fillRect/>
            </a:stretch>
          </a:blipFill>
        </p:spPr>
      </p:sp>
      <p:sp>
        <p:nvSpPr>
          <p:cNvPr id="9" name="Freeform 9"/>
          <p:cNvSpPr/>
          <p:nvPr/>
        </p:nvSpPr>
        <p:spPr>
          <a:xfrm>
            <a:off x="10778006" y="2072839"/>
            <a:ext cx="1051138" cy="888689"/>
          </a:xfrm>
          <a:custGeom>
            <a:avLst/>
            <a:gdLst/>
            <a:ahLst/>
            <a:cxnLst/>
            <a:rect l="l" t="t" r="r" b="b"/>
            <a:pathLst>
              <a:path w="1576707" h="1333034">
                <a:moveTo>
                  <a:pt x="0" y="0"/>
                </a:moveTo>
                <a:lnTo>
                  <a:pt x="1576707" y="0"/>
                </a:lnTo>
                <a:lnTo>
                  <a:pt x="1576707" y="1333035"/>
                </a:lnTo>
                <a:lnTo>
                  <a:pt x="0" y="1333035"/>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sp>
      <p:sp>
        <p:nvSpPr>
          <p:cNvPr id="10" name="Freeform 10"/>
          <p:cNvSpPr/>
          <p:nvPr/>
        </p:nvSpPr>
        <p:spPr>
          <a:xfrm rot="18149423">
            <a:off x="7503050" y="5555494"/>
            <a:ext cx="1139262" cy="963194"/>
          </a:xfrm>
          <a:custGeom>
            <a:avLst/>
            <a:gdLst/>
            <a:ahLst/>
            <a:cxnLst/>
            <a:rect l="l" t="t" r="r" b="b"/>
            <a:pathLst>
              <a:path w="1708893" h="1444791">
                <a:moveTo>
                  <a:pt x="0" y="0"/>
                </a:moveTo>
                <a:lnTo>
                  <a:pt x="1708893" y="0"/>
                </a:lnTo>
                <a:lnTo>
                  <a:pt x="1708893" y="1444791"/>
                </a:lnTo>
                <a:lnTo>
                  <a:pt x="0" y="1444791"/>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sp>
      <p:sp>
        <p:nvSpPr>
          <p:cNvPr id="11" name="Freeform 11"/>
          <p:cNvSpPr/>
          <p:nvPr/>
        </p:nvSpPr>
        <p:spPr>
          <a:xfrm rot="13622187">
            <a:off x="80120" y="2254531"/>
            <a:ext cx="1296407" cy="1096053"/>
          </a:xfrm>
          <a:custGeom>
            <a:avLst/>
            <a:gdLst/>
            <a:ahLst/>
            <a:cxnLst/>
            <a:rect l="l" t="t" r="r" b="b"/>
            <a:pathLst>
              <a:path w="1944611" h="1644080">
                <a:moveTo>
                  <a:pt x="0" y="0"/>
                </a:moveTo>
                <a:lnTo>
                  <a:pt x="1944611" y="0"/>
                </a:lnTo>
                <a:lnTo>
                  <a:pt x="1944611" y="1644080"/>
                </a:lnTo>
                <a:lnTo>
                  <a:pt x="0" y="1644080"/>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sp>
      <p:sp>
        <p:nvSpPr>
          <p:cNvPr id="12" name="Freeform 12"/>
          <p:cNvSpPr/>
          <p:nvPr/>
        </p:nvSpPr>
        <p:spPr>
          <a:xfrm rot="10549370">
            <a:off x="2919875" y="5643770"/>
            <a:ext cx="863108" cy="729719"/>
          </a:xfrm>
          <a:custGeom>
            <a:avLst/>
            <a:gdLst/>
            <a:ahLst/>
            <a:cxnLst/>
            <a:rect l="l" t="t" r="r" b="b"/>
            <a:pathLst>
              <a:path w="1294662" h="1094578">
                <a:moveTo>
                  <a:pt x="0" y="0"/>
                </a:moveTo>
                <a:lnTo>
                  <a:pt x="1294662" y="0"/>
                </a:lnTo>
                <a:lnTo>
                  <a:pt x="1294662" y="1094578"/>
                </a:lnTo>
                <a:lnTo>
                  <a:pt x="0" y="1094578"/>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sp>
      <p:sp>
        <p:nvSpPr>
          <p:cNvPr id="13" name="Freeform 13"/>
          <p:cNvSpPr/>
          <p:nvPr/>
        </p:nvSpPr>
        <p:spPr>
          <a:xfrm rot="17672419">
            <a:off x="212649" y="3568811"/>
            <a:ext cx="1883803" cy="1678297"/>
          </a:xfrm>
          <a:custGeom>
            <a:avLst/>
            <a:gdLst/>
            <a:ahLst/>
            <a:cxnLst/>
            <a:rect l="l" t="t" r="r" b="b"/>
            <a:pathLst>
              <a:path w="2825704" h="2517445">
                <a:moveTo>
                  <a:pt x="0" y="0"/>
                </a:moveTo>
                <a:lnTo>
                  <a:pt x="2825704" y="0"/>
                </a:lnTo>
                <a:lnTo>
                  <a:pt x="2825704" y="2517446"/>
                </a:lnTo>
                <a:lnTo>
                  <a:pt x="0" y="2517446"/>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sp>
      <p:sp>
        <p:nvSpPr>
          <p:cNvPr id="14" name="Freeform 14"/>
          <p:cNvSpPr/>
          <p:nvPr/>
        </p:nvSpPr>
        <p:spPr>
          <a:xfrm rot="17672419">
            <a:off x="10095548" y="3568811"/>
            <a:ext cx="1883803" cy="1678297"/>
          </a:xfrm>
          <a:custGeom>
            <a:avLst/>
            <a:gdLst/>
            <a:ahLst/>
            <a:cxnLst/>
            <a:rect l="l" t="t" r="r" b="b"/>
            <a:pathLst>
              <a:path w="2825704" h="2517445">
                <a:moveTo>
                  <a:pt x="0" y="0"/>
                </a:moveTo>
                <a:lnTo>
                  <a:pt x="2825704" y="0"/>
                </a:lnTo>
                <a:lnTo>
                  <a:pt x="2825704" y="2517446"/>
                </a:lnTo>
                <a:lnTo>
                  <a:pt x="0" y="2517446"/>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sp>
      <p:sp>
        <p:nvSpPr>
          <p:cNvPr id="15" name="Freeform 15"/>
          <p:cNvSpPr/>
          <p:nvPr/>
        </p:nvSpPr>
        <p:spPr>
          <a:xfrm rot="1207093">
            <a:off x="5367594" y="5581678"/>
            <a:ext cx="1153393" cy="1027569"/>
          </a:xfrm>
          <a:custGeom>
            <a:avLst/>
            <a:gdLst/>
            <a:ahLst/>
            <a:cxnLst/>
            <a:rect l="l" t="t" r="r" b="b"/>
            <a:pathLst>
              <a:path w="1730090" h="1541353">
                <a:moveTo>
                  <a:pt x="0" y="0"/>
                </a:moveTo>
                <a:lnTo>
                  <a:pt x="1730089" y="0"/>
                </a:lnTo>
                <a:lnTo>
                  <a:pt x="1730089" y="1541353"/>
                </a:lnTo>
                <a:lnTo>
                  <a:pt x="0" y="1541353"/>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sp>
      <p:sp>
        <p:nvSpPr>
          <p:cNvPr id="17" name="TextBox 16">
            <a:extLst>
              <a:ext uri="{FF2B5EF4-FFF2-40B4-BE49-F238E27FC236}">
                <a16:creationId xmlns:a16="http://schemas.microsoft.com/office/drawing/2014/main" id="{AF5DAE25-C72F-2DE7-7651-0AA0F5802197}"/>
              </a:ext>
            </a:extLst>
          </p:cNvPr>
          <p:cNvSpPr txBox="1"/>
          <p:nvPr/>
        </p:nvSpPr>
        <p:spPr>
          <a:xfrm>
            <a:off x="2574973" y="2517791"/>
            <a:ext cx="7028582" cy="32316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400" b="1">
                <a:solidFill>
                  <a:schemeClr val="tx2"/>
                </a:solidFill>
                <a:cs typeface="Arial"/>
              </a:rPr>
              <a:t>Congrats to the following teams &amp; patient partners! </a:t>
            </a:r>
            <a:r>
              <a:rPr lang="en-US" sz="2400">
                <a:solidFill>
                  <a:schemeClr val="tx2"/>
                </a:solidFill>
                <a:cs typeface="Arial"/>
              </a:rPr>
              <a:t>​</a:t>
            </a:r>
            <a:endParaRPr lang="en-US" sz="2400">
              <a:solidFill>
                <a:schemeClr val="tx2"/>
              </a:solidFill>
              <a:ea typeface="Calibri"/>
              <a:cs typeface="Arial"/>
            </a:endParaRPr>
          </a:p>
          <a:p>
            <a:pPr algn="ctr"/>
            <a:r>
              <a:rPr lang="en-US" sz="2000">
                <a:solidFill>
                  <a:schemeClr val="tx2"/>
                </a:solidFill>
                <a:ea typeface="Calibri"/>
                <a:cs typeface="Arial"/>
              </a:rPr>
              <a:t>Carle Foundation Hospital – Keshia Lewis</a:t>
            </a:r>
          </a:p>
          <a:p>
            <a:pPr algn="ctr"/>
            <a:r>
              <a:rPr lang="en-US" sz="2000">
                <a:solidFill>
                  <a:schemeClr val="tx2"/>
                </a:solidFill>
                <a:ea typeface="Calibri"/>
                <a:cs typeface="Arial"/>
              </a:rPr>
              <a:t>FHN Memorial Hospital – Maddy Brenner</a:t>
            </a:r>
            <a:endParaRPr lang="en-US">
              <a:solidFill>
                <a:schemeClr val="tx2"/>
              </a:solidFill>
            </a:endParaRPr>
          </a:p>
          <a:p>
            <a:pPr algn="ctr"/>
            <a:r>
              <a:rPr lang="en-US" sz="2000">
                <a:solidFill>
                  <a:schemeClr val="tx2"/>
                </a:solidFill>
                <a:ea typeface="Calibri"/>
                <a:cs typeface="Arial"/>
              </a:rPr>
              <a:t>MacNeal Hospital – Alexandra Belmontes</a:t>
            </a:r>
          </a:p>
          <a:p>
            <a:pPr algn="ctr"/>
            <a:r>
              <a:rPr lang="en-US" sz="2000">
                <a:solidFill>
                  <a:schemeClr val="tx2"/>
                </a:solidFill>
                <a:ea typeface="Calibri"/>
                <a:cs typeface="Arial"/>
              </a:rPr>
              <a:t>Northwest Community Hospital – Adrianne Musni</a:t>
            </a:r>
          </a:p>
          <a:p>
            <a:pPr algn="ctr"/>
            <a:r>
              <a:rPr lang="en-US" sz="2000">
                <a:solidFill>
                  <a:schemeClr val="tx2"/>
                </a:solidFill>
                <a:ea typeface="Calibri"/>
                <a:cs typeface="Arial"/>
              </a:rPr>
              <a:t>Northwestern Memorial Hospital – Kristi Noonan</a:t>
            </a:r>
          </a:p>
          <a:p>
            <a:pPr algn="ctr"/>
            <a:r>
              <a:rPr lang="en-US" sz="2000">
                <a:solidFill>
                  <a:schemeClr val="tx2"/>
                </a:solidFill>
                <a:ea typeface="Calibri"/>
                <a:cs typeface="Arial"/>
              </a:rPr>
              <a:t>Rush Copley Medical Center – Priscilla Rowan</a:t>
            </a:r>
          </a:p>
          <a:p>
            <a:pPr algn="ctr"/>
            <a:r>
              <a:rPr lang="en-US" sz="2000">
                <a:solidFill>
                  <a:schemeClr val="tx2"/>
                </a:solidFill>
                <a:ea typeface="Calibri"/>
                <a:cs typeface="Arial"/>
              </a:rPr>
              <a:t>UI Health – Kristal Pitts</a:t>
            </a:r>
          </a:p>
          <a:p>
            <a:pPr algn="ctr"/>
            <a:r>
              <a:rPr lang="en-US" sz="2000">
                <a:solidFill>
                  <a:schemeClr val="tx2"/>
                </a:solidFill>
                <a:ea typeface="Calibri"/>
                <a:cs typeface="Arial"/>
              </a:rPr>
              <a:t>Vista Medical Center – Robbie Myers</a:t>
            </a:r>
          </a:p>
          <a:p>
            <a:pPr marL="342900" indent="-342900">
              <a:buFont typeface="Wingdings"/>
              <a:buChar char="ü"/>
            </a:pPr>
            <a:endParaRPr lang="en-US" sz="2000">
              <a:solidFill>
                <a:schemeClr val="tx2"/>
              </a:solidFill>
              <a:ea typeface="Calibri"/>
              <a:cs typeface="Arial"/>
            </a:endParaRPr>
          </a:p>
        </p:txBody>
      </p:sp>
    </p:spTree>
    <p:extLst>
      <p:ext uri="{BB962C8B-B14F-4D97-AF65-F5344CB8AC3E}">
        <p14:creationId xmlns:p14="http://schemas.microsoft.com/office/powerpoint/2010/main" val="2755314715"/>
      </p:ext>
    </p:extLst>
  </p:cSld>
  <p:clrMapOvr>
    <a:masterClrMapping/>
  </p:clrMapOvr>
  <p:extLst>
    <p:ext uri="{6950BFC3-D8DA-4A85-94F7-54DA5524770B}">
      <p188:commentRel xmlns:p188="http://schemas.microsoft.com/office/powerpoint/2018/8/main" r:id="rId2"/>
    </p:ext>
  </p:extLs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41925E-6270-4A5A-68D8-D4C1B437C8FA}"/>
              </a:ext>
            </a:extLst>
          </p:cNvPr>
          <p:cNvSpPr>
            <a:spLocks noGrp="1"/>
          </p:cNvSpPr>
          <p:nvPr>
            <p:ph type="title"/>
          </p:nvPr>
        </p:nvSpPr>
        <p:spPr>
          <a:xfrm>
            <a:off x="609600" y="256268"/>
            <a:ext cx="6683829" cy="1347334"/>
          </a:xfrm>
        </p:spPr>
        <p:txBody>
          <a:bodyPr/>
          <a:lstStyle/>
          <a:p>
            <a:r>
              <a:rPr lang="en-US"/>
              <a:t>Momma's Voices Patient Family Partner Training</a:t>
            </a:r>
          </a:p>
        </p:txBody>
      </p:sp>
      <p:sp>
        <p:nvSpPr>
          <p:cNvPr id="3" name="Text Placeholder 2">
            <a:extLst>
              <a:ext uri="{FF2B5EF4-FFF2-40B4-BE49-F238E27FC236}">
                <a16:creationId xmlns:a16="http://schemas.microsoft.com/office/drawing/2014/main" id="{F4FF3B87-1F94-1012-A7BD-DDE5CD9D49C9}"/>
              </a:ext>
            </a:extLst>
          </p:cNvPr>
          <p:cNvSpPr>
            <a:spLocks noGrp="1"/>
          </p:cNvSpPr>
          <p:nvPr>
            <p:ph type="body" idx="1"/>
          </p:nvPr>
        </p:nvSpPr>
        <p:spPr>
          <a:xfrm>
            <a:off x="609600" y="1597025"/>
            <a:ext cx="10972800" cy="4351338"/>
          </a:xfrm>
        </p:spPr>
        <p:txBody>
          <a:bodyPr/>
          <a:lstStyle/>
          <a:p>
            <a:r>
              <a:rPr lang="en-US" sz="2800"/>
              <a:t>FREE for the first 20 patient partners identified ($450 value)!</a:t>
            </a:r>
          </a:p>
          <a:p>
            <a:r>
              <a:rPr lang="en-US" sz="2800"/>
              <a:t>Please share the name and contact information of your patient partner with ILPQC to get access to this free training for your patient partner</a:t>
            </a:r>
          </a:p>
        </p:txBody>
      </p:sp>
      <p:sp>
        <p:nvSpPr>
          <p:cNvPr id="4" name="Slide Number Placeholder 3">
            <a:extLst>
              <a:ext uri="{FF2B5EF4-FFF2-40B4-BE49-F238E27FC236}">
                <a16:creationId xmlns:a16="http://schemas.microsoft.com/office/drawing/2014/main" id="{F50258B5-5AC8-4054-E859-CA8D96E840B3}"/>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a:t>18</a:t>
            </a:fld>
            <a:endParaRPr lang="en-US"/>
          </a:p>
        </p:txBody>
      </p:sp>
      <p:pic>
        <p:nvPicPr>
          <p:cNvPr id="5" name="Picture 4" descr="A group of women sitting in chairs&#10;&#10;Description automatically generated">
            <a:extLst>
              <a:ext uri="{FF2B5EF4-FFF2-40B4-BE49-F238E27FC236}">
                <a16:creationId xmlns:a16="http://schemas.microsoft.com/office/drawing/2014/main" id="{DCCBF0D8-BA7D-4A51-FA95-0E8974F35014}"/>
              </a:ext>
            </a:extLst>
          </p:cNvPr>
          <p:cNvPicPr>
            <a:picLocks noChangeAspect="1"/>
          </p:cNvPicPr>
          <p:nvPr/>
        </p:nvPicPr>
        <p:blipFill>
          <a:blip r:embed="rId2"/>
          <a:stretch>
            <a:fillRect/>
          </a:stretch>
        </p:blipFill>
        <p:spPr>
          <a:xfrm>
            <a:off x="2166257" y="3125614"/>
            <a:ext cx="7859486" cy="3045170"/>
          </a:xfrm>
          <a:prstGeom prst="rect">
            <a:avLst/>
          </a:prstGeom>
        </p:spPr>
      </p:pic>
    </p:spTree>
    <p:extLst>
      <p:ext uri="{BB962C8B-B14F-4D97-AF65-F5344CB8AC3E}">
        <p14:creationId xmlns:p14="http://schemas.microsoft.com/office/powerpoint/2010/main" val="79921288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1347"/>
        <p:cNvGrpSpPr/>
        <p:nvPr/>
      </p:nvGrpSpPr>
      <p:grpSpPr>
        <a:xfrm>
          <a:off x="0" y="0"/>
          <a:ext cx="0" cy="0"/>
          <a:chOff x="0" y="0"/>
          <a:chExt cx="0" cy="0"/>
        </a:xfrm>
      </p:grpSpPr>
      <p:pic>
        <p:nvPicPr>
          <p:cNvPr id="11348" name="Google Shape;11348;p28"/>
          <p:cNvPicPr preferRelativeResize="0"/>
          <p:nvPr/>
        </p:nvPicPr>
        <p:blipFill rotWithShape="1">
          <a:blip r:embed="rId3">
            <a:alphaModFix/>
          </a:blip>
          <a:srcRect/>
          <a:stretch/>
        </p:blipFill>
        <p:spPr>
          <a:xfrm>
            <a:off x="20" y="10"/>
            <a:ext cx="12191980" cy="6857990"/>
          </a:xfrm>
          <a:prstGeom prst="rect">
            <a:avLst/>
          </a:prstGeom>
          <a:noFill/>
          <a:ln>
            <a:noFill/>
          </a:ln>
        </p:spPr>
      </p:pic>
      <p:sp>
        <p:nvSpPr>
          <p:cNvPr id="11349" name="Google Shape;11349;p28"/>
          <p:cNvSpPr/>
          <p:nvPr/>
        </p:nvSpPr>
        <p:spPr>
          <a:xfrm>
            <a:off x="0" y="0"/>
            <a:ext cx="12192000" cy="6858000"/>
          </a:xfrm>
          <a:prstGeom prst="rect">
            <a:avLst/>
          </a:prstGeom>
          <a:gradFill>
            <a:gsLst>
              <a:gs pos="0">
                <a:srgbClr val="F3F6FB">
                  <a:alpha val="67843"/>
                </a:srgbClr>
              </a:gs>
              <a:gs pos="10000">
                <a:srgbClr val="F3F6FB">
                  <a:alpha val="67843"/>
                </a:srgbClr>
              </a:gs>
              <a:gs pos="85000">
                <a:srgbClr val="F3F6FB">
                  <a:alpha val="96862"/>
                </a:srgbClr>
              </a:gs>
              <a:gs pos="100000">
                <a:srgbClr val="F3F6FB">
                  <a:alpha val="96862"/>
                </a:srgbClr>
              </a:gs>
            </a:gsLst>
            <a:path path="circle">
              <a:fillToRect l="50000" t="50000" r="50000" b="50000"/>
            </a:path>
            <a:tileRect/>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50" name="Google Shape;11350;p28"/>
          <p:cNvSpPr txBox="1">
            <a:spLocks noGrp="1"/>
          </p:cNvSpPr>
          <p:nvPr>
            <p:ph type="title"/>
          </p:nvPr>
        </p:nvSpPr>
        <p:spPr>
          <a:xfrm>
            <a:off x="242877" y="-181214"/>
            <a:ext cx="10515600" cy="1325563"/>
          </a:xfrm>
          <a:prstGeom prst="rect">
            <a:avLst/>
          </a:prstGeom>
          <a:noFill/>
          <a:ln>
            <a:noFill/>
          </a:ln>
        </p:spPr>
        <p:txBody>
          <a:bodyPr spcFirstLastPara="1" wrap="square" lIns="91425" tIns="45700" rIns="91425" bIns="45700" anchor="ctr" anchorCtr="0">
            <a:normAutofit/>
          </a:bodyPr>
          <a:lstStyle/>
          <a:p>
            <a:pPr>
              <a:buSzPts val="3600"/>
            </a:pPr>
            <a:r>
              <a:rPr lang="en-US"/>
              <a:t>Our ILPQC goal for Patient Engagement in 2024</a:t>
            </a:r>
            <a:endParaRPr/>
          </a:p>
        </p:txBody>
      </p:sp>
      <p:sp>
        <p:nvSpPr>
          <p:cNvPr id="11351" name="Google Shape;11351;p28"/>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rmAutofit/>
          </a:bodyPr>
          <a:lstStyle/>
          <a:p>
            <a:pPr marL="0" lvl="0" indent="0" algn="ctr" rtl="0">
              <a:spcBef>
                <a:spcPts val="0"/>
              </a:spcBef>
              <a:spcAft>
                <a:spcPts val="0"/>
              </a:spcAft>
              <a:buNone/>
            </a:pPr>
            <a:r>
              <a:rPr lang="en-US"/>
              <a:t>Illinois Perinatal Quality Collaborative</a:t>
            </a:r>
            <a:endParaRPr/>
          </a:p>
        </p:txBody>
      </p:sp>
      <p:sp>
        <p:nvSpPr>
          <p:cNvPr id="11352" name="Google Shape;11352;p2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rmAutofit/>
          </a:bodyPr>
          <a:lstStyle/>
          <a:p>
            <a:pPr marL="0" lvl="0" indent="0" algn="r" rtl="0">
              <a:spcBef>
                <a:spcPts val="0"/>
              </a:spcBef>
              <a:spcAft>
                <a:spcPts val="0"/>
              </a:spcAft>
              <a:buNone/>
            </a:pPr>
            <a:fld id="{00000000-1234-1234-1234-123412341234}" type="slidenum">
              <a:rPr lang="en-US"/>
              <a:t>19</a:t>
            </a:fld>
            <a:endParaRPr/>
          </a:p>
        </p:txBody>
      </p:sp>
      <p:grpSp>
        <p:nvGrpSpPr>
          <p:cNvPr id="11353" name="Google Shape;11353;p28"/>
          <p:cNvGrpSpPr/>
          <p:nvPr/>
        </p:nvGrpSpPr>
        <p:grpSpPr>
          <a:xfrm>
            <a:off x="241540" y="958230"/>
            <a:ext cx="11716108" cy="5396014"/>
            <a:chOff x="0" y="2435"/>
            <a:chExt cx="11716108" cy="5396014"/>
          </a:xfrm>
        </p:grpSpPr>
        <p:sp>
          <p:nvSpPr>
            <p:cNvPr id="11354" name="Google Shape;11354;p28"/>
            <p:cNvSpPr/>
            <p:nvPr/>
          </p:nvSpPr>
          <p:spPr>
            <a:xfrm>
              <a:off x="0" y="3259720"/>
              <a:ext cx="11716108" cy="2138729"/>
            </a:xfrm>
            <a:prstGeom prst="rect">
              <a:avLst/>
            </a:prstGeom>
            <a:gradFill>
              <a:gsLst>
                <a:gs pos="0">
                  <a:srgbClr val="F7789B"/>
                </a:gs>
                <a:gs pos="50000">
                  <a:srgbClr val="FC5C8B"/>
                </a:gs>
                <a:gs pos="100000">
                  <a:srgbClr val="E34976"/>
                </a:gs>
              </a:gsLst>
              <a:lin ang="540000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5" name="Google Shape;11355;p28"/>
            <p:cNvSpPr txBox="1"/>
            <p:nvPr/>
          </p:nvSpPr>
          <p:spPr>
            <a:xfrm>
              <a:off x="0" y="3259720"/>
              <a:ext cx="11716108" cy="1154913"/>
            </a:xfrm>
            <a:prstGeom prst="rect">
              <a:avLst/>
            </a:prstGeom>
            <a:noFill/>
            <a:ln>
              <a:noFill/>
            </a:ln>
          </p:spPr>
          <p:txBody>
            <a:bodyPr spcFirstLastPara="1" wrap="square" lIns="206225" tIns="206225" rIns="206225" bIns="206225" anchor="ctr" anchorCtr="0">
              <a:noAutofit/>
            </a:bodyPr>
            <a:lstStyle/>
            <a:p>
              <a:pPr marL="0" marR="0" lvl="0" indent="0" algn="ctr" rtl="0">
                <a:lnSpc>
                  <a:spcPct val="90000"/>
                </a:lnSpc>
                <a:spcBef>
                  <a:spcPts val="0"/>
                </a:spcBef>
                <a:spcAft>
                  <a:spcPts val="0"/>
                </a:spcAft>
                <a:buClr>
                  <a:schemeClr val="lt1"/>
                </a:buClr>
                <a:buSzPts val="2900"/>
                <a:buFont typeface="Calibri"/>
                <a:buNone/>
              </a:pPr>
              <a:r>
                <a:rPr lang="en-US" sz="2900" b="0" i="0">
                  <a:solidFill>
                    <a:schemeClr val="lt1"/>
                  </a:solidFill>
                  <a:latin typeface="Calibri"/>
                  <a:ea typeface="Calibri"/>
                  <a:cs typeface="Calibri"/>
                  <a:sym typeface="Calibri"/>
                </a:rPr>
                <a:t>Every team to engage a Patient Partner to work with their QI team</a:t>
              </a:r>
              <a:endParaRPr sz="2900">
                <a:solidFill>
                  <a:schemeClr val="lt1"/>
                </a:solidFill>
                <a:latin typeface="Calibri"/>
                <a:ea typeface="Calibri"/>
                <a:cs typeface="Calibri"/>
                <a:sym typeface="Calibri"/>
              </a:endParaRPr>
            </a:p>
          </p:txBody>
        </p:sp>
        <p:sp>
          <p:nvSpPr>
            <p:cNvPr id="11356" name="Google Shape;11356;p28"/>
            <p:cNvSpPr/>
            <p:nvPr/>
          </p:nvSpPr>
          <p:spPr>
            <a:xfrm>
              <a:off x="0" y="4371859"/>
              <a:ext cx="11716108" cy="983815"/>
            </a:xfrm>
            <a:prstGeom prst="rect">
              <a:avLst/>
            </a:prstGeom>
            <a:solidFill>
              <a:srgbClr val="FBD2DB">
                <a:alpha val="89803"/>
              </a:srgbClr>
            </a:solidFill>
            <a:ln w="9525" cap="flat" cmpd="sng">
              <a:solidFill>
                <a:srgbClr val="FBD2DB">
                  <a:alpha val="89803"/>
                </a:srgbClr>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7" name="Google Shape;11357;p28"/>
            <p:cNvSpPr txBox="1"/>
            <p:nvPr/>
          </p:nvSpPr>
          <p:spPr>
            <a:xfrm>
              <a:off x="0" y="4371859"/>
              <a:ext cx="11716108" cy="983815"/>
            </a:xfrm>
            <a:prstGeom prst="rect">
              <a:avLst/>
            </a:prstGeom>
            <a:noFill/>
            <a:ln>
              <a:noFill/>
            </a:ln>
          </p:spPr>
          <p:txBody>
            <a:bodyPr spcFirstLastPara="1" wrap="square" lIns="113775" tIns="20300" rIns="113775" bIns="20300" anchor="ctr" anchorCtr="0">
              <a:noAutofit/>
            </a:bodyPr>
            <a:lstStyle/>
            <a:p>
              <a:pPr marL="285750" indent="-285750" algn="ctr">
                <a:lnSpc>
                  <a:spcPct val="90000"/>
                </a:lnSpc>
                <a:buClr>
                  <a:schemeClr val="dk1"/>
                </a:buClr>
                <a:buSzPts val="1600"/>
                <a:buFont typeface="Arial"/>
                <a:buChar char="•"/>
              </a:pPr>
              <a:r>
                <a:rPr lang="en-US" sz="1600">
                  <a:solidFill>
                    <a:schemeClr val="dk1"/>
                  </a:solidFill>
                  <a:latin typeface="Calibri"/>
                  <a:ea typeface="Calibri"/>
                  <a:cs typeface="Calibri"/>
                  <a:sym typeface="Calibri"/>
                </a:rPr>
                <a:t>Identify</a:t>
              </a:r>
              <a:r>
                <a:rPr lang="en-US" sz="1600" b="0" i="0">
                  <a:solidFill>
                    <a:schemeClr val="dk1"/>
                  </a:solidFill>
                  <a:latin typeface="Calibri"/>
                  <a:ea typeface="Calibri"/>
                  <a:cs typeface="Calibri"/>
                  <a:sym typeface="Calibri"/>
                </a:rPr>
                <a:t> patients through Respectful Care Breakfasts</a:t>
              </a:r>
              <a:r>
                <a:rPr lang="en-US" sz="1600">
                  <a:solidFill>
                    <a:schemeClr val="dk1"/>
                  </a:solidFill>
                  <a:latin typeface="Calibri"/>
                  <a:ea typeface="Calibri"/>
                  <a:cs typeface="Calibri"/>
                  <a:sym typeface="Calibri"/>
                </a:rPr>
                <a:t> and community events</a:t>
              </a:r>
            </a:p>
            <a:p>
              <a:pPr marL="285750" indent="-285750" algn="ctr">
                <a:lnSpc>
                  <a:spcPct val="90000"/>
                </a:lnSpc>
                <a:buClr>
                  <a:schemeClr val="dk1"/>
                </a:buClr>
                <a:buSzPts val="1600"/>
                <a:buFont typeface="Arial"/>
                <a:buChar char="•"/>
              </a:pPr>
              <a:r>
                <a:rPr lang="en-US" sz="1600">
                  <a:solidFill>
                    <a:schemeClr val="dk1"/>
                  </a:solidFill>
                  <a:latin typeface="Calibri"/>
                  <a:ea typeface="Calibri"/>
                  <a:cs typeface="Calibri"/>
                </a:rPr>
                <a:t>ILP</a:t>
              </a:r>
              <a:r>
                <a:rPr lang="en-US" sz="1600">
                  <a:solidFill>
                    <a:schemeClr val="dk1"/>
                  </a:solidFill>
                  <a:latin typeface="Calibri"/>
                  <a:cs typeface="Calibri"/>
                </a:rPr>
                <a:t>QC is offering a FREE Momma's Voices Patient &amp; Family Partner Training to each of the first 20 patient partners identified!</a:t>
              </a:r>
            </a:p>
          </p:txBody>
        </p:sp>
        <p:sp>
          <p:nvSpPr>
            <p:cNvPr id="11358" name="Google Shape;11358;p28"/>
            <p:cNvSpPr/>
            <p:nvPr/>
          </p:nvSpPr>
          <p:spPr>
            <a:xfrm rot="10800000">
              <a:off x="0" y="2435"/>
              <a:ext cx="11716108" cy="3289365"/>
            </a:xfrm>
            <a:prstGeom prst="upArrowCallout">
              <a:avLst>
                <a:gd name="adj1" fmla="val 25000"/>
                <a:gd name="adj2" fmla="val 25000"/>
                <a:gd name="adj3" fmla="val 25000"/>
                <a:gd name="adj4" fmla="val 64977"/>
              </a:avLst>
            </a:prstGeom>
            <a:gradFill>
              <a:gsLst>
                <a:gs pos="0">
                  <a:srgbClr val="F79178"/>
                </a:gs>
                <a:gs pos="50000">
                  <a:srgbClr val="FC7D5C"/>
                </a:gs>
                <a:gs pos="100000">
                  <a:srgbClr val="E36A49"/>
                </a:gs>
              </a:gsLst>
              <a:lin ang="540000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59" name="Google Shape;11359;p28"/>
            <p:cNvSpPr txBox="1"/>
            <p:nvPr/>
          </p:nvSpPr>
          <p:spPr>
            <a:xfrm>
              <a:off x="0" y="2435"/>
              <a:ext cx="11716108" cy="1154567"/>
            </a:xfrm>
            <a:prstGeom prst="rect">
              <a:avLst/>
            </a:prstGeom>
            <a:noFill/>
            <a:ln>
              <a:noFill/>
            </a:ln>
          </p:spPr>
          <p:txBody>
            <a:bodyPr spcFirstLastPara="1" wrap="square" lIns="206225" tIns="206225" rIns="206225" bIns="206225" anchor="ctr" anchorCtr="0">
              <a:noAutofit/>
            </a:bodyPr>
            <a:lstStyle/>
            <a:p>
              <a:pPr marL="0" marR="0" lvl="0" indent="0" algn="ctr" rtl="0">
                <a:lnSpc>
                  <a:spcPct val="90000"/>
                </a:lnSpc>
                <a:spcBef>
                  <a:spcPts val="0"/>
                </a:spcBef>
                <a:spcAft>
                  <a:spcPts val="0"/>
                </a:spcAft>
                <a:buClr>
                  <a:schemeClr val="lt1"/>
                </a:buClr>
                <a:buSzPts val="2900"/>
                <a:buFont typeface="Calibri"/>
                <a:buNone/>
              </a:pPr>
              <a:r>
                <a:rPr lang="en-US" sz="2900" b="0" i="0">
                  <a:solidFill>
                    <a:schemeClr val="lt1"/>
                  </a:solidFill>
                  <a:latin typeface="Calibri"/>
                  <a:ea typeface="Calibri"/>
                  <a:cs typeface="Calibri"/>
                  <a:sym typeface="Calibri"/>
                </a:rPr>
                <a:t>Every team to hold a Respectful Care Breakfast </a:t>
              </a:r>
              <a:endParaRPr sz="2900">
                <a:solidFill>
                  <a:schemeClr val="lt1"/>
                </a:solidFill>
                <a:latin typeface="Calibri"/>
                <a:ea typeface="Calibri"/>
                <a:cs typeface="Calibri"/>
                <a:sym typeface="Calibri"/>
              </a:endParaRPr>
            </a:p>
          </p:txBody>
        </p:sp>
        <p:sp>
          <p:nvSpPr>
            <p:cNvPr id="11360" name="Google Shape;11360;p28"/>
            <p:cNvSpPr/>
            <p:nvPr/>
          </p:nvSpPr>
          <p:spPr>
            <a:xfrm>
              <a:off x="5720" y="1157002"/>
              <a:ext cx="3901555" cy="983520"/>
            </a:xfrm>
            <a:prstGeom prst="rect">
              <a:avLst/>
            </a:prstGeom>
            <a:solidFill>
              <a:srgbClr val="FBD8D2">
                <a:alpha val="89803"/>
              </a:srgbClr>
            </a:solidFill>
            <a:ln w="9525" cap="flat" cmpd="sng">
              <a:solidFill>
                <a:srgbClr val="FBD8D2">
                  <a:alpha val="89803"/>
                </a:srgbClr>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1" name="Google Shape;11361;p28"/>
            <p:cNvSpPr txBox="1"/>
            <p:nvPr/>
          </p:nvSpPr>
          <p:spPr>
            <a:xfrm>
              <a:off x="5720" y="1157002"/>
              <a:ext cx="3901555" cy="983520"/>
            </a:xfrm>
            <a:prstGeom prst="rect">
              <a:avLst/>
            </a:prstGeom>
            <a:noFill/>
            <a:ln>
              <a:noFill/>
            </a:ln>
          </p:spPr>
          <p:txBody>
            <a:bodyPr spcFirstLastPara="1" wrap="square" lIns="113775" tIns="20300" rIns="113775" bIns="20300" anchor="ctr" anchorCtr="0">
              <a:noAutofit/>
            </a:bodyPr>
            <a:lstStyle/>
            <a:p>
              <a:pPr algn="ctr">
                <a:lnSpc>
                  <a:spcPct val="90000"/>
                </a:lnSpc>
                <a:buClr>
                  <a:schemeClr val="dk1"/>
                </a:buClr>
                <a:buSzPts val="1600"/>
                <a:buFont typeface="Calibri"/>
              </a:pPr>
              <a:r>
                <a:rPr lang="en-US" sz="1600">
                  <a:solidFill>
                    <a:schemeClr val="dk1"/>
                  </a:solidFill>
                  <a:latin typeface="Calibri"/>
                  <a:ea typeface="Calibri"/>
                  <a:cs typeface="Calibri"/>
                </a:rPr>
                <a:t>Invite patients, community partners, and clinical staff.</a:t>
              </a:r>
            </a:p>
          </p:txBody>
        </p:sp>
        <p:sp>
          <p:nvSpPr>
            <p:cNvPr id="11362" name="Google Shape;11362;p28"/>
            <p:cNvSpPr/>
            <p:nvPr/>
          </p:nvSpPr>
          <p:spPr>
            <a:xfrm>
              <a:off x="3907276" y="1157002"/>
              <a:ext cx="3901555" cy="983520"/>
            </a:xfrm>
            <a:prstGeom prst="rect">
              <a:avLst/>
            </a:prstGeom>
            <a:solidFill>
              <a:srgbClr val="FEF0C8">
                <a:alpha val="89803"/>
              </a:srgbClr>
            </a:solidFill>
            <a:ln w="9525" cap="flat" cmpd="sng">
              <a:solidFill>
                <a:srgbClr val="FEF0C8">
                  <a:alpha val="89803"/>
                </a:srgbClr>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3" name="Google Shape;11363;p28"/>
            <p:cNvSpPr txBox="1"/>
            <p:nvPr/>
          </p:nvSpPr>
          <p:spPr>
            <a:xfrm>
              <a:off x="3907276" y="1157002"/>
              <a:ext cx="3901555" cy="983520"/>
            </a:xfrm>
            <a:prstGeom prst="rect">
              <a:avLst/>
            </a:prstGeom>
            <a:noFill/>
            <a:ln>
              <a:noFill/>
            </a:ln>
          </p:spPr>
          <p:txBody>
            <a:bodyPr spcFirstLastPara="1" wrap="square" lIns="113775" tIns="20300" rIns="113775" bIns="20300" anchor="ctr" anchorCtr="0">
              <a:noAutofit/>
            </a:bodyPr>
            <a:lstStyle/>
            <a:p>
              <a:pPr algn="ctr">
                <a:lnSpc>
                  <a:spcPct val="90000"/>
                </a:lnSpc>
                <a:buClr>
                  <a:schemeClr val="dk1"/>
                </a:buClr>
                <a:buSzPts val="1600"/>
              </a:pPr>
              <a:r>
                <a:rPr lang="en-US" sz="1600">
                  <a:solidFill>
                    <a:schemeClr val="dk1"/>
                  </a:solidFill>
                  <a:latin typeface="Calibri"/>
                  <a:ea typeface="Calibri"/>
                  <a:cs typeface="Calibri"/>
                </a:rPr>
                <a:t>Ask attendees to share their perspectives, experiences, and recommendations to promote respectful care.</a:t>
              </a:r>
            </a:p>
          </p:txBody>
        </p:sp>
        <p:sp>
          <p:nvSpPr>
            <p:cNvPr id="11364" name="Google Shape;11364;p28"/>
            <p:cNvSpPr/>
            <p:nvPr/>
          </p:nvSpPr>
          <p:spPr>
            <a:xfrm>
              <a:off x="7808831" y="1157002"/>
              <a:ext cx="3901555" cy="983520"/>
            </a:xfrm>
            <a:prstGeom prst="rect">
              <a:avLst/>
            </a:prstGeom>
            <a:solidFill>
              <a:srgbClr val="D2DCFC">
                <a:alpha val="89803"/>
              </a:srgbClr>
            </a:solidFill>
            <a:ln w="9525" cap="flat" cmpd="sng">
              <a:solidFill>
                <a:srgbClr val="D2DCFC">
                  <a:alpha val="89803"/>
                </a:srgbClr>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5" name="Google Shape;11365;p28"/>
            <p:cNvSpPr txBox="1"/>
            <p:nvPr/>
          </p:nvSpPr>
          <p:spPr>
            <a:xfrm>
              <a:off x="7808831" y="1157002"/>
              <a:ext cx="3901555" cy="983520"/>
            </a:xfrm>
            <a:prstGeom prst="rect">
              <a:avLst/>
            </a:prstGeom>
            <a:noFill/>
            <a:ln>
              <a:noFill/>
            </a:ln>
          </p:spPr>
          <p:txBody>
            <a:bodyPr spcFirstLastPara="1" wrap="square" lIns="113775" tIns="20300" rIns="113775" bIns="20300" anchor="ctr" anchorCtr="0">
              <a:noAutofit/>
            </a:bodyPr>
            <a:lstStyle/>
            <a:p>
              <a:pPr algn="ctr">
                <a:lnSpc>
                  <a:spcPct val="90000"/>
                </a:lnSpc>
                <a:buClr>
                  <a:schemeClr val="dk1"/>
                </a:buClr>
                <a:buSzPts val="1600"/>
              </a:pPr>
              <a:r>
                <a:rPr lang="en-US" sz="1600">
                  <a:solidFill>
                    <a:schemeClr val="dk1"/>
                  </a:solidFill>
                  <a:latin typeface="Calibri"/>
                  <a:ea typeface="Calibri"/>
                  <a:cs typeface="Calibri"/>
                </a:rPr>
                <a:t>Celebrate respectful care and patient voices with attendees and enjoy breakfast and discussion together!</a:t>
              </a:r>
            </a:p>
          </p:txBody>
        </p:sp>
      </p:grpSp>
    </p:spTree>
    <p:extLst>
      <p:ext uri="{BB962C8B-B14F-4D97-AF65-F5344CB8AC3E}">
        <p14:creationId xmlns:p14="http://schemas.microsoft.com/office/powerpoint/2010/main" val="33734229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D742501-F937-8041-84E5-748F96AE991B}"/>
              </a:ext>
            </a:extLst>
          </p:cNvPr>
          <p:cNvSpPr>
            <a:spLocks noGrp="1"/>
          </p:cNvSpPr>
          <p:nvPr>
            <p:ph type="ctrTitle"/>
          </p:nvPr>
        </p:nvSpPr>
        <p:spPr>
          <a:xfrm>
            <a:off x="1140628" y="1816585"/>
            <a:ext cx="6666473" cy="2267013"/>
          </a:xfrm>
        </p:spPr>
        <p:txBody>
          <a:bodyPr/>
          <a:lstStyle/>
          <a:p>
            <a:r>
              <a:rPr lang="en-US" i="1" dirty="0">
                <a:ea typeface="+mj-lt"/>
                <a:cs typeface="+mj-lt"/>
              </a:rPr>
              <a:t>Patient, Family &amp; Community Engagement </a:t>
            </a:r>
            <a:br>
              <a:rPr lang="en-US" i="1" dirty="0">
                <a:ea typeface="+mj-lt"/>
                <a:cs typeface="+mj-lt"/>
              </a:rPr>
            </a:br>
            <a:r>
              <a:rPr lang="en-US" i="1" dirty="0">
                <a:ea typeface="+mj-lt"/>
                <a:cs typeface="+mj-lt"/>
              </a:rPr>
              <a:t>Breakout Session</a:t>
            </a:r>
            <a:endParaRPr lang="en-US" dirty="0">
              <a:ea typeface="Lato Medium"/>
              <a:cs typeface="Lato Medium"/>
            </a:endParaRPr>
          </a:p>
        </p:txBody>
      </p:sp>
      <p:sp>
        <p:nvSpPr>
          <p:cNvPr id="4" name="Subtitle 3">
            <a:extLst>
              <a:ext uri="{FF2B5EF4-FFF2-40B4-BE49-F238E27FC236}">
                <a16:creationId xmlns:a16="http://schemas.microsoft.com/office/drawing/2014/main" id="{19922563-64D6-2A4E-B048-13AC25DB45AD}"/>
              </a:ext>
            </a:extLst>
          </p:cNvPr>
          <p:cNvSpPr>
            <a:spLocks noGrp="1"/>
          </p:cNvSpPr>
          <p:nvPr>
            <p:ph type="subTitle" idx="1"/>
          </p:nvPr>
        </p:nvSpPr>
        <p:spPr>
          <a:xfrm>
            <a:off x="1133554" y="3592552"/>
            <a:ext cx="5194433" cy="986569"/>
          </a:xfrm>
        </p:spPr>
        <p:txBody>
          <a:bodyPr vert="horz" lIns="91440" tIns="45720" rIns="91440" bIns="45720" rtlCol="0" anchor="t">
            <a:noAutofit/>
          </a:bodyPr>
          <a:lstStyle/>
          <a:p>
            <a:endParaRPr lang="en-US">
              <a:ea typeface="+mn-lt"/>
              <a:cs typeface="+mn-lt"/>
            </a:endParaRPr>
          </a:p>
          <a:p>
            <a:r>
              <a:rPr lang="en-US" i="1" dirty="0">
                <a:ea typeface="+mn-lt"/>
                <a:cs typeface="+mn-lt"/>
              </a:rPr>
              <a:t>Thursday November 2nd, 2:45-4:15 PM </a:t>
            </a:r>
            <a:endParaRPr lang="en-US" i="1" dirty="0"/>
          </a:p>
        </p:txBody>
      </p:sp>
      <p:sp>
        <p:nvSpPr>
          <p:cNvPr id="7" name="Picture Placeholder 6">
            <a:extLst>
              <a:ext uri="{FF2B5EF4-FFF2-40B4-BE49-F238E27FC236}">
                <a16:creationId xmlns:a16="http://schemas.microsoft.com/office/drawing/2014/main" id="{2E1A63C7-0CF6-5E5A-B805-30BC67432CC9}"/>
              </a:ext>
            </a:extLst>
          </p:cNvPr>
          <p:cNvSpPr>
            <a:spLocks noGrp="1"/>
          </p:cNvSpPr>
          <p:nvPr>
            <p:ph type="pic" sz="quarter" idx="11"/>
          </p:nvPr>
        </p:nvSpPr>
        <p:spPr/>
      </p:sp>
    </p:spTree>
    <p:extLst>
      <p:ext uri="{BB962C8B-B14F-4D97-AF65-F5344CB8AC3E}">
        <p14:creationId xmlns:p14="http://schemas.microsoft.com/office/powerpoint/2010/main" val="182395154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EDEAE5"/>
        </a:solidFill>
        <a:effectLst/>
      </p:bgPr>
    </p:bg>
    <p:spTree>
      <p:nvGrpSpPr>
        <p:cNvPr id="1" name=""/>
        <p:cNvGrpSpPr/>
        <p:nvPr/>
      </p:nvGrpSpPr>
      <p:grpSpPr>
        <a:xfrm>
          <a:off x="0" y="0"/>
          <a:ext cx="0" cy="0"/>
          <a:chOff x="0" y="0"/>
          <a:chExt cx="0" cy="0"/>
        </a:xfrm>
      </p:grpSpPr>
      <p:sp>
        <p:nvSpPr>
          <p:cNvPr id="2" name="AutoShape 2"/>
          <p:cNvSpPr/>
          <p:nvPr/>
        </p:nvSpPr>
        <p:spPr>
          <a:xfrm>
            <a:off x="4569143" y="1657420"/>
            <a:ext cx="8249499" cy="0"/>
          </a:xfrm>
          <a:prstGeom prst="line">
            <a:avLst/>
          </a:prstGeom>
          <a:ln w="28575" cap="flat">
            <a:solidFill>
              <a:srgbClr val="7D704C"/>
            </a:solidFill>
            <a:prstDash val="solid"/>
            <a:headEnd type="none" w="sm" len="sm"/>
            <a:tailEnd type="none" w="sm" len="sm"/>
          </a:ln>
        </p:spPr>
      </p:sp>
      <p:sp>
        <p:nvSpPr>
          <p:cNvPr id="3" name="AutoShape 3"/>
          <p:cNvSpPr/>
          <p:nvPr/>
        </p:nvSpPr>
        <p:spPr>
          <a:xfrm flipH="1">
            <a:off x="4578667" y="-342375"/>
            <a:ext cx="0" cy="7542749"/>
          </a:xfrm>
          <a:prstGeom prst="line">
            <a:avLst/>
          </a:prstGeom>
          <a:ln w="28575" cap="flat">
            <a:solidFill>
              <a:srgbClr val="7D704C"/>
            </a:solidFill>
            <a:prstDash val="solid"/>
            <a:headEnd type="none" w="sm" len="sm"/>
            <a:tailEnd type="none" w="sm" len="sm"/>
          </a:ln>
        </p:spPr>
      </p:sp>
      <p:sp>
        <p:nvSpPr>
          <p:cNvPr id="4" name="AutoShape 4"/>
          <p:cNvSpPr/>
          <p:nvPr/>
        </p:nvSpPr>
        <p:spPr>
          <a:xfrm>
            <a:off x="4569143" y="2894799"/>
            <a:ext cx="8249499" cy="0"/>
          </a:xfrm>
          <a:prstGeom prst="line">
            <a:avLst/>
          </a:prstGeom>
          <a:ln w="28575" cap="flat">
            <a:solidFill>
              <a:srgbClr val="7D704C"/>
            </a:solidFill>
            <a:prstDash val="solid"/>
            <a:headEnd type="none" w="sm" len="sm"/>
            <a:tailEnd type="none" w="sm" len="sm"/>
          </a:ln>
        </p:spPr>
      </p:sp>
      <p:sp>
        <p:nvSpPr>
          <p:cNvPr id="6" name="Freeform 6"/>
          <p:cNvSpPr/>
          <p:nvPr/>
        </p:nvSpPr>
        <p:spPr>
          <a:xfrm>
            <a:off x="10031004" y="170443"/>
            <a:ext cx="2052309" cy="1030715"/>
          </a:xfrm>
          <a:custGeom>
            <a:avLst/>
            <a:gdLst/>
            <a:ahLst/>
            <a:cxnLst/>
            <a:rect l="l" t="t" r="r" b="b"/>
            <a:pathLst>
              <a:path w="3078463" h="1546073">
                <a:moveTo>
                  <a:pt x="0" y="0"/>
                </a:moveTo>
                <a:lnTo>
                  <a:pt x="3078463" y="0"/>
                </a:lnTo>
                <a:lnTo>
                  <a:pt x="3078463" y="1546072"/>
                </a:lnTo>
                <a:lnTo>
                  <a:pt x="0" y="1546072"/>
                </a:lnTo>
                <a:lnTo>
                  <a:pt x="0" y="0"/>
                </a:lnTo>
                <a:close/>
              </a:path>
            </a:pathLst>
          </a:custGeom>
          <a:blipFill>
            <a:blip r:embed="rId2"/>
            <a:stretch>
              <a:fillRect/>
            </a:stretch>
          </a:blipFill>
        </p:spPr>
      </p:sp>
      <p:sp>
        <p:nvSpPr>
          <p:cNvPr id="7" name="TextBox 7"/>
          <p:cNvSpPr txBox="1"/>
          <p:nvPr/>
        </p:nvSpPr>
        <p:spPr>
          <a:xfrm>
            <a:off x="4669215" y="1880208"/>
            <a:ext cx="7522785" cy="884858"/>
          </a:xfrm>
          <a:prstGeom prst="rect">
            <a:avLst/>
          </a:prstGeom>
        </p:spPr>
        <p:txBody>
          <a:bodyPr lIns="0" tIns="0" rIns="0" bIns="0" rtlCol="0" anchor="t">
            <a:spAutoFit/>
          </a:bodyPr>
          <a:lstStyle/>
          <a:p>
            <a:pPr>
              <a:lnSpc>
                <a:spcPts val="6914"/>
              </a:lnSpc>
            </a:pPr>
            <a:r>
              <a:rPr lang="en-US" sz="6065" spc="-515">
                <a:solidFill>
                  <a:srgbClr val="7D704C"/>
                </a:solidFill>
                <a:latin typeface="Caslon #540"/>
              </a:rPr>
              <a:t>BREAKOUT ACTIVITY</a:t>
            </a:r>
          </a:p>
        </p:txBody>
      </p:sp>
      <p:sp>
        <p:nvSpPr>
          <p:cNvPr id="8" name="TextBox 8"/>
          <p:cNvSpPr txBox="1"/>
          <p:nvPr/>
        </p:nvSpPr>
        <p:spPr>
          <a:xfrm>
            <a:off x="4920503" y="3096385"/>
            <a:ext cx="5419309" cy="3539430"/>
          </a:xfrm>
          <a:prstGeom prst="rect">
            <a:avLst/>
          </a:prstGeom>
        </p:spPr>
        <p:txBody>
          <a:bodyPr lIns="0" tIns="0" rIns="0" bIns="0" rtlCol="0" anchor="t">
            <a:spAutoFit/>
          </a:bodyPr>
          <a:lstStyle/>
          <a:p>
            <a:pPr>
              <a:lnSpc>
                <a:spcPts val="6916"/>
              </a:lnSpc>
            </a:pPr>
            <a:r>
              <a:rPr lang="en-US" sz="6050" spc="-230" dirty="0">
                <a:solidFill>
                  <a:srgbClr val="7D704C"/>
                </a:solidFill>
                <a:latin typeface="Caslon #540 Italics"/>
              </a:rPr>
              <a:t>Patient, Family and Community Engagement Session </a:t>
            </a:r>
            <a:endParaRPr lang="en-US" sz="6067" spc="-230" dirty="0">
              <a:solidFill>
                <a:srgbClr val="7D704C"/>
              </a:solidFill>
              <a:latin typeface="Caslon #540 Italics"/>
            </a:endParaRPr>
          </a:p>
        </p:txBody>
      </p:sp>
      <p:sp>
        <p:nvSpPr>
          <p:cNvPr id="9" name="TextBox 9"/>
          <p:cNvSpPr txBox="1"/>
          <p:nvPr/>
        </p:nvSpPr>
        <p:spPr>
          <a:xfrm>
            <a:off x="9183750" y="5512435"/>
            <a:ext cx="2807805" cy="1077218"/>
          </a:xfrm>
          <a:prstGeom prst="rect">
            <a:avLst/>
          </a:prstGeom>
        </p:spPr>
        <p:txBody>
          <a:bodyPr lIns="0" tIns="0" rIns="0" bIns="0" rtlCol="0" anchor="t">
            <a:spAutoFit/>
          </a:bodyPr>
          <a:lstStyle/>
          <a:p>
            <a:pPr algn="r">
              <a:lnSpc>
                <a:spcPts val="8360"/>
              </a:lnSpc>
            </a:pPr>
            <a:r>
              <a:rPr lang="en-US" sz="7334" spc="-279">
                <a:solidFill>
                  <a:srgbClr val="7D704C"/>
                </a:solidFill>
                <a:latin typeface="Caslon #540 Italics"/>
              </a:rPr>
              <a:t>2023</a:t>
            </a:r>
          </a:p>
        </p:txBody>
      </p:sp>
    </p:spTree>
    <p:extLst>
      <p:ext uri="{BB962C8B-B14F-4D97-AF65-F5344CB8AC3E}">
        <p14:creationId xmlns:p14="http://schemas.microsoft.com/office/powerpoint/2010/main" val="168410072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EDEAE5"/>
        </a:solidFill>
        <a:effectLst/>
      </p:bgPr>
    </p:bg>
    <p:spTree>
      <p:nvGrpSpPr>
        <p:cNvPr id="1" name=""/>
        <p:cNvGrpSpPr/>
        <p:nvPr/>
      </p:nvGrpSpPr>
      <p:grpSpPr>
        <a:xfrm>
          <a:off x="0" y="0"/>
          <a:ext cx="0" cy="0"/>
          <a:chOff x="0" y="0"/>
          <a:chExt cx="0" cy="0"/>
        </a:xfrm>
      </p:grpSpPr>
      <p:sp>
        <p:nvSpPr>
          <p:cNvPr id="5" name="Freeform 5"/>
          <p:cNvSpPr/>
          <p:nvPr/>
        </p:nvSpPr>
        <p:spPr>
          <a:xfrm>
            <a:off x="6759596" y="4963277"/>
            <a:ext cx="596505" cy="822293"/>
          </a:xfrm>
          <a:custGeom>
            <a:avLst/>
            <a:gdLst/>
            <a:ahLst/>
            <a:cxnLst/>
            <a:rect l="l" t="t" r="r" b="b"/>
            <a:pathLst>
              <a:path w="894757" h="1233439">
                <a:moveTo>
                  <a:pt x="0" y="0"/>
                </a:moveTo>
                <a:lnTo>
                  <a:pt x="894757" y="0"/>
                </a:lnTo>
                <a:lnTo>
                  <a:pt x="894757" y="1233440"/>
                </a:lnTo>
                <a:lnTo>
                  <a:pt x="0" y="1233440"/>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sp>
      <p:sp>
        <p:nvSpPr>
          <p:cNvPr id="6" name="TextBox 6"/>
          <p:cNvSpPr txBox="1"/>
          <p:nvPr/>
        </p:nvSpPr>
        <p:spPr>
          <a:xfrm>
            <a:off x="685800" y="966954"/>
            <a:ext cx="3128333" cy="301365"/>
          </a:xfrm>
          <a:prstGeom prst="rect">
            <a:avLst/>
          </a:prstGeom>
        </p:spPr>
        <p:txBody>
          <a:bodyPr lIns="0" tIns="0" rIns="0" bIns="0" rtlCol="0" anchor="t">
            <a:spAutoFit/>
          </a:bodyPr>
          <a:lstStyle/>
          <a:p>
            <a:pPr>
              <a:lnSpc>
                <a:spcPts val="2519"/>
              </a:lnSpc>
              <a:spcBef>
                <a:spcPct val="0"/>
              </a:spcBef>
            </a:pPr>
            <a:r>
              <a:rPr lang="en-US" sz="1799" spc="131">
                <a:solidFill>
                  <a:srgbClr val="7D704C"/>
                </a:solidFill>
                <a:latin typeface="TT Commons Pro Bold"/>
              </a:rPr>
              <a:t>THE PATIENT’S HISTORY</a:t>
            </a:r>
          </a:p>
        </p:txBody>
      </p:sp>
      <p:sp>
        <p:nvSpPr>
          <p:cNvPr id="7" name="TextBox 7"/>
          <p:cNvSpPr txBox="1"/>
          <p:nvPr/>
        </p:nvSpPr>
        <p:spPr>
          <a:xfrm>
            <a:off x="570419" y="2053797"/>
            <a:ext cx="6487430" cy="2975173"/>
          </a:xfrm>
          <a:prstGeom prst="rect">
            <a:avLst/>
          </a:prstGeom>
        </p:spPr>
        <p:txBody>
          <a:bodyPr lIns="0" tIns="0" rIns="0" bIns="0" rtlCol="0" anchor="t">
            <a:spAutoFit/>
          </a:bodyPr>
          <a:lstStyle/>
          <a:p>
            <a:pPr>
              <a:lnSpc>
                <a:spcPts val="2853"/>
              </a:lnSpc>
            </a:pPr>
            <a:r>
              <a:rPr lang="en-US" sz="2650" spc="-133" dirty="0">
                <a:solidFill>
                  <a:srgbClr val="7D704C"/>
                </a:solidFill>
                <a:latin typeface="Caslon #540"/>
              </a:rPr>
              <a:t> A 25-year-old African American female recently moved to a new city. She hasn’t been able to find an OB/GYN due to her brief time living in the area for only 3 days. On a Saturday, at 37 weeks 4 days gestation, she presented to the Emergency Department with complaints of acute abdominal pain, fatigue, nausea and increased discharge.</a:t>
            </a:r>
          </a:p>
          <a:p>
            <a:pPr>
              <a:lnSpc>
                <a:spcPts val="2853"/>
              </a:lnSpc>
            </a:pPr>
            <a:endParaRPr lang="en-US" sz="2666" spc="-133">
              <a:solidFill>
                <a:srgbClr val="7D704C"/>
              </a:solidFill>
              <a:latin typeface="Caslon #540"/>
            </a:endParaRPr>
          </a:p>
        </p:txBody>
      </p:sp>
      <p:sp>
        <p:nvSpPr>
          <p:cNvPr id="8" name="TextBox 6">
            <a:extLst>
              <a:ext uri="{FF2B5EF4-FFF2-40B4-BE49-F238E27FC236}">
                <a16:creationId xmlns:a16="http://schemas.microsoft.com/office/drawing/2014/main" id="{B0701439-81D6-0EA6-267C-93265C8AACCF}"/>
              </a:ext>
            </a:extLst>
          </p:cNvPr>
          <p:cNvSpPr txBox="1"/>
          <p:nvPr/>
        </p:nvSpPr>
        <p:spPr>
          <a:xfrm>
            <a:off x="570781" y="5165143"/>
            <a:ext cx="5917540" cy="620298"/>
          </a:xfrm>
          <a:prstGeom prst="rect">
            <a:avLst/>
          </a:prstGeom>
        </p:spPr>
        <p:txBody>
          <a:bodyPr wrap="square" lIns="0" tIns="0" rIns="0" bIns="0" rtlCol="0" anchor="t">
            <a:spAutoFit/>
          </a:bodyPr>
          <a:lstStyle/>
          <a:p>
            <a:pPr>
              <a:lnSpc>
                <a:spcPts val="2519"/>
              </a:lnSpc>
              <a:spcBef>
                <a:spcPct val="0"/>
              </a:spcBef>
            </a:pPr>
            <a:r>
              <a:rPr lang="en-US" sz="1750" spc="131" dirty="0">
                <a:solidFill>
                  <a:srgbClr val="7D704C"/>
                </a:solidFill>
                <a:latin typeface="TT Commons Pro Bold"/>
              </a:rPr>
              <a:t>Note: The following scenario will be presented in the patient's perspective</a:t>
            </a:r>
            <a:endParaRPr lang="en-US" sz="1799" spc="131" dirty="0">
              <a:solidFill>
                <a:srgbClr val="7D704C"/>
              </a:solidFill>
              <a:latin typeface="TT Commons Pro Bold"/>
            </a:endParaRPr>
          </a:p>
        </p:txBody>
      </p:sp>
    </p:spTree>
    <p:extLst>
      <p:ext uri="{BB962C8B-B14F-4D97-AF65-F5344CB8AC3E}">
        <p14:creationId xmlns:p14="http://schemas.microsoft.com/office/powerpoint/2010/main" val="328614123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7D704C"/>
        </a:solidFill>
        <a:effectLst/>
      </p:bgPr>
    </p:bg>
    <p:spTree>
      <p:nvGrpSpPr>
        <p:cNvPr id="1" name=""/>
        <p:cNvGrpSpPr/>
        <p:nvPr/>
      </p:nvGrpSpPr>
      <p:grpSpPr>
        <a:xfrm>
          <a:off x="0" y="0"/>
          <a:ext cx="0" cy="0"/>
          <a:chOff x="0" y="0"/>
          <a:chExt cx="0" cy="0"/>
        </a:xfrm>
      </p:grpSpPr>
      <p:sp>
        <p:nvSpPr>
          <p:cNvPr id="2" name="TextBox 2"/>
          <p:cNvSpPr txBox="1"/>
          <p:nvPr/>
        </p:nvSpPr>
        <p:spPr>
          <a:xfrm>
            <a:off x="1415197" y="1978871"/>
            <a:ext cx="9704507" cy="854208"/>
          </a:xfrm>
          <a:prstGeom prst="rect">
            <a:avLst/>
          </a:prstGeom>
        </p:spPr>
        <p:txBody>
          <a:bodyPr lIns="0" tIns="0" rIns="0" bIns="0" rtlCol="0" anchor="t">
            <a:spAutoFit/>
          </a:bodyPr>
          <a:lstStyle/>
          <a:p>
            <a:pPr algn="ctr">
              <a:lnSpc>
                <a:spcPts val="6307"/>
              </a:lnSpc>
            </a:pPr>
            <a:r>
              <a:rPr lang="en-US" sz="7334" spc="-367">
                <a:solidFill>
                  <a:srgbClr val="EDEAE5"/>
                </a:solidFill>
                <a:latin typeface="Caslon #540"/>
              </a:rPr>
              <a:t>Emergency Department</a:t>
            </a:r>
          </a:p>
        </p:txBody>
      </p:sp>
      <p:sp>
        <p:nvSpPr>
          <p:cNvPr id="3" name="TextBox 3"/>
          <p:cNvSpPr txBox="1"/>
          <p:nvPr/>
        </p:nvSpPr>
        <p:spPr>
          <a:xfrm>
            <a:off x="4106260" y="3736975"/>
            <a:ext cx="3293681" cy="481222"/>
          </a:xfrm>
          <a:prstGeom prst="rect">
            <a:avLst/>
          </a:prstGeom>
        </p:spPr>
        <p:txBody>
          <a:bodyPr lIns="0" tIns="0" rIns="0" bIns="0" rtlCol="0" anchor="t">
            <a:spAutoFit/>
          </a:bodyPr>
          <a:lstStyle/>
          <a:p>
            <a:pPr algn="ctr">
              <a:lnSpc>
                <a:spcPts val="4013"/>
              </a:lnSpc>
              <a:spcBef>
                <a:spcPct val="0"/>
              </a:spcBef>
            </a:pPr>
            <a:r>
              <a:rPr lang="en-US" sz="2850" spc="209" dirty="0">
                <a:solidFill>
                  <a:srgbClr val="EDEAE5"/>
                </a:solidFill>
                <a:latin typeface="TT Commons Pro Bold"/>
              </a:rPr>
              <a:t>PART ONE</a:t>
            </a:r>
          </a:p>
        </p:txBody>
      </p:sp>
    </p:spTree>
    <p:extLst>
      <p:ext uri="{BB962C8B-B14F-4D97-AF65-F5344CB8AC3E}">
        <p14:creationId xmlns:p14="http://schemas.microsoft.com/office/powerpoint/2010/main" val="31697606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EDEAE5"/>
        </a:solidFill>
        <a:effectLst/>
      </p:bgPr>
    </p:bg>
    <p:spTree>
      <p:nvGrpSpPr>
        <p:cNvPr id="1" name=""/>
        <p:cNvGrpSpPr/>
        <p:nvPr/>
      </p:nvGrpSpPr>
      <p:grpSpPr>
        <a:xfrm>
          <a:off x="0" y="0"/>
          <a:ext cx="0" cy="0"/>
          <a:chOff x="0" y="0"/>
          <a:chExt cx="0" cy="0"/>
        </a:xfrm>
      </p:grpSpPr>
      <p:sp>
        <p:nvSpPr>
          <p:cNvPr id="5" name="AutoShape 5"/>
          <p:cNvSpPr/>
          <p:nvPr/>
        </p:nvSpPr>
        <p:spPr>
          <a:xfrm>
            <a:off x="4673351" y="6162675"/>
            <a:ext cx="8249499" cy="0"/>
          </a:xfrm>
          <a:prstGeom prst="line">
            <a:avLst/>
          </a:prstGeom>
          <a:ln w="28575" cap="flat">
            <a:solidFill>
              <a:srgbClr val="7D704C"/>
            </a:solidFill>
            <a:prstDash val="solid"/>
            <a:headEnd type="none" w="sm" len="sm"/>
            <a:tailEnd type="none" w="sm" len="sm"/>
          </a:ln>
        </p:spPr>
      </p:sp>
      <p:sp>
        <p:nvSpPr>
          <p:cNvPr id="6" name="TextBox 6"/>
          <p:cNvSpPr txBox="1"/>
          <p:nvPr/>
        </p:nvSpPr>
        <p:spPr>
          <a:xfrm>
            <a:off x="141111" y="141784"/>
            <a:ext cx="4106860" cy="1192314"/>
          </a:xfrm>
          <a:prstGeom prst="rect">
            <a:avLst/>
          </a:prstGeom>
        </p:spPr>
        <p:txBody>
          <a:bodyPr wrap="square" lIns="0" tIns="0" rIns="0" bIns="0" rtlCol="0" anchor="t">
            <a:spAutoFit/>
          </a:bodyPr>
          <a:lstStyle/>
          <a:p>
            <a:pPr>
              <a:lnSpc>
                <a:spcPts val="4760"/>
              </a:lnSpc>
              <a:spcBef>
                <a:spcPct val="0"/>
              </a:spcBef>
            </a:pPr>
            <a:r>
              <a:rPr lang="en-US" sz="3400" spc="248">
                <a:solidFill>
                  <a:srgbClr val="7D704C"/>
                </a:solidFill>
                <a:latin typeface="TT Commons Pro Bold"/>
              </a:rPr>
              <a:t>EMERGENCY  DEPARTMENT (ED)</a:t>
            </a:r>
          </a:p>
        </p:txBody>
      </p:sp>
      <p:sp>
        <p:nvSpPr>
          <p:cNvPr id="7" name="TextBox 7"/>
          <p:cNvSpPr txBox="1"/>
          <p:nvPr/>
        </p:nvSpPr>
        <p:spPr>
          <a:xfrm>
            <a:off x="4201938" y="654051"/>
            <a:ext cx="7803156" cy="5291513"/>
          </a:xfrm>
          <a:prstGeom prst="rect">
            <a:avLst/>
          </a:prstGeom>
        </p:spPr>
        <p:txBody>
          <a:bodyPr wrap="square" lIns="0" tIns="0" rIns="0" bIns="0" rtlCol="0" anchor="t">
            <a:spAutoFit/>
          </a:bodyPr>
          <a:lstStyle/>
          <a:p>
            <a:pPr>
              <a:lnSpc>
                <a:spcPts val="2320"/>
              </a:lnSpc>
            </a:pPr>
            <a:r>
              <a:rPr lang="en-US" sz="1650" spc="16" dirty="0">
                <a:solidFill>
                  <a:srgbClr val="7D704C"/>
                </a:solidFill>
                <a:latin typeface="TT Commons Pro Bold"/>
              </a:rPr>
              <a:t>During triage, I shared with the nurse that I had recently moved to town. I had been very busy, and the move was sudden due to my husband’s job change. I told the nurse that I hadn’t experienced this kind of pain before in my pregnancy and was concerned about the baby’s movement. </a:t>
            </a:r>
            <a:endParaRPr lang="en-US" sz="1657" spc="16">
              <a:solidFill>
                <a:srgbClr val="7D704C"/>
              </a:solidFill>
              <a:latin typeface="TT Commons Pro Bold"/>
            </a:endParaRPr>
          </a:p>
          <a:p>
            <a:pPr>
              <a:lnSpc>
                <a:spcPts val="2320"/>
              </a:lnSpc>
            </a:pPr>
            <a:endParaRPr lang="en-US" sz="1657" spc="16">
              <a:solidFill>
                <a:srgbClr val="7D704C"/>
              </a:solidFill>
              <a:latin typeface="TT Commons Pro Bold"/>
            </a:endParaRPr>
          </a:p>
          <a:p>
            <a:pPr>
              <a:lnSpc>
                <a:spcPts val="2320"/>
              </a:lnSpc>
            </a:pPr>
            <a:r>
              <a:rPr lang="en-US" sz="1650" spc="16" dirty="0">
                <a:solidFill>
                  <a:srgbClr val="7D704C"/>
                </a:solidFill>
                <a:latin typeface="TT Commons Pro Bold"/>
              </a:rPr>
              <a:t>The nurse dismissed my concerns and stated, “that’s normal at this stage of pregnancy and there’s not much we can do for you.” The nurse then repeatedly asked me if I use any drugs. I continued to state that I am not a drug user. The nurse sent me back to the ED lobby to wait. </a:t>
            </a:r>
          </a:p>
          <a:p>
            <a:pPr>
              <a:lnSpc>
                <a:spcPts val="2320"/>
              </a:lnSpc>
            </a:pPr>
            <a:endParaRPr lang="en-US" sz="1657" spc="16">
              <a:solidFill>
                <a:srgbClr val="7D704C"/>
              </a:solidFill>
              <a:latin typeface="TT Commons Pro Bold"/>
            </a:endParaRPr>
          </a:p>
          <a:p>
            <a:pPr>
              <a:lnSpc>
                <a:spcPts val="2320"/>
              </a:lnSpc>
            </a:pPr>
            <a:r>
              <a:rPr lang="en-US" sz="1650" spc="16" dirty="0">
                <a:solidFill>
                  <a:srgbClr val="7D704C"/>
                </a:solidFill>
                <a:latin typeface="TT Commons Pro Bold"/>
              </a:rPr>
              <a:t>As time passed, the pain and nausea intensified further. After an hour, I approached the triage desk and attempted to share that my pain was worsening. The triage nurse asked me once again if I use drugs. Again, I denied drug use and the nurse sent me back to the waiting room, believing that I was exaggerating symptoms because I was too calm for my pain to be as intense as I described. I waited 20 more minutes and was finally called back to a room. </a:t>
            </a:r>
          </a:p>
          <a:p>
            <a:pPr>
              <a:lnSpc>
                <a:spcPts val="2320"/>
              </a:lnSpc>
            </a:pPr>
            <a:endParaRPr lang="en-US" sz="1657" spc="16">
              <a:solidFill>
                <a:srgbClr val="7D704C"/>
              </a:solidFill>
              <a:latin typeface="TT Commons Pro Bold"/>
            </a:endParaRPr>
          </a:p>
          <a:p>
            <a:pPr>
              <a:lnSpc>
                <a:spcPts val="2320"/>
              </a:lnSpc>
              <a:spcBef>
                <a:spcPct val="0"/>
              </a:spcBef>
            </a:pPr>
            <a:endParaRPr lang="en-US" sz="1657" spc="16">
              <a:solidFill>
                <a:srgbClr val="7D704C"/>
              </a:solidFill>
              <a:latin typeface="TT Commons Pro Bold"/>
            </a:endParaRPr>
          </a:p>
        </p:txBody>
      </p:sp>
    </p:spTree>
    <p:extLst>
      <p:ext uri="{BB962C8B-B14F-4D97-AF65-F5344CB8AC3E}">
        <p14:creationId xmlns:p14="http://schemas.microsoft.com/office/powerpoint/2010/main" val="203038699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EDEAE5"/>
        </a:solidFill>
        <a:effectLst/>
      </p:bgPr>
    </p:bg>
    <p:spTree>
      <p:nvGrpSpPr>
        <p:cNvPr id="1" name=""/>
        <p:cNvGrpSpPr/>
        <p:nvPr/>
      </p:nvGrpSpPr>
      <p:grpSpPr>
        <a:xfrm>
          <a:off x="0" y="0"/>
          <a:ext cx="0" cy="0"/>
          <a:chOff x="0" y="0"/>
          <a:chExt cx="0" cy="0"/>
        </a:xfrm>
      </p:grpSpPr>
      <p:sp>
        <p:nvSpPr>
          <p:cNvPr id="2" name="AutoShape 2"/>
          <p:cNvSpPr/>
          <p:nvPr/>
        </p:nvSpPr>
        <p:spPr>
          <a:xfrm>
            <a:off x="4673351" y="6162675"/>
            <a:ext cx="8249499" cy="0"/>
          </a:xfrm>
          <a:prstGeom prst="line">
            <a:avLst/>
          </a:prstGeom>
          <a:ln w="28575" cap="flat">
            <a:solidFill>
              <a:srgbClr val="7D704C"/>
            </a:solidFill>
            <a:prstDash val="solid"/>
            <a:headEnd type="none" w="sm" len="sm"/>
            <a:tailEnd type="none" w="sm" len="sm"/>
          </a:ln>
        </p:spPr>
      </p:sp>
      <p:sp>
        <p:nvSpPr>
          <p:cNvPr id="4" name="TextBox 4"/>
          <p:cNvSpPr txBox="1"/>
          <p:nvPr/>
        </p:nvSpPr>
        <p:spPr>
          <a:xfrm>
            <a:off x="258950" y="381706"/>
            <a:ext cx="5215444" cy="576761"/>
          </a:xfrm>
          <a:prstGeom prst="rect">
            <a:avLst/>
          </a:prstGeom>
        </p:spPr>
        <p:txBody>
          <a:bodyPr lIns="0" tIns="0" rIns="0" bIns="0" rtlCol="0" anchor="t">
            <a:spAutoFit/>
          </a:bodyPr>
          <a:lstStyle/>
          <a:p>
            <a:pPr>
              <a:lnSpc>
                <a:spcPts val="4760"/>
              </a:lnSpc>
              <a:spcBef>
                <a:spcPct val="0"/>
              </a:spcBef>
            </a:pPr>
            <a:r>
              <a:rPr lang="en-US" sz="3400" spc="248">
                <a:solidFill>
                  <a:srgbClr val="7D704C"/>
                </a:solidFill>
                <a:latin typeface="TT Commons Pro Bold"/>
              </a:rPr>
              <a:t>ED CONTINUED</a:t>
            </a:r>
          </a:p>
        </p:txBody>
      </p:sp>
      <p:sp>
        <p:nvSpPr>
          <p:cNvPr id="5" name="TextBox 5"/>
          <p:cNvSpPr txBox="1"/>
          <p:nvPr/>
        </p:nvSpPr>
        <p:spPr>
          <a:xfrm>
            <a:off x="257005" y="1110261"/>
            <a:ext cx="6255415" cy="5157374"/>
          </a:xfrm>
          <a:prstGeom prst="rect">
            <a:avLst/>
          </a:prstGeom>
        </p:spPr>
        <p:txBody>
          <a:bodyPr lIns="0" tIns="0" rIns="0" bIns="0" rtlCol="0" anchor="t">
            <a:spAutoFit/>
          </a:bodyPr>
          <a:lstStyle/>
          <a:p>
            <a:pPr>
              <a:lnSpc>
                <a:spcPts val="2871"/>
              </a:lnSpc>
            </a:pPr>
            <a:r>
              <a:rPr lang="en-US" sz="2050" spc="20" dirty="0">
                <a:solidFill>
                  <a:srgbClr val="7D704C"/>
                </a:solidFill>
                <a:latin typeface="TT Commons Pro Bold"/>
              </a:rPr>
              <a:t>I was brought to an open room. A provider entered and stated their understanding that I was pregnant and experiencing pain and nausea. I shared again that I felt this pain was intense and nothing like I've felt before. However, I was very calm and didn’t appear to be in such intense pain. The provider dismissed this information as drug-seeking and proceeded with the medical screening exam using Doppler to confirm the presence of fetal heart tones. The provider noticed my stomach tighten and face grimace. I was then informed by the provider that I would be transferred to Labor and Delivery for monitoring.</a:t>
            </a:r>
          </a:p>
          <a:p>
            <a:pPr>
              <a:lnSpc>
                <a:spcPts val="2965"/>
              </a:lnSpc>
            </a:pPr>
            <a:endParaRPr lang="en-US" sz="2051" spc="20">
              <a:solidFill>
                <a:srgbClr val="7D704C"/>
              </a:solidFill>
              <a:latin typeface="TT Commons Pro Bold"/>
            </a:endParaRPr>
          </a:p>
          <a:p>
            <a:pPr>
              <a:lnSpc>
                <a:spcPts val="2543"/>
              </a:lnSpc>
              <a:spcBef>
                <a:spcPct val="0"/>
              </a:spcBef>
            </a:pPr>
            <a:endParaRPr lang="en-US" sz="2051" spc="20">
              <a:solidFill>
                <a:srgbClr val="7D704C"/>
              </a:solidFill>
              <a:latin typeface="TT Commons Pro Bold"/>
            </a:endParaRPr>
          </a:p>
        </p:txBody>
      </p:sp>
    </p:spTree>
    <p:extLst>
      <p:ext uri="{BB962C8B-B14F-4D97-AF65-F5344CB8AC3E}">
        <p14:creationId xmlns:p14="http://schemas.microsoft.com/office/powerpoint/2010/main" val="4101803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7D704C"/>
        </a:solidFill>
        <a:effectLst/>
      </p:bgPr>
    </p:bg>
    <p:spTree>
      <p:nvGrpSpPr>
        <p:cNvPr id="1" name=""/>
        <p:cNvGrpSpPr/>
        <p:nvPr/>
      </p:nvGrpSpPr>
      <p:grpSpPr>
        <a:xfrm>
          <a:off x="0" y="0"/>
          <a:ext cx="0" cy="0"/>
          <a:chOff x="0" y="0"/>
          <a:chExt cx="0" cy="0"/>
        </a:xfrm>
      </p:grpSpPr>
      <p:sp>
        <p:nvSpPr>
          <p:cNvPr id="2" name="TextBox 2"/>
          <p:cNvSpPr txBox="1"/>
          <p:nvPr/>
        </p:nvSpPr>
        <p:spPr>
          <a:xfrm>
            <a:off x="1758097" y="2256300"/>
            <a:ext cx="8675807" cy="854208"/>
          </a:xfrm>
          <a:prstGeom prst="rect">
            <a:avLst/>
          </a:prstGeom>
        </p:spPr>
        <p:txBody>
          <a:bodyPr lIns="0" tIns="0" rIns="0" bIns="0" rtlCol="0" anchor="t">
            <a:spAutoFit/>
          </a:bodyPr>
          <a:lstStyle/>
          <a:p>
            <a:pPr algn="ctr">
              <a:lnSpc>
                <a:spcPts val="6307"/>
              </a:lnSpc>
            </a:pPr>
            <a:r>
              <a:rPr lang="en-US" sz="7334" spc="-367">
                <a:solidFill>
                  <a:srgbClr val="EDEAE5"/>
                </a:solidFill>
                <a:latin typeface="Caslon #540"/>
              </a:rPr>
              <a:t>Labor &amp; Delivery Unit</a:t>
            </a:r>
          </a:p>
        </p:txBody>
      </p:sp>
      <p:sp>
        <p:nvSpPr>
          <p:cNvPr id="3" name="TextBox 3"/>
          <p:cNvSpPr txBox="1"/>
          <p:nvPr/>
        </p:nvSpPr>
        <p:spPr>
          <a:xfrm>
            <a:off x="4449160" y="3220654"/>
            <a:ext cx="3293681" cy="458011"/>
          </a:xfrm>
          <a:prstGeom prst="rect">
            <a:avLst/>
          </a:prstGeom>
        </p:spPr>
        <p:txBody>
          <a:bodyPr lIns="0" tIns="0" rIns="0" bIns="0" rtlCol="0" anchor="t">
            <a:spAutoFit/>
          </a:bodyPr>
          <a:lstStyle/>
          <a:p>
            <a:pPr algn="ctr">
              <a:lnSpc>
                <a:spcPts val="3826"/>
              </a:lnSpc>
              <a:spcBef>
                <a:spcPct val="0"/>
              </a:spcBef>
            </a:pPr>
            <a:r>
              <a:rPr lang="en-US" sz="2733" spc="199">
                <a:solidFill>
                  <a:srgbClr val="EDEAE5"/>
                </a:solidFill>
                <a:latin typeface="TT Commons Pro Bold"/>
              </a:rPr>
              <a:t>PART TWO</a:t>
            </a:r>
          </a:p>
        </p:txBody>
      </p:sp>
    </p:spTree>
    <p:extLst>
      <p:ext uri="{BB962C8B-B14F-4D97-AF65-F5344CB8AC3E}">
        <p14:creationId xmlns:p14="http://schemas.microsoft.com/office/powerpoint/2010/main" val="357926050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EDEAE5"/>
        </a:solidFill>
        <a:effectLst/>
      </p:bgPr>
    </p:bg>
    <p:spTree>
      <p:nvGrpSpPr>
        <p:cNvPr id="1" name=""/>
        <p:cNvGrpSpPr/>
        <p:nvPr/>
      </p:nvGrpSpPr>
      <p:grpSpPr>
        <a:xfrm>
          <a:off x="0" y="0"/>
          <a:ext cx="0" cy="0"/>
          <a:chOff x="0" y="0"/>
          <a:chExt cx="0" cy="0"/>
        </a:xfrm>
      </p:grpSpPr>
      <p:sp>
        <p:nvSpPr>
          <p:cNvPr id="2" name="AutoShape 2"/>
          <p:cNvSpPr/>
          <p:nvPr/>
        </p:nvSpPr>
        <p:spPr>
          <a:xfrm>
            <a:off x="4232509" y="-342375"/>
            <a:ext cx="0" cy="7542749"/>
          </a:xfrm>
          <a:prstGeom prst="line">
            <a:avLst/>
          </a:prstGeom>
          <a:ln w="28575" cap="flat">
            <a:solidFill>
              <a:srgbClr val="7D704C"/>
            </a:solidFill>
            <a:prstDash val="solid"/>
            <a:headEnd type="none" w="sm" len="sm"/>
            <a:tailEnd type="none" w="sm" len="sm"/>
          </a:ln>
        </p:spPr>
      </p:sp>
      <p:sp>
        <p:nvSpPr>
          <p:cNvPr id="3" name="AutoShape 3"/>
          <p:cNvSpPr/>
          <p:nvPr/>
        </p:nvSpPr>
        <p:spPr>
          <a:xfrm>
            <a:off x="3430221" y="6181725"/>
            <a:ext cx="8249499" cy="0"/>
          </a:xfrm>
          <a:prstGeom prst="line">
            <a:avLst/>
          </a:prstGeom>
          <a:ln w="28575" cap="flat">
            <a:solidFill>
              <a:srgbClr val="7D704C"/>
            </a:solidFill>
            <a:prstDash val="solid"/>
            <a:headEnd type="none" w="sm" len="sm"/>
            <a:tailEnd type="none" w="sm" len="sm"/>
          </a:ln>
        </p:spPr>
      </p:sp>
      <p:sp>
        <p:nvSpPr>
          <p:cNvPr id="5" name="TextBox 5"/>
          <p:cNvSpPr txBox="1"/>
          <p:nvPr/>
        </p:nvSpPr>
        <p:spPr>
          <a:xfrm>
            <a:off x="4517778" y="3187700"/>
            <a:ext cx="7217279" cy="2804870"/>
          </a:xfrm>
          <a:prstGeom prst="rect">
            <a:avLst/>
          </a:prstGeom>
        </p:spPr>
        <p:txBody>
          <a:bodyPr wrap="square" lIns="0" tIns="0" rIns="0" bIns="0" rtlCol="0" anchor="t">
            <a:spAutoFit/>
          </a:bodyPr>
          <a:lstStyle/>
          <a:p>
            <a:pPr>
              <a:lnSpc>
                <a:spcPts val="2239"/>
              </a:lnSpc>
            </a:pPr>
            <a:r>
              <a:rPr lang="en-US" sz="1550" spc="15" dirty="0">
                <a:solidFill>
                  <a:srgbClr val="7D704C"/>
                </a:solidFill>
                <a:latin typeface="TT Commons Pro Bold"/>
              </a:rPr>
              <a:t>I wanted to get out of bed to help the labor progress and decrease my pain. I wasn’t allowed to move; instead, I had to lie on my back through intense labor pains. The doctor and most of the nursing staff weren’t listening to me. I felt horrible pain while laying on my back and begged to get up and move around. The pain caused my blood pressure to spike, and I was now being told I couldn’t move around because of my blood pressure. As I explained I had no issues with blood pressure my entire pregnancy, I was met with “well we don’t have your prenatal record, so we have to take precaution." I was so upset, and my husband grew furious with the staff.</a:t>
            </a:r>
          </a:p>
          <a:p>
            <a:pPr>
              <a:lnSpc>
                <a:spcPts val="2239"/>
              </a:lnSpc>
            </a:pPr>
            <a:endParaRPr lang="en-US" sz="1599" spc="15">
              <a:solidFill>
                <a:srgbClr val="7D704C"/>
              </a:solidFill>
              <a:latin typeface="TT Commons Pro Bold"/>
            </a:endParaRPr>
          </a:p>
          <a:p>
            <a:pPr>
              <a:lnSpc>
                <a:spcPts val="2239"/>
              </a:lnSpc>
              <a:spcBef>
                <a:spcPct val="0"/>
              </a:spcBef>
            </a:pPr>
            <a:endParaRPr lang="en-US" sz="1599" spc="15">
              <a:solidFill>
                <a:srgbClr val="7D704C"/>
              </a:solidFill>
              <a:latin typeface="TT Commons Pro Bold"/>
            </a:endParaRPr>
          </a:p>
        </p:txBody>
      </p:sp>
      <p:sp>
        <p:nvSpPr>
          <p:cNvPr id="6" name="TextBox 6"/>
          <p:cNvSpPr txBox="1"/>
          <p:nvPr/>
        </p:nvSpPr>
        <p:spPr>
          <a:xfrm>
            <a:off x="4522996" y="80141"/>
            <a:ext cx="7327517" cy="2804870"/>
          </a:xfrm>
          <a:prstGeom prst="rect">
            <a:avLst/>
          </a:prstGeom>
        </p:spPr>
        <p:txBody>
          <a:bodyPr wrap="square" lIns="0" tIns="0" rIns="0" bIns="0" rtlCol="0" anchor="t">
            <a:spAutoFit/>
          </a:bodyPr>
          <a:lstStyle/>
          <a:p>
            <a:pPr>
              <a:lnSpc>
                <a:spcPts val="2239"/>
              </a:lnSpc>
            </a:pPr>
            <a:endParaRPr sz="800"/>
          </a:p>
          <a:p>
            <a:pPr>
              <a:lnSpc>
                <a:spcPts val="2239"/>
              </a:lnSpc>
            </a:pPr>
            <a:r>
              <a:rPr lang="en-US" sz="1550" spc="15" dirty="0">
                <a:solidFill>
                  <a:srgbClr val="7D704C"/>
                </a:solidFill>
                <a:latin typeface="TT Commons Pro Bold"/>
              </a:rPr>
              <a:t>Once in Labor and Delivery, I was admitted after a vaginal exam that showed I was 6cm dilated, 80%, effaced and at a -2 station. My contractions were 3-5 mins apart and lasting 1 min long. I told the nurse that my husband and mother were enroute. The nurse stated that the hospital policy is that only one visitor is allowed due to COVID restrictions. I began to weep and again stated that I just moved here 3 days ago, and this was my first child. I pleaded with the nurse to allow both my husband and mother to be present. The nurse went to speak with the charge nurse, and she agreed to let both my mom and husband be in the room. </a:t>
            </a:r>
          </a:p>
          <a:p>
            <a:pPr>
              <a:lnSpc>
                <a:spcPts val="2239"/>
              </a:lnSpc>
              <a:spcBef>
                <a:spcPct val="0"/>
              </a:spcBef>
            </a:pPr>
            <a:endParaRPr lang="en-US" sz="1599" spc="15">
              <a:solidFill>
                <a:srgbClr val="7D704C"/>
              </a:solidFill>
              <a:latin typeface="TT Commons Pro Bold"/>
            </a:endParaRPr>
          </a:p>
        </p:txBody>
      </p:sp>
    </p:spTree>
    <p:extLst>
      <p:ext uri="{BB962C8B-B14F-4D97-AF65-F5344CB8AC3E}">
        <p14:creationId xmlns:p14="http://schemas.microsoft.com/office/powerpoint/2010/main" val="3689922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7D704C"/>
        </a:solidFill>
        <a:effectLst/>
      </p:bgPr>
    </p:bg>
    <p:spTree>
      <p:nvGrpSpPr>
        <p:cNvPr id="1" name=""/>
        <p:cNvGrpSpPr/>
        <p:nvPr/>
      </p:nvGrpSpPr>
      <p:grpSpPr>
        <a:xfrm>
          <a:off x="0" y="0"/>
          <a:ext cx="0" cy="0"/>
          <a:chOff x="0" y="0"/>
          <a:chExt cx="0" cy="0"/>
        </a:xfrm>
      </p:grpSpPr>
      <p:sp>
        <p:nvSpPr>
          <p:cNvPr id="2" name="TextBox 2"/>
          <p:cNvSpPr txBox="1"/>
          <p:nvPr/>
        </p:nvSpPr>
        <p:spPr>
          <a:xfrm>
            <a:off x="1758097" y="2618250"/>
            <a:ext cx="8675807" cy="1002903"/>
          </a:xfrm>
          <a:prstGeom prst="rect">
            <a:avLst/>
          </a:prstGeom>
        </p:spPr>
        <p:txBody>
          <a:bodyPr lIns="0" tIns="0" rIns="0" bIns="0" rtlCol="0" anchor="t">
            <a:spAutoFit/>
          </a:bodyPr>
          <a:lstStyle/>
          <a:p>
            <a:pPr algn="ctr">
              <a:lnSpc>
                <a:spcPts val="7396"/>
              </a:lnSpc>
            </a:pPr>
            <a:r>
              <a:rPr lang="en-US" sz="8600" spc="-429">
                <a:solidFill>
                  <a:srgbClr val="EDEAE5"/>
                </a:solidFill>
                <a:latin typeface="Caslon #540"/>
              </a:rPr>
              <a:t>Giving Birth</a:t>
            </a:r>
          </a:p>
        </p:txBody>
      </p:sp>
      <p:sp>
        <p:nvSpPr>
          <p:cNvPr id="3" name="TextBox 3"/>
          <p:cNvSpPr txBox="1"/>
          <p:nvPr/>
        </p:nvSpPr>
        <p:spPr>
          <a:xfrm>
            <a:off x="4449160" y="3907925"/>
            <a:ext cx="3293681" cy="446148"/>
          </a:xfrm>
          <a:prstGeom prst="rect">
            <a:avLst/>
          </a:prstGeom>
        </p:spPr>
        <p:txBody>
          <a:bodyPr lIns="0" tIns="0" rIns="0" bIns="0" rtlCol="0" anchor="t">
            <a:spAutoFit/>
          </a:bodyPr>
          <a:lstStyle/>
          <a:p>
            <a:pPr algn="ctr">
              <a:lnSpc>
                <a:spcPts val="3733"/>
              </a:lnSpc>
              <a:spcBef>
                <a:spcPct val="0"/>
              </a:spcBef>
            </a:pPr>
            <a:r>
              <a:rPr lang="en-US" sz="2666" spc="194">
                <a:solidFill>
                  <a:srgbClr val="EDEAE5"/>
                </a:solidFill>
                <a:latin typeface="TT Commons Pro Bold"/>
              </a:rPr>
              <a:t>PART THREE</a:t>
            </a:r>
          </a:p>
        </p:txBody>
      </p:sp>
    </p:spTree>
    <p:extLst>
      <p:ext uri="{BB962C8B-B14F-4D97-AF65-F5344CB8AC3E}">
        <p14:creationId xmlns:p14="http://schemas.microsoft.com/office/powerpoint/2010/main" val="355969007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EDEAE5"/>
        </a:solidFill>
        <a:effectLst/>
      </p:bgPr>
    </p:bg>
    <p:spTree>
      <p:nvGrpSpPr>
        <p:cNvPr id="1" name=""/>
        <p:cNvGrpSpPr/>
        <p:nvPr/>
      </p:nvGrpSpPr>
      <p:grpSpPr>
        <a:xfrm>
          <a:off x="0" y="0"/>
          <a:ext cx="0" cy="0"/>
          <a:chOff x="0" y="0"/>
          <a:chExt cx="0" cy="0"/>
        </a:xfrm>
      </p:grpSpPr>
      <p:sp>
        <p:nvSpPr>
          <p:cNvPr id="2" name="AutoShape 2"/>
          <p:cNvSpPr/>
          <p:nvPr/>
        </p:nvSpPr>
        <p:spPr>
          <a:xfrm>
            <a:off x="4997201" y="-237600"/>
            <a:ext cx="0" cy="7542749"/>
          </a:xfrm>
          <a:prstGeom prst="line">
            <a:avLst/>
          </a:prstGeom>
          <a:ln w="28575" cap="flat">
            <a:solidFill>
              <a:srgbClr val="7D704C"/>
            </a:solidFill>
            <a:prstDash val="solid"/>
            <a:headEnd type="none" w="sm" len="sm"/>
            <a:tailEnd type="none" w="sm" len="sm"/>
          </a:ln>
        </p:spPr>
      </p:sp>
      <p:sp>
        <p:nvSpPr>
          <p:cNvPr id="3" name="AutoShape 3"/>
          <p:cNvSpPr/>
          <p:nvPr/>
        </p:nvSpPr>
        <p:spPr>
          <a:xfrm>
            <a:off x="5006727" y="3419475"/>
            <a:ext cx="8249499" cy="0"/>
          </a:xfrm>
          <a:prstGeom prst="line">
            <a:avLst/>
          </a:prstGeom>
          <a:ln w="28575" cap="flat">
            <a:solidFill>
              <a:srgbClr val="7D704C"/>
            </a:solidFill>
            <a:prstDash val="solid"/>
            <a:headEnd type="none" w="sm" len="sm"/>
            <a:tailEnd type="none" w="sm" len="sm"/>
          </a:ln>
        </p:spPr>
      </p:sp>
      <p:sp>
        <p:nvSpPr>
          <p:cNvPr id="5" name="TextBox 5"/>
          <p:cNvSpPr txBox="1"/>
          <p:nvPr/>
        </p:nvSpPr>
        <p:spPr>
          <a:xfrm>
            <a:off x="5179972" y="3477314"/>
            <a:ext cx="6855687" cy="3378308"/>
          </a:xfrm>
          <a:prstGeom prst="rect">
            <a:avLst/>
          </a:prstGeom>
        </p:spPr>
        <p:txBody>
          <a:bodyPr wrap="square" lIns="0" tIns="0" rIns="0" bIns="0" rtlCol="0" anchor="t">
            <a:spAutoFit/>
          </a:bodyPr>
          <a:lstStyle/>
          <a:p>
            <a:pPr>
              <a:lnSpc>
                <a:spcPts val="2239"/>
              </a:lnSpc>
            </a:pPr>
            <a:r>
              <a:rPr lang="en-US" sz="1550" spc="15" dirty="0">
                <a:solidFill>
                  <a:srgbClr val="7D704C"/>
                </a:solidFill>
                <a:latin typeface="TT Commons Pro Bold"/>
              </a:rPr>
              <a:t>The fetal monitor started to sound—we were suddenly in an emergency. I needed to give birth right away. The pain I felt made sense because I was now 10 cm dilated and baby was low. Adding fuel to the panicked fire, the hospital staff never took a moment to directly address me about what was happening. Despite my pleas for pain medication, I didn’t get what I needed. I pushed until baby crowned and I felt like I was going to pass out. Still, the doctor warned that if I didn’t push, he was going to be forced to pull. I pushed with all my might, and he pulled to deliver the shoulders and, ultimately, the rest of baby’s body. This created a tear that needed an unspeakable number of stitches. They placed my baby on my chest, and I instantly fell in love. He was perfect.</a:t>
            </a:r>
          </a:p>
          <a:p>
            <a:pPr>
              <a:lnSpc>
                <a:spcPts val="2239"/>
              </a:lnSpc>
            </a:pPr>
            <a:endParaRPr lang="en-US" sz="1599" spc="15">
              <a:solidFill>
                <a:srgbClr val="7D704C"/>
              </a:solidFill>
              <a:latin typeface="TT Commons Pro Bold"/>
            </a:endParaRPr>
          </a:p>
          <a:p>
            <a:pPr>
              <a:lnSpc>
                <a:spcPts val="2239"/>
              </a:lnSpc>
              <a:spcBef>
                <a:spcPct val="0"/>
              </a:spcBef>
            </a:pPr>
            <a:endParaRPr lang="en-US" sz="1599" spc="15">
              <a:solidFill>
                <a:srgbClr val="7D704C"/>
              </a:solidFill>
              <a:latin typeface="TT Commons Pro Bold"/>
            </a:endParaRPr>
          </a:p>
        </p:txBody>
      </p:sp>
      <p:sp>
        <p:nvSpPr>
          <p:cNvPr id="6" name="TextBox 6"/>
          <p:cNvSpPr txBox="1"/>
          <p:nvPr/>
        </p:nvSpPr>
        <p:spPr>
          <a:xfrm>
            <a:off x="5181896" y="84163"/>
            <a:ext cx="6712776" cy="3382264"/>
          </a:xfrm>
          <a:prstGeom prst="rect">
            <a:avLst/>
          </a:prstGeom>
        </p:spPr>
        <p:txBody>
          <a:bodyPr wrap="square" lIns="0" tIns="0" rIns="0" bIns="0" rtlCol="0" anchor="t">
            <a:spAutoFit/>
          </a:bodyPr>
          <a:lstStyle/>
          <a:p>
            <a:pPr>
              <a:lnSpc>
                <a:spcPts val="2239"/>
              </a:lnSpc>
            </a:pPr>
            <a:r>
              <a:rPr lang="en-US" sz="1550" spc="15" dirty="0">
                <a:solidFill>
                  <a:srgbClr val="7D704C"/>
                </a:solidFill>
                <a:latin typeface="TT Commons Pro Bold"/>
              </a:rPr>
              <a:t>Four or five hours into the ordeal, the doctor came into the room to break my water. But after a first attempt, he seemed confused. Turns out, my sacs were already ruptured. He started to question nurses and other staff about when and how my water had broken, but no one had an answer. Outside my room, I could hear them discussing what had gone wrong. I begged for pain medication and was met with shrugs of silence. Communication was lacking, and the few times the nurses or doctors did speak to me, they were curt, unkind and unsupportive. My husband demanded that someone help me with my pain but was met with threats to call security because he was “yelling” at the staff. At this point, I became more upset and asked to be left alone.</a:t>
            </a:r>
          </a:p>
          <a:p>
            <a:pPr>
              <a:lnSpc>
                <a:spcPts val="2239"/>
              </a:lnSpc>
            </a:pPr>
            <a:endParaRPr lang="en-US" sz="1599" spc="15">
              <a:solidFill>
                <a:srgbClr val="7D704C"/>
              </a:solidFill>
              <a:latin typeface="TT Commons Pro Bold"/>
            </a:endParaRPr>
          </a:p>
          <a:p>
            <a:pPr>
              <a:lnSpc>
                <a:spcPts val="2239"/>
              </a:lnSpc>
              <a:spcBef>
                <a:spcPct val="0"/>
              </a:spcBef>
            </a:pPr>
            <a:endParaRPr lang="en-US" sz="1599" spc="15">
              <a:solidFill>
                <a:srgbClr val="7D704C"/>
              </a:solidFill>
              <a:latin typeface="TT Commons Pro Bold"/>
            </a:endParaRPr>
          </a:p>
        </p:txBody>
      </p:sp>
    </p:spTree>
    <p:extLst>
      <p:ext uri="{BB962C8B-B14F-4D97-AF65-F5344CB8AC3E}">
        <p14:creationId xmlns:p14="http://schemas.microsoft.com/office/powerpoint/2010/main" val="419810294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7D704C"/>
        </a:solidFill>
        <a:effectLst/>
      </p:bgPr>
    </p:bg>
    <p:spTree>
      <p:nvGrpSpPr>
        <p:cNvPr id="1" name=""/>
        <p:cNvGrpSpPr/>
        <p:nvPr/>
      </p:nvGrpSpPr>
      <p:grpSpPr>
        <a:xfrm>
          <a:off x="0" y="0"/>
          <a:ext cx="0" cy="0"/>
          <a:chOff x="0" y="0"/>
          <a:chExt cx="0" cy="0"/>
        </a:xfrm>
      </p:grpSpPr>
      <p:sp>
        <p:nvSpPr>
          <p:cNvPr id="2" name="TextBox 2"/>
          <p:cNvSpPr txBox="1"/>
          <p:nvPr/>
        </p:nvSpPr>
        <p:spPr>
          <a:xfrm>
            <a:off x="1758097" y="2256300"/>
            <a:ext cx="8675807" cy="854208"/>
          </a:xfrm>
          <a:prstGeom prst="rect">
            <a:avLst/>
          </a:prstGeom>
        </p:spPr>
        <p:txBody>
          <a:bodyPr lIns="0" tIns="0" rIns="0" bIns="0" rtlCol="0" anchor="t">
            <a:spAutoFit/>
          </a:bodyPr>
          <a:lstStyle/>
          <a:p>
            <a:pPr algn="ctr">
              <a:lnSpc>
                <a:spcPts val="6307"/>
              </a:lnSpc>
            </a:pPr>
            <a:r>
              <a:rPr lang="en-US" sz="7334" spc="-367">
                <a:solidFill>
                  <a:srgbClr val="EDEAE5"/>
                </a:solidFill>
                <a:latin typeface="Caslon #540"/>
              </a:rPr>
              <a:t>Mother &amp; Baby Unit</a:t>
            </a:r>
          </a:p>
        </p:txBody>
      </p:sp>
      <p:sp>
        <p:nvSpPr>
          <p:cNvPr id="3" name="TextBox 3"/>
          <p:cNvSpPr txBox="1"/>
          <p:nvPr/>
        </p:nvSpPr>
        <p:spPr>
          <a:xfrm>
            <a:off x="4449160" y="3939675"/>
            <a:ext cx="3293681" cy="216021"/>
          </a:xfrm>
          <a:prstGeom prst="rect">
            <a:avLst/>
          </a:prstGeom>
        </p:spPr>
        <p:txBody>
          <a:bodyPr lIns="0" tIns="0" rIns="0" bIns="0" rtlCol="0" anchor="t">
            <a:spAutoFit/>
          </a:bodyPr>
          <a:lstStyle/>
          <a:p>
            <a:pPr algn="ctr">
              <a:lnSpc>
                <a:spcPts val="1773"/>
              </a:lnSpc>
              <a:spcBef>
                <a:spcPct val="0"/>
              </a:spcBef>
            </a:pPr>
            <a:r>
              <a:rPr lang="en-US" sz="1267" spc="92">
                <a:solidFill>
                  <a:srgbClr val="EDEAE5"/>
                </a:solidFill>
                <a:latin typeface="TT Commons Pro Bold"/>
              </a:rPr>
              <a:t>PART FOUR</a:t>
            </a:r>
          </a:p>
        </p:txBody>
      </p:sp>
    </p:spTree>
    <p:extLst>
      <p:ext uri="{BB962C8B-B14F-4D97-AF65-F5344CB8AC3E}">
        <p14:creationId xmlns:p14="http://schemas.microsoft.com/office/powerpoint/2010/main" val="32985927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a:xfrm>
            <a:off x="320039" y="647423"/>
            <a:ext cx="8229600" cy="1143000"/>
          </a:xfrm>
          <a:noFill/>
        </p:spPr>
        <p:txBody>
          <a:bodyPr>
            <a:normAutofit fontScale="90000"/>
          </a:bodyPr>
          <a:lstStyle/>
          <a:p>
            <a:r>
              <a:rPr lang="en-US" i="1">
                <a:ea typeface="+mj-lt"/>
                <a:cs typeface="+mj-lt"/>
              </a:rPr>
              <a:t>Patient, Family, Community Engagement Breakout Session </a:t>
            </a:r>
            <a:r>
              <a:rPr lang="en-US" altLang="en-US">
                <a:ea typeface="Lato Medium"/>
                <a:cs typeface="Lato Medium"/>
              </a:rPr>
              <a:t> </a:t>
            </a:r>
            <a:endParaRPr lang="en-US">
              <a:ea typeface="Lato Medium"/>
              <a:cs typeface="Lato Medium"/>
            </a:endParaRPr>
          </a:p>
        </p:txBody>
      </p:sp>
      <p:sp>
        <p:nvSpPr>
          <p:cNvPr id="16387" name="Content Placeholder 3"/>
          <p:cNvSpPr>
            <a:spLocks noGrp="1"/>
          </p:cNvSpPr>
          <p:nvPr>
            <p:ph idx="1"/>
          </p:nvPr>
        </p:nvSpPr>
        <p:spPr>
          <a:xfrm>
            <a:off x="418763" y="1373282"/>
            <a:ext cx="5832828" cy="4935266"/>
          </a:xfrm>
        </p:spPr>
        <p:txBody>
          <a:bodyPr vert="horz" lIns="91440" tIns="45720" rIns="91440" bIns="45720" rtlCol="0" anchor="t">
            <a:normAutofit/>
          </a:bodyPr>
          <a:lstStyle/>
          <a:p>
            <a:endParaRPr lang="en-US" sz="2200"/>
          </a:p>
          <a:p>
            <a:pPr marL="457200" lvl="1" indent="0">
              <a:buClr>
                <a:srgbClr val="004990"/>
              </a:buClr>
              <a:buNone/>
            </a:pPr>
            <a:endParaRPr lang="en-US" altLang="en-US" sz="2200"/>
          </a:p>
          <a:p>
            <a:endParaRPr lang="en-US" altLang="en-US"/>
          </a:p>
        </p:txBody>
      </p:sp>
      <p:sp>
        <p:nvSpPr>
          <p:cNvPr id="7" name="Rectangle 6">
            <a:extLst>
              <a:ext uri="{FF2B5EF4-FFF2-40B4-BE49-F238E27FC236}">
                <a16:creationId xmlns:a16="http://schemas.microsoft.com/office/drawing/2014/main" id="{7E13C86E-7C8D-3F7D-948E-5B86E04CE1A7}"/>
              </a:ext>
            </a:extLst>
          </p:cNvPr>
          <p:cNvSpPr/>
          <p:nvPr/>
        </p:nvSpPr>
        <p:spPr>
          <a:xfrm>
            <a:off x="322858" y="1802039"/>
            <a:ext cx="8059279" cy="3359061"/>
          </a:xfrm>
          <a:prstGeom prst="rect">
            <a:avLst/>
          </a:prstGeom>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pPr>
            <a:r>
              <a:rPr lang="en-US" altLang="en-US" sz="2400" dirty="0">
                <a:ea typeface="Lato"/>
                <a:cs typeface="Lato"/>
              </a:rPr>
              <a:t>Breakout facilitators:</a:t>
            </a:r>
            <a:endParaRPr lang="en-US" sz="2400" dirty="0">
              <a:cs typeface="Calibri"/>
            </a:endParaRPr>
          </a:p>
          <a:p>
            <a:pPr marL="800100" lvl="1" indent="-342900">
              <a:lnSpc>
                <a:spcPct val="150000"/>
              </a:lnSpc>
              <a:buClr>
                <a:srgbClr val="004990"/>
              </a:buClr>
              <a:buFont typeface="Arial" panose="020B0604020202020204" pitchFamily="34" charset="0"/>
              <a:buChar char="•"/>
            </a:pPr>
            <a:r>
              <a:rPr lang="en-US" sz="2400" dirty="0">
                <a:solidFill>
                  <a:schemeClr val="tx1">
                    <a:lumMod val="50000"/>
                  </a:schemeClr>
                </a:solidFill>
                <a:ea typeface="+mn-lt"/>
                <a:cs typeface="+mn-lt"/>
              </a:rPr>
              <a:t>Charity S. Bean, CMA, CFSD, CLC, CBA, CHW, SRN </a:t>
            </a:r>
            <a:endParaRPr lang="en-US" altLang="en-US" sz="2400" dirty="0">
              <a:solidFill>
                <a:schemeClr val="tx1">
                  <a:lumMod val="50000"/>
                </a:schemeClr>
              </a:solidFill>
              <a:ea typeface="+mn-lt"/>
              <a:cs typeface="+mn-lt"/>
            </a:endParaRPr>
          </a:p>
          <a:p>
            <a:pPr marL="800100" lvl="1" indent="-342900">
              <a:lnSpc>
                <a:spcPct val="150000"/>
              </a:lnSpc>
              <a:buClr>
                <a:srgbClr val="004990"/>
              </a:buClr>
              <a:buFont typeface="Arial,Sans-Serif" panose="020B0604020202020204" pitchFamily="34" charset="0"/>
              <a:buChar char="•"/>
            </a:pPr>
            <a:r>
              <a:rPr lang="en-US" sz="2400" dirty="0">
                <a:solidFill>
                  <a:schemeClr val="tx1">
                    <a:lumMod val="50000"/>
                  </a:schemeClr>
                </a:solidFill>
                <a:ea typeface="+mn-lt"/>
                <a:cs typeface="+mn-lt"/>
              </a:rPr>
              <a:t>Nancy Maruyama, RN, BSN, NCBF</a:t>
            </a:r>
          </a:p>
          <a:p>
            <a:pPr marL="800100" lvl="1" indent="-342900">
              <a:lnSpc>
                <a:spcPct val="150000"/>
              </a:lnSpc>
              <a:buFont typeface="Arial,Sans-Serif" panose="020B0604020202020204" pitchFamily="34" charset="0"/>
              <a:buChar char="•"/>
            </a:pPr>
            <a:r>
              <a:rPr lang="en-US" sz="2400" dirty="0">
                <a:solidFill>
                  <a:schemeClr val="tx1">
                    <a:lumMod val="50000"/>
                  </a:schemeClr>
                </a:solidFill>
                <a:ea typeface="+mn-lt"/>
                <a:cs typeface="+mn-lt"/>
              </a:rPr>
              <a:t>Tamela Milan-Alexander, MPPA</a:t>
            </a:r>
          </a:p>
          <a:p>
            <a:pPr marL="800100" lvl="1" indent="-342900">
              <a:lnSpc>
                <a:spcPct val="150000"/>
              </a:lnSpc>
              <a:buClr>
                <a:srgbClr val="004990"/>
              </a:buClr>
              <a:buFont typeface="Arial" panose="020B0604020202020204" pitchFamily="34" charset="0"/>
              <a:buChar char="•"/>
            </a:pPr>
            <a:r>
              <a:rPr lang="en-US" sz="2400" dirty="0">
                <a:solidFill>
                  <a:schemeClr val="tx1">
                    <a:lumMod val="50000"/>
                  </a:schemeClr>
                </a:solidFill>
                <a:ea typeface="+mn-lt"/>
                <a:cs typeface="+mn-lt"/>
              </a:rPr>
              <a:t>Kakuna Smith</a:t>
            </a:r>
            <a:endParaRPr lang="en-US" dirty="0">
              <a:solidFill>
                <a:schemeClr val="tx1">
                  <a:lumMod val="50000"/>
                </a:schemeClr>
              </a:solidFill>
            </a:endParaRPr>
          </a:p>
          <a:p>
            <a:pPr marL="800100" lvl="1" indent="-342900">
              <a:lnSpc>
                <a:spcPct val="150000"/>
              </a:lnSpc>
              <a:buClr>
                <a:srgbClr val="004990"/>
              </a:buClr>
              <a:buFont typeface="Arial" panose="020B0604020202020204" pitchFamily="34" charset="0"/>
              <a:buChar char="•"/>
            </a:pPr>
            <a:r>
              <a:rPr lang="en-US" sz="2400" dirty="0">
                <a:solidFill>
                  <a:schemeClr val="tx1">
                    <a:lumMod val="50000"/>
                  </a:schemeClr>
                </a:solidFill>
                <a:ea typeface="+mn-lt"/>
                <a:cs typeface="+mn-lt"/>
              </a:rPr>
              <a:t>with welcome from Patti Lee King, PhD, MSW</a:t>
            </a:r>
          </a:p>
        </p:txBody>
      </p:sp>
    </p:spTree>
    <p:extLst>
      <p:ext uri="{BB962C8B-B14F-4D97-AF65-F5344CB8AC3E}">
        <p14:creationId xmlns:p14="http://schemas.microsoft.com/office/powerpoint/2010/main" val="324013307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EDEAE5"/>
        </a:solidFill>
        <a:effectLst/>
      </p:bgPr>
    </p:bg>
    <p:spTree>
      <p:nvGrpSpPr>
        <p:cNvPr id="1" name=""/>
        <p:cNvGrpSpPr/>
        <p:nvPr/>
      </p:nvGrpSpPr>
      <p:grpSpPr>
        <a:xfrm>
          <a:off x="0" y="0"/>
          <a:ext cx="0" cy="0"/>
          <a:chOff x="0" y="0"/>
          <a:chExt cx="0" cy="0"/>
        </a:xfrm>
      </p:grpSpPr>
      <p:sp>
        <p:nvSpPr>
          <p:cNvPr id="2" name="AutoShape 2"/>
          <p:cNvSpPr/>
          <p:nvPr/>
        </p:nvSpPr>
        <p:spPr>
          <a:xfrm>
            <a:off x="4160273" y="-684749"/>
            <a:ext cx="0" cy="7542749"/>
          </a:xfrm>
          <a:prstGeom prst="line">
            <a:avLst/>
          </a:prstGeom>
          <a:ln w="28575" cap="flat">
            <a:solidFill>
              <a:srgbClr val="7D704C"/>
            </a:solidFill>
            <a:prstDash val="solid"/>
            <a:headEnd type="none" w="sm" len="sm"/>
            <a:tailEnd type="none" w="sm" len="sm"/>
          </a:ln>
        </p:spPr>
      </p:sp>
      <p:sp>
        <p:nvSpPr>
          <p:cNvPr id="3" name="AutoShape 3"/>
          <p:cNvSpPr/>
          <p:nvPr/>
        </p:nvSpPr>
        <p:spPr>
          <a:xfrm>
            <a:off x="4169799" y="3096150"/>
            <a:ext cx="8249499" cy="0"/>
          </a:xfrm>
          <a:prstGeom prst="line">
            <a:avLst/>
          </a:prstGeom>
          <a:ln w="28575" cap="flat">
            <a:solidFill>
              <a:srgbClr val="7D704C"/>
            </a:solidFill>
            <a:prstDash val="solid"/>
            <a:headEnd type="none" w="sm" len="sm"/>
            <a:tailEnd type="none" w="sm" len="sm"/>
          </a:ln>
        </p:spPr>
      </p:sp>
      <p:sp>
        <p:nvSpPr>
          <p:cNvPr id="5" name="TextBox 5"/>
          <p:cNvSpPr txBox="1"/>
          <p:nvPr/>
        </p:nvSpPr>
        <p:spPr>
          <a:xfrm>
            <a:off x="4494278" y="337010"/>
            <a:ext cx="7186936" cy="2522742"/>
          </a:xfrm>
          <a:prstGeom prst="rect">
            <a:avLst/>
          </a:prstGeom>
        </p:spPr>
        <p:txBody>
          <a:bodyPr lIns="0" tIns="0" rIns="0" bIns="0" rtlCol="0" anchor="t">
            <a:spAutoFit/>
          </a:bodyPr>
          <a:lstStyle/>
          <a:p>
            <a:pPr>
              <a:lnSpc>
                <a:spcPts val="2239"/>
              </a:lnSpc>
            </a:pPr>
            <a:r>
              <a:rPr lang="en-US" sz="1550" spc="15" dirty="0">
                <a:solidFill>
                  <a:srgbClr val="7D704C"/>
                </a:solidFill>
                <a:latin typeface="TT Commons Pro Bold"/>
              </a:rPr>
              <a:t>When we finally moved to our postpartum room, our first nurse was amazing and so attentive. She really educated me on how to care for my stitches and gave my husband and I get assistance with lactation. As the night came, a new nurse came on and she was very rude. She came in at 1am and stated the baby needed to eat more and proceeded to give our baby a bottle of formula. I informed her that I was breast feeding and only wanted to put my baby to breast. I asked why and she stated our baby was down 6% birth weight. Out of fear that our baby was losing too much weight, I agreed. I was devastated and felt as if I was failing my baby.</a:t>
            </a:r>
            <a:r>
              <a:rPr lang="en-US" sz="1550" spc="15" dirty="0">
                <a:solidFill>
                  <a:srgbClr val="7D704C"/>
                </a:solidFill>
                <a:latin typeface="TT Commons Pro"/>
              </a:rPr>
              <a:t>  </a:t>
            </a:r>
            <a:endParaRPr lang="en-US" sz="1599" spc="15">
              <a:solidFill>
                <a:srgbClr val="7D704C"/>
              </a:solidFill>
              <a:latin typeface="TT Commons Pro"/>
            </a:endParaRPr>
          </a:p>
          <a:p>
            <a:pPr>
              <a:lnSpc>
                <a:spcPts val="2239"/>
              </a:lnSpc>
              <a:spcBef>
                <a:spcPct val="0"/>
              </a:spcBef>
            </a:pPr>
            <a:endParaRPr lang="en-US" sz="1599" spc="15">
              <a:solidFill>
                <a:srgbClr val="7D704C"/>
              </a:solidFill>
              <a:latin typeface="TT Commons Pro"/>
            </a:endParaRPr>
          </a:p>
        </p:txBody>
      </p:sp>
      <p:sp>
        <p:nvSpPr>
          <p:cNvPr id="6" name="TextBox 6"/>
          <p:cNvSpPr txBox="1"/>
          <p:nvPr/>
        </p:nvSpPr>
        <p:spPr>
          <a:xfrm>
            <a:off x="4494278" y="3390900"/>
            <a:ext cx="6841129" cy="2240613"/>
          </a:xfrm>
          <a:prstGeom prst="rect">
            <a:avLst/>
          </a:prstGeom>
        </p:spPr>
        <p:txBody>
          <a:bodyPr lIns="0" tIns="0" rIns="0" bIns="0" rtlCol="0" anchor="t">
            <a:spAutoFit/>
          </a:bodyPr>
          <a:lstStyle/>
          <a:p>
            <a:pPr>
              <a:lnSpc>
                <a:spcPts val="2239"/>
              </a:lnSpc>
            </a:pPr>
            <a:r>
              <a:rPr lang="en-US" sz="1550" spc="15" dirty="0">
                <a:solidFill>
                  <a:srgbClr val="7D704C"/>
                </a:solidFill>
                <a:latin typeface="TT Commons Pro Bold"/>
              </a:rPr>
              <a:t>The next morning, the previous nurse returned, and she assisted us with performing our baby’s first bath and respected our decision not to circumcise. She and the rest of the staff made our stay amazing from that point. Lactation came in and answered all our questions and helped us feel more confident in getting our baby latched. The lactation consultant also informed us that babies lose 7-10% of their birth weight and regain it in 2 weeks after birth. I once again was angry because the nurse the night before insisted that we give formula.  </a:t>
            </a:r>
            <a:endParaRPr lang="en-US" sz="1599" spc="15" dirty="0">
              <a:solidFill>
                <a:srgbClr val="7D704C"/>
              </a:solidFill>
              <a:latin typeface="TT Commons Pro Bold"/>
            </a:endParaRPr>
          </a:p>
          <a:p>
            <a:pPr>
              <a:lnSpc>
                <a:spcPts val="2239"/>
              </a:lnSpc>
              <a:spcBef>
                <a:spcPct val="0"/>
              </a:spcBef>
            </a:pPr>
            <a:endParaRPr lang="en-US" sz="1599" spc="15">
              <a:solidFill>
                <a:srgbClr val="7D704C"/>
              </a:solidFill>
              <a:latin typeface="TT Commons Pro Bold"/>
            </a:endParaRPr>
          </a:p>
        </p:txBody>
      </p:sp>
    </p:spTree>
    <p:extLst>
      <p:ext uri="{BB962C8B-B14F-4D97-AF65-F5344CB8AC3E}">
        <p14:creationId xmlns:p14="http://schemas.microsoft.com/office/powerpoint/2010/main" val="423787243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7D704C"/>
        </a:solidFill>
        <a:effectLst/>
      </p:bgPr>
    </p:bg>
    <p:spTree>
      <p:nvGrpSpPr>
        <p:cNvPr id="1" name=""/>
        <p:cNvGrpSpPr/>
        <p:nvPr/>
      </p:nvGrpSpPr>
      <p:grpSpPr>
        <a:xfrm>
          <a:off x="0" y="0"/>
          <a:ext cx="0" cy="0"/>
          <a:chOff x="0" y="0"/>
          <a:chExt cx="0" cy="0"/>
        </a:xfrm>
      </p:grpSpPr>
      <p:sp>
        <p:nvSpPr>
          <p:cNvPr id="2" name="TextBox 2"/>
          <p:cNvSpPr txBox="1"/>
          <p:nvPr/>
        </p:nvSpPr>
        <p:spPr>
          <a:xfrm>
            <a:off x="1758097" y="2256300"/>
            <a:ext cx="8675807" cy="854208"/>
          </a:xfrm>
          <a:prstGeom prst="rect">
            <a:avLst/>
          </a:prstGeom>
        </p:spPr>
        <p:txBody>
          <a:bodyPr lIns="0" tIns="0" rIns="0" bIns="0" rtlCol="0" anchor="t">
            <a:spAutoFit/>
          </a:bodyPr>
          <a:lstStyle/>
          <a:p>
            <a:pPr algn="ctr">
              <a:lnSpc>
                <a:spcPts val="6307"/>
              </a:lnSpc>
            </a:pPr>
            <a:r>
              <a:rPr lang="en-US" sz="7334" spc="-367">
                <a:solidFill>
                  <a:srgbClr val="EDEAE5"/>
                </a:solidFill>
                <a:latin typeface="Caslon #540"/>
              </a:rPr>
              <a:t>Discharge</a:t>
            </a:r>
          </a:p>
        </p:txBody>
      </p:sp>
      <p:sp>
        <p:nvSpPr>
          <p:cNvPr id="3" name="TextBox 3"/>
          <p:cNvSpPr txBox="1"/>
          <p:nvPr/>
        </p:nvSpPr>
        <p:spPr>
          <a:xfrm>
            <a:off x="4449160" y="3939675"/>
            <a:ext cx="3293681" cy="216021"/>
          </a:xfrm>
          <a:prstGeom prst="rect">
            <a:avLst/>
          </a:prstGeom>
        </p:spPr>
        <p:txBody>
          <a:bodyPr lIns="0" tIns="0" rIns="0" bIns="0" rtlCol="0" anchor="t">
            <a:spAutoFit/>
          </a:bodyPr>
          <a:lstStyle/>
          <a:p>
            <a:pPr algn="ctr">
              <a:lnSpc>
                <a:spcPts val="1773"/>
              </a:lnSpc>
              <a:spcBef>
                <a:spcPct val="0"/>
              </a:spcBef>
            </a:pPr>
            <a:r>
              <a:rPr lang="en-US" sz="1267" spc="92">
                <a:solidFill>
                  <a:srgbClr val="EDEAE5"/>
                </a:solidFill>
                <a:latin typeface="TT Commons Pro Bold"/>
              </a:rPr>
              <a:t>PART FIVE</a:t>
            </a:r>
          </a:p>
        </p:txBody>
      </p:sp>
    </p:spTree>
    <p:extLst>
      <p:ext uri="{BB962C8B-B14F-4D97-AF65-F5344CB8AC3E}">
        <p14:creationId xmlns:p14="http://schemas.microsoft.com/office/powerpoint/2010/main" val="168196768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EDEAE5"/>
        </a:solidFill>
        <a:effectLst/>
      </p:bgPr>
    </p:bg>
    <p:spTree>
      <p:nvGrpSpPr>
        <p:cNvPr id="1" name=""/>
        <p:cNvGrpSpPr/>
        <p:nvPr/>
      </p:nvGrpSpPr>
      <p:grpSpPr>
        <a:xfrm>
          <a:off x="0" y="0"/>
          <a:ext cx="0" cy="0"/>
          <a:chOff x="0" y="0"/>
          <a:chExt cx="0" cy="0"/>
        </a:xfrm>
      </p:grpSpPr>
      <p:sp>
        <p:nvSpPr>
          <p:cNvPr id="2" name="AutoShape 2"/>
          <p:cNvSpPr/>
          <p:nvPr/>
        </p:nvSpPr>
        <p:spPr>
          <a:xfrm>
            <a:off x="5330067" y="-684749"/>
            <a:ext cx="0" cy="7542749"/>
          </a:xfrm>
          <a:prstGeom prst="line">
            <a:avLst/>
          </a:prstGeom>
          <a:ln w="28575" cap="flat">
            <a:solidFill>
              <a:srgbClr val="7D704C"/>
            </a:solidFill>
            <a:prstDash val="solid"/>
            <a:headEnd type="none" w="sm" len="sm"/>
            <a:tailEnd type="none" w="sm" len="sm"/>
          </a:ln>
        </p:spPr>
      </p:sp>
      <p:sp>
        <p:nvSpPr>
          <p:cNvPr id="3" name="AutoShape 3"/>
          <p:cNvSpPr/>
          <p:nvPr/>
        </p:nvSpPr>
        <p:spPr>
          <a:xfrm>
            <a:off x="6635501" y="3429000"/>
            <a:ext cx="8249499" cy="0"/>
          </a:xfrm>
          <a:prstGeom prst="line">
            <a:avLst/>
          </a:prstGeom>
          <a:ln w="28575" cap="flat">
            <a:solidFill>
              <a:srgbClr val="7D704C"/>
            </a:solidFill>
            <a:prstDash val="solid"/>
            <a:headEnd type="none" w="sm" len="sm"/>
            <a:tailEnd type="none" w="sm" len="sm"/>
          </a:ln>
        </p:spPr>
      </p:sp>
      <p:sp>
        <p:nvSpPr>
          <p:cNvPr id="6" name="TextBox 6"/>
          <p:cNvSpPr txBox="1"/>
          <p:nvPr/>
        </p:nvSpPr>
        <p:spPr>
          <a:xfrm>
            <a:off x="5449760" y="490468"/>
            <a:ext cx="6742069" cy="3484415"/>
          </a:xfrm>
          <a:prstGeom prst="rect">
            <a:avLst/>
          </a:prstGeom>
        </p:spPr>
        <p:txBody>
          <a:bodyPr wrap="square" lIns="0" tIns="0" rIns="0" bIns="0" rtlCol="0" anchor="t">
            <a:spAutoFit/>
          </a:bodyPr>
          <a:lstStyle/>
          <a:p>
            <a:pPr>
              <a:lnSpc>
                <a:spcPts val="2110"/>
              </a:lnSpc>
              <a:spcBef>
                <a:spcPct val="0"/>
              </a:spcBef>
            </a:pPr>
            <a:r>
              <a:rPr lang="en-US" sz="1500" spc="15" dirty="0">
                <a:solidFill>
                  <a:srgbClr val="7D704C"/>
                </a:solidFill>
                <a:latin typeface="TT Commons Pro Bold"/>
              </a:rPr>
              <a:t>Postpartum overall was the best part of my experience. I received the best care in postpartum. They provided a lot of emotional support and concern. In addition, they provided education on newborn care and swaddling. However, I did feel I wasn’t given enough information on vaginal care and postpartum depression upon discharge. We felt rushed out once the discharge papers where signed. </a:t>
            </a:r>
            <a:endParaRPr lang="en-US" sz="1507" spc="15" dirty="0">
              <a:solidFill>
                <a:srgbClr val="7D704C"/>
              </a:solidFill>
              <a:latin typeface="TT Commons Pro"/>
            </a:endParaRPr>
          </a:p>
          <a:p>
            <a:pPr>
              <a:lnSpc>
                <a:spcPts val="2110"/>
              </a:lnSpc>
              <a:spcBef>
                <a:spcPct val="0"/>
              </a:spcBef>
            </a:pPr>
            <a:endParaRPr lang="en-US" sz="1500" spc="15" dirty="0">
              <a:solidFill>
                <a:srgbClr val="7D704C"/>
              </a:solidFill>
              <a:latin typeface="TT Commons Pro Bold"/>
            </a:endParaRPr>
          </a:p>
          <a:p>
            <a:pPr>
              <a:lnSpc>
                <a:spcPts val="2110"/>
              </a:lnSpc>
              <a:spcBef>
                <a:spcPct val="0"/>
              </a:spcBef>
            </a:pPr>
            <a:r>
              <a:rPr lang="en-US" sz="1500" spc="15" dirty="0">
                <a:solidFill>
                  <a:srgbClr val="7D704C"/>
                </a:solidFill>
                <a:latin typeface="TT Commons Pro Bold"/>
              </a:rPr>
              <a:t>My husband had to go home to get the car seat which we hadn’t installed due to our move. The transporter seemed frustrated and kept asking how much longer. </a:t>
            </a:r>
            <a:endParaRPr lang="en-US" sz="1500" spc="15">
              <a:solidFill>
                <a:srgbClr val="7D704C"/>
              </a:solidFill>
              <a:latin typeface="TT Commons Pro"/>
            </a:endParaRPr>
          </a:p>
          <a:p>
            <a:pPr>
              <a:lnSpc>
                <a:spcPts val="2110"/>
              </a:lnSpc>
              <a:spcBef>
                <a:spcPct val="0"/>
              </a:spcBef>
            </a:pPr>
            <a:endParaRPr lang="en-US" sz="1500" spc="15" dirty="0">
              <a:solidFill>
                <a:srgbClr val="7D704C"/>
              </a:solidFill>
              <a:latin typeface="TT Commons Pro Bold"/>
            </a:endParaRPr>
          </a:p>
          <a:p>
            <a:pPr>
              <a:lnSpc>
                <a:spcPts val="2110"/>
              </a:lnSpc>
              <a:spcBef>
                <a:spcPct val="0"/>
              </a:spcBef>
            </a:pPr>
            <a:endParaRPr lang="en-US" sz="1500" spc="15" dirty="0">
              <a:solidFill>
                <a:srgbClr val="7D704C"/>
              </a:solidFill>
              <a:latin typeface="TT Commons Pro Bold"/>
            </a:endParaRPr>
          </a:p>
          <a:p>
            <a:pPr>
              <a:lnSpc>
                <a:spcPts val="2110"/>
              </a:lnSpc>
              <a:spcBef>
                <a:spcPct val="0"/>
              </a:spcBef>
            </a:pPr>
            <a:r>
              <a:rPr lang="en-US" sz="1500" spc="15" dirty="0">
                <a:solidFill>
                  <a:srgbClr val="7D704C"/>
                </a:solidFill>
                <a:latin typeface="TT Commons Pro Bold"/>
              </a:rPr>
              <a:t>I did not want to go to the OB/GYN who delivered my baby for future care. My nurse gave me a list of others to call to establish care. We headed home with mixed feelings about our experience, but we are grateful for our baby bo</a:t>
            </a:r>
            <a:r>
              <a:rPr lang="en-US" sz="1500" spc="15" dirty="0">
                <a:solidFill>
                  <a:srgbClr val="7D704C"/>
                </a:solidFill>
                <a:latin typeface="TT Commons Pro"/>
              </a:rPr>
              <a:t>y. </a:t>
            </a:r>
            <a:endParaRPr lang="en-US"/>
          </a:p>
        </p:txBody>
      </p:sp>
    </p:spTree>
    <p:extLst>
      <p:ext uri="{BB962C8B-B14F-4D97-AF65-F5344CB8AC3E}">
        <p14:creationId xmlns:p14="http://schemas.microsoft.com/office/powerpoint/2010/main" val="212847516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TextBox 8"/>
          <p:cNvSpPr txBox="1"/>
          <p:nvPr/>
        </p:nvSpPr>
        <p:spPr>
          <a:xfrm>
            <a:off x="2247119" y="4352163"/>
            <a:ext cx="7690153" cy="1368964"/>
          </a:xfrm>
          <a:prstGeom prst="rect">
            <a:avLst/>
          </a:prstGeom>
        </p:spPr>
        <p:txBody>
          <a:bodyPr vert="horz" lIns="91440" tIns="45720" rIns="91440" bIns="45720" rtlCol="0" anchor="ctr">
            <a:normAutofit/>
          </a:bodyPr>
          <a:lstStyle/>
          <a:p>
            <a:pPr algn="ctr">
              <a:lnSpc>
                <a:spcPct val="90000"/>
              </a:lnSpc>
              <a:spcBef>
                <a:spcPct val="0"/>
              </a:spcBef>
              <a:spcAft>
                <a:spcPts val="600"/>
              </a:spcAft>
            </a:pPr>
            <a:r>
              <a:rPr lang="en-US" sz="3600" spc="-367" dirty="0">
                <a:solidFill>
                  <a:schemeClr val="tx2"/>
                </a:solidFill>
                <a:latin typeface="+mj-lt"/>
                <a:ea typeface="+mj-ea"/>
                <a:cs typeface="+mj-cs"/>
              </a:rPr>
              <a:t>Key Takeaways</a:t>
            </a:r>
            <a:r>
              <a:rPr lang="en-US" sz="3600" kern="1200" spc="-367" dirty="0">
                <a:solidFill>
                  <a:schemeClr val="tx2"/>
                </a:solidFill>
                <a:latin typeface="+mj-lt"/>
                <a:ea typeface="+mj-ea"/>
                <a:cs typeface="+mj-cs"/>
              </a:rPr>
              <a:t> &amp; </a:t>
            </a:r>
            <a:r>
              <a:rPr lang="en-US" sz="3600" spc="-367" dirty="0">
                <a:solidFill>
                  <a:schemeClr val="tx2"/>
                </a:solidFill>
                <a:latin typeface="+mj-lt"/>
                <a:ea typeface="+mj-ea"/>
                <a:cs typeface="+mj-cs"/>
              </a:rPr>
              <a:t>Reflection</a:t>
            </a:r>
            <a:r>
              <a:rPr lang="en-US" sz="3600" kern="1200" spc="-367" dirty="0">
                <a:solidFill>
                  <a:schemeClr val="tx2"/>
                </a:solidFill>
                <a:latin typeface="+mj-lt"/>
                <a:ea typeface="+mj-ea"/>
                <a:cs typeface="+mj-cs"/>
              </a:rPr>
              <a:t> </a:t>
            </a:r>
            <a:endParaRPr lang="en-US" sz="3600" kern="1200" dirty="0">
              <a:solidFill>
                <a:schemeClr val="tx2"/>
              </a:solidFill>
              <a:latin typeface="+mj-lt"/>
              <a:ea typeface="+mj-ea"/>
              <a:cs typeface="+mj-cs"/>
            </a:endParaRPr>
          </a:p>
        </p:txBody>
      </p:sp>
      <p:grpSp>
        <p:nvGrpSpPr>
          <p:cNvPr id="15" name="Group 14">
            <a:extLst>
              <a:ext uri="{FF2B5EF4-FFF2-40B4-BE49-F238E27FC236}">
                <a16:creationId xmlns:a16="http://schemas.microsoft.com/office/drawing/2014/main" id="{E3907B4F-3498-8E1E-0FDD-A06866874229}"/>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flipH="1">
            <a:off x="414978" y="5272450"/>
            <a:ext cx="1127866" cy="1622520"/>
            <a:chOff x="469942" y="5272450"/>
            <a:chExt cx="1127866" cy="1622520"/>
          </a:xfrm>
        </p:grpSpPr>
        <p:sp>
          <p:nvSpPr>
            <p:cNvPr id="16" name="Freeform: Shape 15">
              <a:extLst>
                <a:ext uri="{FF2B5EF4-FFF2-40B4-BE49-F238E27FC236}">
                  <a16:creationId xmlns:a16="http://schemas.microsoft.com/office/drawing/2014/main" id="{ABD1F7DD-A00E-3FD4-3979-3B1A490695A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2516067" flipH="1">
              <a:off x="469942" y="5272450"/>
              <a:ext cx="1127866" cy="1622520"/>
            </a:xfrm>
            <a:custGeom>
              <a:avLst/>
              <a:gdLst>
                <a:gd name="connsiteX0" fmla="*/ 855248 w 1127866"/>
                <a:gd name="connsiteY0" fmla="*/ 402898 h 1622520"/>
                <a:gd name="connsiteX1" fmla="*/ 848081 w 1127866"/>
                <a:gd name="connsiteY1" fmla="*/ 398865 h 1622520"/>
                <a:gd name="connsiteX2" fmla="*/ 568035 w 1127866"/>
                <a:gd name="connsiteY2" fmla="*/ 462614 h 1622520"/>
                <a:gd name="connsiteX3" fmla="*/ 329880 w 1127866"/>
                <a:gd name="connsiteY3" fmla="*/ 597097 h 1622520"/>
                <a:gd name="connsiteX4" fmla="*/ 328473 w 1127866"/>
                <a:gd name="connsiteY4" fmla="*/ 572035 h 1622520"/>
                <a:gd name="connsiteX5" fmla="*/ 429199 w 1127866"/>
                <a:gd name="connsiteY5" fmla="*/ 385656 h 1622520"/>
                <a:gd name="connsiteX6" fmla="*/ 433245 w 1127866"/>
                <a:gd name="connsiteY6" fmla="*/ 188854 h 1622520"/>
                <a:gd name="connsiteX7" fmla="*/ 365438 w 1127866"/>
                <a:gd name="connsiteY7" fmla="*/ 0 h 1622520"/>
                <a:gd name="connsiteX8" fmla="*/ 269406 w 1127866"/>
                <a:gd name="connsiteY8" fmla="*/ 98117 h 1622520"/>
                <a:gd name="connsiteX9" fmla="*/ 175275 w 1127866"/>
                <a:gd name="connsiteY9" fmla="*/ 246350 h 1622520"/>
                <a:gd name="connsiteX10" fmla="*/ 68276 w 1127866"/>
                <a:gd name="connsiteY10" fmla="*/ 516424 h 1622520"/>
                <a:gd name="connsiteX11" fmla="*/ 114 w 1127866"/>
                <a:gd name="connsiteY11" fmla="*/ 961504 h 1622520"/>
                <a:gd name="connsiteX12" fmla="*/ 36005 w 1127866"/>
                <a:gd name="connsiteY12" fmla="*/ 1344303 h 1622520"/>
                <a:gd name="connsiteX13" fmla="*/ 46838 w 1127866"/>
                <a:gd name="connsiteY13" fmla="*/ 1387574 h 1622520"/>
                <a:gd name="connsiteX14" fmla="*/ 308373 w 1127866"/>
                <a:gd name="connsiteY14" fmla="*/ 1622520 h 1622520"/>
                <a:gd name="connsiteX15" fmla="*/ 289552 w 1127866"/>
                <a:gd name="connsiteY15" fmla="*/ 1571009 h 1622520"/>
                <a:gd name="connsiteX16" fmla="*/ 225711 w 1127866"/>
                <a:gd name="connsiteY16" fmla="*/ 1336088 h 1622520"/>
                <a:gd name="connsiteX17" fmla="*/ 195024 w 1127866"/>
                <a:gd name="connsiteY17" fmla="*/ 1136312 h 1622520"/>
                <a:gd name="connsiteX18" fmla="*/ 200055 w 1127866"/>
                <a:gd name="connsiteY18" fmla="*/ 1108788 h 1622520"/>
                <a:gd name="connsiteX19" fmla="*/ 346105 w 1127866"/>
                <a:gd name="connsiteY19" fmla="*/ 1188197 h 1622520"/>
                <a:gd name="connsiteX20" fmla="*/ 549199 w 1127866"/>
                <a:gd name="connsiteY20" fmla="*/ 1248533 h 1622520"/>
                <a:gd name="connsiteX21" fmla="*/ 729669 w 1127866"/>
                <a:gd name="connsiteY21" fmla="*/ 1255844 h 1622520"/>
                <a:gd name="connsiteX22" fmla="*/ 957219 w 1127866"/>
                <a:gd name="connsiteY22" fmla="*/ 1197923 h 1622520"/>
                <a:gd name="connsiteX23" fmla="*/ 1101104 w 1127866"/>
                <a:gd name="connsiteY23" fmla="*/ 1105615 h 1622520"/>
                <a:gd name="connsiteX24" fmla="*/ 1115963 w 1127866"/>
                <a:gd name="connsiteY24" fmla="*/ 1061393 h 1622520"/>
                <a:gd name="connsiteX25" fmla="*/ 969631 w 1127866"/>
                <a:gd name="connsiteY25" fmla="*/ 995196 h 1622520"/>
                <a:gd name="connsiteX26" fmla="*/ 742082 w 1127866"/>
                <a:gd name="connsiteY26" fmla="*/ 941412 h 1622520"/>
                <a:gd name="connsiteX27" fmla="*/ 436317 w 1127866"/>
                <a:gd name="connsiteY27" fmla="*/ 940372 h 1622520"/>
                <a:gd name="connsiteX28" fmla="*/ 339433 w 1127866"/>
                <a:gd name="connsiteY28" fmla="*/ 928328 h 1622520"/>
                <a:gd name="connsiteX29" fmla="*/ 534092 w 1127866"/>
                <a:gd name="connsiteY29" fmla="*/ 825005 h 1622520"/>
                <a:gd name="connsiteX30" fmla="*/ 693841 w 1127866"/>
                <a:gd name="connsiteY30" fmla="*/ 689959 h 1622520"/>
                <a:gd name="connsiteX31" fmla="*/ 819649 w 1127866"/>
                <a:gd name="connsiteY31" fmla="*/ 523137 h 1622520"/>
                <a:gd name="connsiteX32" fmla="*/ 855248 w 1127866"/>
                <a:gd name="connsiteY32" fmla="*/ 402898 h 1622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127866" h="1622520">
                  <a:moveTo>
                    <a:pt x="855248" y="402898"/>
                  </a:moveTo>
                  <a:cubicBezTo>
                    <a:pt x="853627" y="400570"/>
                    <a:pt x="851274" y="399163"/>
                    <a:pt x="848081" y="398865"/>
                  </a:cubicBezTo>
                  <a:cubicBezTo>
                    <a:pt x="822532" y="396491"/>
                    <a:pt x="654401" y="429576"/>
                    <a:pt x="568035" y="462614"/>
                  </a:cubicBezTo>
                  <a:cubicBezTo>
                    <a:pt x="481668" y="495653"/>
                    <a:pt x="369807" y="578860"/>
                    <a:pt x="329880" y="597097"/>
                  </a:cubicBezTo>
                  <a:cubicBezTo>
                    <a:pt x="289954" y="615333"/>
                    <a:pt x="311920" y="607275"/>
                    <a:pt x="328473" y="572035"/>
                  </a:cubicBezTo>
                  <a:cubicBezTo>
                    <a:pt x="345026" y="536794"/>
                    <a:pt x="413759" y="461222"/>
                    <a:pt x="429199" y="385656"/>
                  </a:cubicBezTo>
                  <a:cubicBezTo>
                    <a:pt x="444345" y="311528"/>
                    <a:pt x="444173" y="271797"/>
                    <a:pt x="433245" y="188854"/>
                  </a:cubicBezTo>
                  <a:cubicBezTo>
                    <a:pt x="419727" y="119473"/>
                    <a:pt x="403555" y="65606"/>
                    <a:pt x="365438" y="0"/>
                  </a:cubicBezTo>
                  <a:cubicBezTo>
                    <a:pt x="338466" y="10015"/>
                    <a:pt x="298699" y="61964"/>
                    <a:pt x="269406" y="98117"/>
                  </a:cubicBezTo>
                  <a:cubicBezTo>
                    <a:pt x="235927" y="139435"/>
                    <a:pt x="208796" y="176632"/>
                    <a:pt x="175275" y="246350"/>
                  </a:cubicBezTo>
                  <a:cubicBezTo>
                    <a:pt x="141753" y="316067"/>
                    <a:pt x="97470" y="397232"/>
                    <a:pt x="68276" y="516424"/>
                  </a:cubicBezTo>
                  <a:cubicBezTo>
                    <a:pt x="39082" y="635617"/>
                    <a:pt x="1626" y="825623"/>
                    <a:pt x="114" y="961504"/>
                  </a:cubicBezTo>
                  <a:cubicBezTo>
                    <a:pt x="-1400" y="1097384"/>
                    <a:pt x="12273" y="1220987"/>
                    <a:pt x="36005" y="1344303"/>
                  </a:cubicBezTo>
                  <a:lnTo>
                    <a:pt x="46838" y="1387574"/>
                  </a:lnTo>
                  <a:lnTo>
                    <a:pt x="308373" y="1622520"/>
                  </a:lnTo>
                  <a:lnTo>
                    <a:pt x="289552" y="1571009"/>
                  </a:lnTo>
                  <a:cubicBezTo>
                    <a:pt x="266021" y="1501473"/>
                    <a:pt x="241466" y="1408537"/>
                    <a:pt x="225711" y="1336088"/>
                  </a:cubicBezTo>
                  <a:cubicBezTo>
                    <a:pt x="209956" y="1263639"/>
                    <a:pt x="199300" y="1174196"/>
                    <a:pt x="195024" y="1136312"/>
                  </a:cubicBezTo>
                  <a:cubicBezTo>
                    <a:pt x="190748" y="1098429"/>
                    <a:pt x="190263" y="1101976"/>
                    <a:pt x="200055" y="1108788"/>
                  </a:cubicBezTo>
                  <a:cubicBezTo>
                    <a:pt x="209848" y="1115600"/>
                    <a:pt x="287915" y="1164907"/>
                    <a:pt x="346105" y="1188197"/>
                  </a:cubicBezTo>
                  <a:cubicBezTo>
                    <a:pt x="404295" y="1211488"/>
                    <a:pt x="485271" y="1237259"/>
                    <a:pt x="549199" y="1248533"/>
                  </a:cubicBezTo>
                  <a:cubicBezTo>
                    <a:pt x="613126" y="1259808"/>
                    <a:pt x="661666" y="1264279"/>
                    <a:pt x="729669" y="1255844"/>
                  </a:cubicBezTo>
                  <a:cubicBezTo>
                    <a:pt x="797673" y="1247409"/>
                    <a:pt x="895314" y="1222960"/>
                    <a:pt x="957219" y="1197923"/>
                  </a:cubicBezTo>
                  <a:cubicBezTo>
                    <a:pt x="1019125" y="1172884"/>
                    <a:pt x="1074646" y="1128370"/>
                    <a:pt x="1101104" y="1105615"/>
                  </a:cubicBezTo>
                  <a:cubicBezTo>
                    <a:pt x="1127561" y="1082859"/>
                    <a:pt x="1137875" y="1079796"/>
                    <a:pt x="1115963" y="1061393"/>
                  </a:cubicBezTo>
                  <a:cubicBezTo>
                    <a:pt x="1094051" y="1042990"/>
                    <a:pt x="1031944" y="1015193"/>
                    <a:pt x="969631" y="995196"/>
                  </a:cubicBezTo>
                  <a:cubicBezTo>
                    <a:pt x="907317" y="975200"/>
                    <a:pt x="830967" y="950549"/>
                    <a:pt x="742082" y="941412"/>
                  </a:cubicBezTo>
                  <a:cubicBezTo>
                    <a:pt x="653196" y="932274"/>
                    <a:pt x="503426" y="942552"/>
                    <a:pt x="436317" y="940372"/>
                  </a:cubicBezTo>
                  <a:cubicBezTo>
                    <a:pt x="369209" y="938191"/>
                    <a:pt x="334012" y="934899"/>
                    <a:pt x="339433" y="928328"/>
                  </a:cubicBezTo>
                  <a:cubicBezTo>
                    <a:pt x="344854" y="921757"/>
                    <a:pt x="475024" y="864733"/>
                    <a:pt x="534092" y="825005"/>
                  </a:cubicBezTo>
                  <a:cubicBezTo>
                    <a:pt x="593160" y="785276"/>
                    <a:pt x="646248" y="740270"/>
                    <a:pt x="693841" y="689959"/>
                  </a:cubicBezTo>
                  <a:cubicBezTo>
                    <a:pt x="741434" y="639648"/>
                    <a:pt x="793942" y="571653"/>
                    <a:pt x="819649" y="523137"/>
                  </a:cubicBezTo>
                  <a:cubicBezTo>
                    <a:pt x="842142" y="480686"/>
                    <a:pt x="866601" y="419198"/>
                    <a:pt x="855248" y="402898"/>
                  </a:cubicBezTo>
                  <a:close/>
                </a:path>
              </a:pathLst>
            </a:custGeom>
            <a:solidFill>
              <a:schemeClr val="accent3">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7" name="Freeform: Shape 16">
              <a:extLst>
                <a:ext uri="{FF2B5EF4-FFF2-40B4-BE49-F238E27FC236}">
                  <a16:creationId xmlns:a16="http://schemas.microsoft.com/office/drawing/2014/main" id="{37308147-731A-F6C7-AEB8-C3F46E51435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2516067" flipH="1">
              <a:off x="469942" y="5272450"/>
              <a:ext cx="1127866" cy="1622520"/>
            </a:xfrm>
            <a:custGeom>
              <a:avLst/>
              <a:gdLst>
                <a:gd name="connsiteX0" fmla="*/ 855248 w 1127866"/>
                <a:gd name="connsiteY0" fmla="*/ 402898 h 1622520"/>
                <a:gd name="connsiteX1" fmla="*/ 848081 w 1127866"/>
                <a:gd name="connsiteY1" fmla="*/ 398865 h 1622520"/>
                <a:gd name="connsiteX2" fmla="*/ 568035 w 1127866"/>
                <a:gd name="connsiteY2" fmla="*/ 462614 h 1622520"/>
                <a:gd name="connsiteX3" fmla="*/ 329880 w 1127866"/>
                <a:gd name="connsiteY3" fmla="*/ 597097 h 1622520"/>
                <a:gd name="connsiteX4" fmla="*/ 328473 w 1127866"/>
                <a:gd name="connsiteY4" fmla="*/ 572035 h 1622520"/>
                <a:gd name="connsiteX5" fmla="*/ 429199 w 1127866"/>
                <a:gd name="connsiteY5" fmla="*/ 385656 h 1622520"/>
                <a:gd name="connsiteX6" fmla="*/ 433245 w 1127866"/>
                <a:gd name="connsiteY6" fmla="*/ 188854 h 1622520"/>
                <a:gd name="connsiteX7" fmla="*/ 365438 w 1127866"/>
                <a:gd name="connsiteY7" fmla="*/ 0 h 1622520"/>
                <a:gd name="connsiteX8" fmla="*/ 269406 w 1127866"/>
                <a:gd name="connsiteY8" fmla="*/ 98117 h 1622520"/>
                <a:gd name="connsiteX9" fmla="*/ 175275 w 1127866"/>
                <a:gd name="connsiteY9" fmla="*/ 246350 h 1622520"/>
                <a:gd name="connsiteX10" fmla="*/ 68276 w 1127866"/>
                <a:gd name="connsiteY10" fmla="*/ 516424 h 1622520"/>
                <a:gd name="connsiteX11" fmla="*/ 114 w 1127866"/>
                <a:gd name="connsiteY11" fmla="*/ 961504 h 1622520"/>
                <a:gd name="connsiteX12" fmla="*/ 36005 w 1127866"/>
                <a:gd name="connsiteY12" fmla="*/ 1344303 h 1622520"/>
                <a:gd name="connsiteX13" fmla="*/ 46838 w 1127866"/>
                <a:gd name="connsiteY13" fmla="*/ 1387574 h 1622520"/>
                <a:gd name="connsiteX14" fmla="*/ 308373 w 1127866"/>
                <a:gd name="connsiteY14" fmla="*/ 1622520 h 1622520"/>
                <a:gd name="connsiteX15" fmla="*/ 289552 w 1127866"/>
                <a:gd name="connsiteY15" fmla="*/ 1571009 h 1622520"/>
                <a:gd name="connsiteX16" fmla="*/ 225711 w 1127866"/>
                <a:gd name="connsiteY16" fmla="*/ 1336088 h 1622520"/>
                <a:gd name="connsiteX17" fmla="*/ 195024 w 1127866"/>
                <a:gd name="connsiteY17" fmla="*/ 1136312 h 1622520"/>
                <a:gd name="connsiteX18" fmla="*/ 200055 w 1127866"/>
                <a:gd name="connsiteY18" fmla="*/ 1108788 h 1622520"/>
                <a:gd name="connsiteX19" fmla="*/ 346105 w 1127866"/>
                <a:gd name="connsiteY19" fmla="*/ 1188197 h 1622520"/>
                <a:gd name="connsiteX20" fmla="*/ 549199 w 1127866"/>
                <a:gd name="connsiteY20" fmla="*/ 1248533 h 1622520"/>
                <a:gd name="connsiteX21" fmla="*/ 729669 w 1127866"/>
                <a:gd name="connsiteY21" fmla="*/ 1255844 h 1622520"/>
                <a:gd name="connsiteX22" fmla="*/ 957219 w 1127866"/>
                <a:gd name="connsiteY22" fmla="*/ 1197923 h 1622520"/>
                <a:gd name="connsiteX23" fmla="*/ 1101104 w 1127866"/>
                <a:gd name="connsiteY23" fmla="*/ 1105615 h 1622520"/>
                <a:gd name="connsiteX24" fmla="*/ 1115963 w 1127866"/>
                <a:gd name="connsiteY24" fmla="*/ 1061393 h 1622520"/>
                <a:gd name="connsiteX25" fmla="*/ 969631 w 1127866"/>
                <a:gd name="connsiteY25" fmla="*/ 995196 h 1622520"/>
                <a:gd name="connsiteX26" fmla="*/ 742082 w 1127866"/>
                <a:gd name="connsiteY26" fmla="*/ 941412 h 1622520"/>
                <a:gd name="connsiteX27" fmla="*/ 436317 w 1127866"/>
                <a:gd name="connsiteY27" fmla="*/ 940372 h 1622520"/>
                <a:gd name="connsiteX28" fmla="*/ 339433 w 1127866"/>
                <a:gd name="connsiteY28" fmla="*/ 928328 h 1622520"/>
                <a:gd name="connsiteX29" fmla="*/ 534092 w 1127866"/>
                <a:gd name="connsiteY29" fmla="*/ 825005 h 1622520"/>
                <a:gd name="connsiteX30" fmla="*/ 693841 w 1127866"/>
                <a:gd name="connsiteY30" fmla="*/ 689959 h 1622520"/>
                <a:gd name="connsiteX31" fmla="*/ 819649 w 1127866"/>
                <a:gd name="connsiteY31" fmla="*/ 523137 h 1622520"/>
                <a:gd name="connsiteX32" fmla="*/ 855248 w 1127866"/>
                <a:gd name="connsiteY32" fmla="*/ 402898 h 1622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127866" h="1622520">
                  <a:moveTo>
                    <a:pt x="855248" y="402898"/>
                  </a:moveTo>
                  <a:cubicBezTo>
                    <a:pt x="853627" y="400570"/>
                    <a:pt x="851274" y="399163"/>
                    <a:pt x="848081" y="398865"/>
                  </a:cubicBezTo>
                  <a:cubicBezTo>
                    <a:pt x="822532" y="396491"/>
                    <a:pt x="654401" y="429576"/>
                    <a:pt x="568035" y="462614"/>
                  </a:cubicBezTo>
                  <a:cubicBezTo>
                    <a:pt x="481668" y="495653"/>
                    <a:pt x="369807" y="578860"/>
                    <a:pt x="329880" y="597097"/>
                  </a:cubicBezTo>
                  <a:cubicBezTo>
                    <a:pt x="289954" y="615333"/>
                    <a:pt x="311920" y="607275"/>
                    <a:pt x="328473" y="572035"/>
                  </a:cubicBezTo>
                  <a:cubicBezTo>
                    <a:pt x="345026" y="536794"/>
                    <a:pt x="413759" y="461222"/>
                    <a:pt x="429199" y="385656"/>
                  </a:cubicBezTo>
                  <a:cubicBezTo>
                    <a:pt x="444345" y="311528"/>
                    <a:pt x="444173" y="271797"/>
                    <a:pt x="433245" y="188854"/>
                  </a:cubicBezTo>
                  <a:cubicBezTo>
                    <a:pt x="419727" y="119473"/>
                    <a:pt x="403555" y="65606"/>
                    <a:pt x="365438" y="0"/>
                  </a:cubicBezTo>
                  <a:cubicBezTo>
                    <a:pt x="338466" y="10015"/>
                    <a:pt x="298699" y="61964"/>
                    <a:pt x="269406" y="98117"/>
                  </a:cubicBezTo>
                  <a:cubicBezTo>
                    <a:pt x="235927" y="139435"/>
                    <a:pt x="208796" y="176632"/>
                    <a:pt x="175275" y="246350"/>
                  </a:cubicBezTo>
                  <a:cubicBezTo>
                    <a:pt x="141753" y="316067"/>
                    <a:pt x="97470" y="397232"/>
                    <a:pt x="68276" y="516424"/>
                  </a:cubicBezTo>
                  <a:cubicBezTo>
                    <a:pt x="39082" y="635617"/>
                    <a:pt x="1626" y="825623"/>
                    <a:pt x="114" y="961504"/>
                  </a:cubicBezTo>
                  <a:cubicBezTo>
                    <a:pt x="-1400" y="1097384"/>
                    <a:pt x="12273" y="1220987"/>
                    <a:pt x="36005" y="1344303"/>
                  </a:cubicBezTo>
                  <a:lnTo>
                    <a:pt x="46838" y="1387574"/>
                  </a:lnTo>
                  <a:lnTo>
                    <a:pt x="308373" y="1622520"/>
                  </a:lnTo>
                  <a:lnTo>
                    <a:pt x="289552" y="1571009"/>
                  </a:lnTo>
                  <a:cubicBezTo>
                    <a:pt x="266021" y="1501473"/>
                    <a:pt x="241466" y="1408537"/>
                    <a:pt x="225711" y="1336088"/>
                  </a:cubicBezTo>
                  <a:cubicBezTo>
                    <a:pt x="209956" y="1263639"/>
                    <a:pt x="199300" y="1174196"/>
                    <a:pt x="195024" y="1136312"/>
                  </a:cubicBezTo>
                  <a:cubicBezTo>
                    <a:pt x="190748" y="1098429"/>
                    <a:pt x="190263" y="1101976"/>
                    <a:pt x="200055" y="1108788"/>
                  </a:cubicBezTo>
                  <a:cubicBezTo>
                    <a:pt x="209848" y="1115600"/>
                    <a:pt x="287915" y="1164907"/>
                    <a:pt x="346105" y="1188197"/>
                  </a:cubicBezTo>
                  <a:cubicBezTo>
                    <a:pt x="404295" y="1211488"/>
                    <a:pt x="485271" y="1237259"/>
                    <a:pt x="549199" y="1248533"/>
                  </a:cubicBezTo>
                  <a:cubicBezTo>
                    <a:pt x="613126" y="1259808"/>
                    <a:pt x="661666" y="1264279"/>
                    <a:pt x="729669" y="1255844"/>
                  </a:cubicBezTo>
                  <a:cubicBezTo>
                    <a:pt x="797673" y="1247409"/>
                    <a:pt x="895314" y="1222960"/>
                    <a:pt x="957219" y="1197923"/>
                  </a:cubicBezTo>
                  <a:cubicBezTo>
                    <a:pt x="1019125" y="1172884"/>
                    <a:pt x="1074646" y="1128370"/>
                    <a:pt x="1101104" y="1105615"/>
                  </a:cubicBezTo>
                  <a:cubicBezTo>
                    <a:pt x="1127561" y="1082859"/>
                    <a:pt x="1137875" y="1079796"/>
                    <a:pt x="1115963" y="1061393"/>
                  </a:cubicBezTo>
                  <a:cubicBezTo>
                    <a:pt x="1094051" y="1042990"/>
                    <a:pt x="1031944" y="1015193"/>
                    <a:pt x="969631" y="995196"/>
                  </a:cubicBezTo>
                  <a:cubicBezTo>
                    <a:pt x="907317" y="975200"/>
                    <a:pt x="830967" y="950549"/>
                    <a:pt x="742082" y="941412"/>
                  </a:cubicBezTo>
                  <a:cubicBezTo>
                    <a:pt x="653196" y="932274"/>
                    <a:pt x="503426" y="942552"/>
                    <a:pt x="436317" y="940372"/>
                  </a:cubicBezTo>
                  <a:cubicBezTo>
                    <a:pt x="369209" y="938191"/>
                    <a:pt x="334012" y="934899"/>
                    <a:pt x="339433" y="928328"/>
                  </a:cubicBezTo>
                  <a:cubicBezTo>
                    <a:pt x="344854" y="921757"/>
                    <a:pt x="475024" y="864733"/>
                    <a:pt x="534092" y="825005"/>
                  </a:cubicBezTo>
                  <a:cubicBezTo>
                    <a:pt x="593160" y="785276"/>
                    <a:pt x="646248" y="740270"/>
                    <a:pt x="693841" y="689959"/>
                  </a:cubicBezTo>
                  <a:cubicBezTo>
                    <a:pt x="741434" y="639648"/>
                    <a:pt x="793942" y="571653"/>
                    <a:pt x="819649" y="523137"/>
                  </a:cubicBezTo>
                  <a:cubicBezTo>
                    <a:pt x="842142" y="480686"/>
                    <a:pt x="866601" y="419198"/>
                    <a:pt x="855248" y="402898"/>
                  </a:cubicBezTo>
                  <a:close/>
                </a:path>
              </a:pathLst>
            </a:custGeom>
            <a:solidFill>
              <a:schemeClr val="accent4">
                <a:lumMod val="40000"/>
                <a:lumOff val="60000"/>
                <a:alpha val="3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19" name="Freeform: Shape 18">
            <a:extLst>
              <a:ext uri="{FF2B5EF4-FFF2-40B4-BE49-F238E27FC236}">
                <a16:creationId xmlns:a16="http://schemas.microsoft.com/office/drawing/2014/main" id="{73844404-E04B-F587-0397-04D02020A3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2703623" flipH="1" flipV="1">
            <a:off x="10488744" y="4592449"/>
            <a:ext cx="920129" cy="1040596"/>
          </a:xfrm>
          <a:custGeom>
            <a:avLst/>
            <a:gdLst>
              <a:gd name="connsiteX0" fmla="*/ 1929645 w 2813738"/>
              <a:gd name="connsiteY0" fmla="*/ 3173450 h 3214044"/>
              <a:gd name="connsiteX1" fmla="*/ 1581773 w 2813738"/>
              <a:gd name="connsiteY1" fmla="*/ 3212054 h 3214044"/>
              <a:gd name="connsiteX2" fmla="*/ 546159 w 2813738"/>
              <a:gd name="connsiteY2" fmla="*/ 2756430 h 3214044"/>
              <a:gd name="connsiteX3" fmla="*/ 336057 w 2813738"/>
              <a:gd name="connsiteY3" fmla="*/ 2229184 h 3214044"/>
              <a:gd name="connsiteX4" fmla="*/ 334808 w 2813738"/>
              <a:gd name="connsiteY4" fmla="*/ 2196353 h 3214044"/>
              <a:gd name="connsiteX5" fmla="*/ 0 w 2813738"/>
              <a:gd name="connsiteY5" fmla="*/ 481954 h 3214044"/>
              <a:gd name="connsiteX6" fmla="*/ 2467865 w 2813738"/>
              <a:gd name="connsiteY6" fmla="*/ 0 h 3214044"/>
              <a:gd name="connsiteX7" fmla="*/ 2809430 w 2813738"/>
              <a:gd name="connsiteY7" fmla="*/ 1748995 h 3214044"/>
              <a:gd name="connsiteX8" fmla="*/ 2784500 w 2813738"/>
              <a:gd name="connsiteY8" fmla="*/ 1753864 h 3214044"/>
              <a:gd name="connsiteX9" fmla="*/ 2793072 w 2813738"/>
              <a:gd name="connsiteY9" fmla="*/ 1800696 h 3214044"/>
              <a:gd name="connsiteX10" fmla="*/ 2813681 w 2813738"/>
              <a:gd name="connsiteY10" fmla="*/ 2045662 h 3214044"/>
              <a:gd name="connsiteX11" fmla="*/ 2749358 w 2813738"/>
              <a:gd name="connsiteY11" fmla="*/ 2417869 h 3214044"/>
              <a:gd name="connsiteX12" fmla="*/ 2299096 w 2813738"/>
              <a:gd name="connsiteY12" fmla="*/ 3038713 h 3214044"/>
              <a:gd name="connsiteX13" fmla="*/ 1929645 w 2813738"/>
              <a:gd name="connsiteY13" fmla="*/ 3173450 h 3214044"/>
              <a:gd name="connsiteX0" fmla="*/ 1929645 w 2813738"/>
              <a:gd name="connsiteY0" fmla="*/ 3173450 h 3214044"/>
              <a:gd name="connsiteX1" fmla="*/ 1581773 w 2813738"/>
              <a:gd name="connsiteY1" fmla="*/ 3212054 h 3214044"/>
              <a:gd name="connsiteX2" fmla="*/ 546159 w 2813738"/>
              <a:gd name="connsiteY2" fmla="*/ 2756430 h 3214044"/>
              <a:gd name="connsiteX3" fmla="*/ 336057 w 2813738"/>
              <a:gd name="connsiteY3" fmla="*/ 2229184 h 3214044"/>
              <a:gd name="connsiteX4" fmla="*/ 334808 w 2813738"/>
              <a:gd name="connsiteY4" fmla="*/ 2196353 h 3214044"/>
              <a:gd name="connsiteX5" fmla="*/ 0 w 2813738"/>
              <a:gd name="connsiteY5" fmla="*/ 481954 h 3214044"/>
              <a:gd name="connsiteX6" fmla="*/ 2467865 w 2813738"/>
              <a:gd name="connsiteY6" fmla="*/ 0 h 3214044"/>
              <a:gd name="connsiteX7" fmla="*/ 2809430 w 2813738"/>
              <a:gd name="connsiteY7" fmla="*/ 1748995 h 3214044"/>
              <a:gd name="connsiteX8" fmla="*/ 2784500 w 2813738"/>
              <a:gd name="connsiteY8" fmla="*/ 1753864 h 3214044"/>
              <a:gd name="connsiteX9" fmla="*/ 2813681 w 2813738"/>
              <a:gd name="connsiteY9" fmla="*/ 2045662 h 3214044"/>
              <a:gd name="connsiteX10" fmla="*/ 2749358 w 2813738"/>
              <a:gd name="connsiteY10" fmla="*/ 2417869 h 3214044"/>
              <a:gd name="connsiteX11" fmla="*/ 2299096 w 2813738"/>
              <a:gd name="connsiteY11" fmla="*/ 3038713 h 3214044"/>
              <a:gd name="connsiteX12" fmla="*/ 1929645 w 2813738"/>
              <a:gd name="connsiteY12" fmla="*/ 3173450 h 3214044"/>
              <a:gd name="connsiteX0" fmla="*/ 1929645 w 2813738"/>
              <a:gd name="connsiteY0" fmla="*/ 3173450 h 3214044"/>
              <a:gd name="connsiteX1" fmla="*/ 1581773 w 2813738"/>
              <a:gd name="connsiteY1" fmla="*/ 3212054 h 3214044"/>
              <a:gd name="connsiteX2" fmla="*/ 546159 w 2813738"/>
              <a:gd name="connsiteY2" fmla="*/ 2756430 h 3214044"/>
              <a:gd name="connsiteX3" fmla="*/ 336057 w 2813738"/>
              <a:gd name="connsiteY3" fmla="*/ 2229184 h 3214044"/>
              <a:gd name="connsiteX4" fmla="*/ 334808 w 2813738"/>
              <a:gd name="connsiteY4" fmla="*/ 2196353 h 3214044"/>
              <a:gd name="connsiteX5" fmla="*/ 0 w 2813738"/>
              <a:gd name="connsiteY5" fmla="*/ 481954 h 3214044"/>
              <a:gd name="connsiteX6" fmla="*/ 2467865 w 2813738"/>
              <a:gd name="connsiteY6" fmla="*/ 0 h 3214044"/>
              <a:gd name="connsiteX7" fmla="*/ 2809430 w 2813738"/>
              <a:gd name="connsiteY7" fmla="*/ 1748995 h 3214044"/>
              <a:gd name="connsiteX8" fmla="*/ 2813681 w 2813738"/>
              <a:gd name="connsiteY8" fmla="*/ 2045662 h 3214044"/>
              <a:gd name="connsiteX9" fmla="*/ 2749358 w 2813738"/>
              <a:gd name="connsiteY9" fmla="*/ 2417869 h 3214044"/>
              <a:gd name="connsiteX10" fmla="*/ 2299096 w 2813738"/>
              <a:gd name="connsiteY10" fmla="*/ 3038713 h 3214044"/>
              <a:gd name="connsiteX11" fmla="*/ 1929645 w 2813738"/>
              <a:gd name="connsiteY11" fmla="*/ 3173450 h 3214044"/>
              <a:gd name="connsiteX0" fmla="*/ 2041023 w 2925116"/>
              <a:gd name="connsiteY0" fmla="*/ 3173450 h 3214044"/>
              <a:gd name="connsiteX1" fmla="*/ 1693151 w 2925116"/>
              <a:gd name="connsiteY1" fmla="*/ 3212054 h 3214044"/>
              <a:gd name="connsiteX2" fmla="*/ 657537 w 2925116"/>
              <a:gd name="connsiteY2" fmla="*/ 2756430 h 3214044"/>
              <a:gd name="connsiteX3" fmla="*/ 447435 w 2925116"/>
              <a:gd name="connsiteY3" fmla="*/ 2229184 h 3214044"/>
              <a:gd name="connsiteX4" fmla="*/ 111378 w 2925116"/>
              <a:gd name="connsiteY4" fmla="*/ 481954 h 3214044"/>
              <a:gd name="connsiteX5" fmla="*/ 2579243 w 2925116"/>
              <a:gd name="connsiteY5" fmla="*/ 0 h 3214044"/>
              <a:gd name="connsiteX6" fmla="*/ 2920808 w 2925116"/>
              <a:gd name="connsiteY6" fmla="*/ 1748995 h 3214044"/>
              <a:gd name="connsiteX7" fmla="*/ 2925059 w 2925116"/>
              <a:gd name="connsiteY7" fmla="*/ 2045662 h 3214044"/>
              <a:gd name="connsiteX8" fmla="*/ 2860736 w 2925116"/>
              <a:gd name="connsiteY8" fmla="*/ 2417869 h 3214044"/>
              <a:gd name="connsiteX9" fmla="*/ 2410474 w 2925116"/>
              <a:gd name="connsiteY9" fmla="*/ 3038713 h 3214044"/>
              <a:gd name="connsiteX10" fmla="*/ 2041023 w 2925116"/>
              <a:gd name="connsiteY10" fmla="*/ 3173450 h 3214044"/>
              <a:gd name="connsiteX0" fmla="*/ 1929645 w 2813738"/>
              <a:gd name="connsiteY0" fmla="*/ 3173450 h 3214044"/>
              <a:gd name="connsiteX1" fmla="*/ 1581773 w 2813738"/>
              <a:gd name="connsiteY1" fmla="*/ 3212054 h 3214044"/>
              <a:gd name="connsiteX2" fmla="*/ 546159 w 2813738"/>
              <a:gd name="connsiteY2" fmla="*/ 2756430 h 3214044"/>
              <a:gd name="connsiteX3" fmla="*/ 336057 w 2813738"/>
              <a:gd name="connsiteY3" fmla="*/ 2229184 h 3214044"/>
              <a:gd name="connsiteX4" fmla="*/ 0 w 2813738"/>
              <a:gd name="connsiteY4" fmla="*/ 481954 h 3214044"/>
              <a:gd name="connsiteX5" fmla="*/ 2467865 w 2813738"/>
              <a:gd name="connsiteY5" fmla="*/ 0 h 3214044"/>
              <a:gd name="connsiteX6" fmla="*/ 2809430 w 2813738"/>
              <a:gd name="connsiteY6" fmla="*/ 1748995 h 3214044"/>
              <a:gd name="connsiteX7" fmla="*/ 2813681 w 2813738"/>
              <a:gd name="connsiteY7" fmla="*/ 2045662 h 3214044"/>
              <a:gd name="connsiteX8" fmla="*/ 2749358 w 2813738"/>
              <a:gd name="connsiteY8" fmla="*/ 2417869 h 3214044"/>
              <a:gd name="connsiteX9" fmla="*/ 2299096 w 2813738"/>
              <a:gd name="connsiteY9" fmla="*/ 3038713 h 3214044"/>
              <a:gd name="connsiteX10" fmla="*/ 1929645 w 2813738"/>
              <a:gd name="connsiteY10" fmla="*/ 3173450 h 3214044"/>
              <a:gd name="connsiteX0" fmla="*/ 1929645 w 2813738"/>
              <a:gd name="connsiteY0" fmla="*/ 3173450 h 3222394"/>
              <a:gd name="connsiteX1" fmla="*/ 1581773 w 2813738"/>
              <a:gd name="connsiteY1" fmla="*/ 3212054 h 3222394"/>
              <a:gd name="connsiteX2" fmla="*/ 634750 w 2813738"/>
              <a:gd name="connsiteY2" fmla="*/ 2993222 h 3222394"/>
              <a:gd name="connsiteX3" fmla="*/ 336057 w 2813738"/>
              <a:gd name="connsiteY3" fmla="*/ 2229184 h 3222394"/>
              <a:gd name="connsiteX4" fmla="*/ 0 w 2813738"/>
              <a:gd name="connsiteY4" fmla="*/ 481954 h 3222394"/>
              <a:gd name="connsiteX5" fmla="*/ 2467865 w 2813738"/>
              <a:gd name="connsiteY5" fmla="*/ 0 h 3222394"/>
              <a:gd name="connsiteX6" fmla="*/ 2809430 w 2813738"/>
              <a:gd name="connsiteY6" fmla="*/ 1748995 h 3222394"/>
              <a:gd name="connsiteX7" fmla="*/ 2813681 w 2813738"/>
              <a:gd name="connsiteY7" fmla="*/ 2045662 h 3222394"/>
              <a:gd name="connsiteX8" fmla="*/ 2749358 w 2813738"/>
              <a:gd name="connsiteY8" fmla="*/ 2417869 h 3222394"/>
              <a:gd name="connsiteX9" fmla="*/ 2299096 w 2813738"/>
              <a:gd name="connsiteY9" fmla="*/ 3038713 h 3222394"/>
              <a:gd name="connsiteX10" fmla="*/ 1929645 w 2813738"/>
              <a:gd name="connsiteY10" fmla="*/ 3173450 h 3222394"/>
              <a:gd name="connsiteX0" fmla="*/ 1929645 w 2813738"/>
              <a:gd name="connsiteY0" fmla="*/ 3173450 h 3259726"/>
              <a:gd name="connsiteX1" fmla="*/ 1581773 w 2813738"/>
              <a:gd name="connsiteY1" fmla="*/ 3212054 h 3259726"/>
              <a:gd name="connsiteX2" fmla="*/ 634750 w 2813738"/>
              <a:gd name="connsiteY2" fmla="*/ 2993222 h 3259726"/>
              <a:gd name="connsiteX3" fmla="*/ 336057 w 2813738"/>
              <a:gd name="connsiteY3" fmla="*/ 2229184 h 3259726"/>
              <a:gd name="connsiteX4" fmla="*/ 0 w 2813738"/>
              <a:gd name="connsiteY4" fmla="*/ 481954 h 3259726"/>
              <a:gd name="connsiteX5" fmla="*/ 2467865 w 2813738"/>
              <a:gd name="connsiteY5" fmla="*/ 0 h 3259726"/>
              <a:gd name="connsiteX6" fmla="*/ 2809430 w 2813738"/>
              <a:gd name="connsiteY6" fmla="*/ 1748995 h 3259726"/>
              <a:gd name="connsiteX7" fmla="*/ 2813681 w 2813738"/>
              <a:gd name="connsiteY7" fmla="*/ 2045662 h 3259726"/>
              <a:gd name="connsiteX8" fmla="*/ 2749358 w 2813738"/>
              <a:gd name="connsiteY8" fmla="*/ 2417869 h 3259726"/>
              <a:gd name="connsiteX9" fmla="*/ 2299096 w 2813738"/>
              <a:gd name="connsiteY9" fmla="*/ 3038713 h 3259726"/>
              <a:gd name="connsiteX10" fmla="*/ 1929645 w 2813738"/>
              <a:gd name="connsiteY10" fmla="*/ 3173450 h 3259726"/>
              <a:gd name="connsiteX0" fmla="*/ 1929645 w 2813738"/>
              <a:gd name="connsiteY0" fmla="*/ 3173450 h 3173450"/>
              <a:gd name="connsiteX1" fmla="*/ 634750 w 2813738"/>
              <a:gd name="connsiteY1" fmla="*/ 2993222 h 3173450"/>
              <a:gd name="connsiteX2" fmla="*/ 336057 w 2813738"/>
              <a:gd name="connsiteY2" fmla="*/ 2229184 h 3173450"/>
              <a:gd name="connsiteX3" fmla="*/ 0 w 2813738"/>
              <a:gd name="connsiteY3" fmla="*/ 481954 h 3173450"/>
              <a:gd name="connsiteX4" fmla="*/ 2467865 w 2813738"/>
              <a:gd name="connsiteY4" fmla="*/ 0 h 3173450"/>
              <a:gd name="connsiteX5" fmla="*/ 2809430 w 2813738"/>
              <a:gd name="connsiteY5" fmla="*/ 1748995 h 3173450"/>
              <a:gd name="connsiteX6" fmla="*/ 2813681 w 2813738"/>
              <a:gd name="connsiteY6" fmla="*/ 2045662 h 3173450"/>
              <a:gd name="connsiteX7" fmla="*/ 2749358 w 2813738"/>
              <a:gd name="connsiteY7" fmla="*/ 2417869 h 3173450"/>
              <a:gd name="connsiteX8" fmla="*/ 2299096 w 2813738"/>
              <a:gd name="connsiteY8" fmla="*/ 3038713 h 3173450"/>
              <a:gd name="connsiteX9" fmla="*/ 1929645 w 2813738"/>
              <a:gd name="connsiteY9" fmla="*/ 3173450 h 3173450"/>
              <a:gd name="connsiteX0" fmla="*/ 1929645 w 2813738"/>
              <a:gd name="connsiteY0" fmla="*/ 3173450 h 3248537"/>
              <a:gd name="connsiteX1" fmla="*/ 796962 w 2813738"/>
              <a:gd name="connsiteY1" fmla="*/ 3173288 h 3248537"/>
              <a:gd name="connsiteX2" fmla="*/ 336057 w 2813738"/>
              <a:gd name="connsiteY2" fmla="*/ 2229184 h 3248537"/>
              <a:gd name="connsiteX3" fmla="*/ 0 w 2813738"/>
              <a:gd name="connsiteY3" fmla="*/ 481954 h 3248537"/>
              <a:gd name="connsiteX4" fmla="*/ 2467865 w 2813738"/>
              <a:gd name="connsiteY4" fmla="*/ 0 h 3248537"/>
              <a:gd name="connsiteX5" fmla="*/ 2809430 w 2813738"/>
              <a:gd name="connsiteY5" fmla="*/ 1748995 h 3248537"/>
              <a:gd name="connsiteX6" fmla="*/ 2813681 w 2813738"/>
              <a:gd name="connsiteY6" fmla="*/ 2045662 h 3248537"/>
              <a:gd name="connsiteX7" fmla="*/ 2749358 w 2813738"/>
              <a:gd name="connsiteY7" fmla="*/ 2417869 h 3248537"/>
              <a:gd name="connsiteX8" fmla="*/ 2299096 w 2813738"/>
              <a:gd name="connsiteY8" fmla="*/ 3038713 h 3248537"/>
              <a:gd name="connsiteX9" fmla="*/ 1929645 w 2813738"/>
              <a:gd name="connsiteY9" fmla="*/ 3173450 h 3248537"/>
              <a:gd name="connsiteX0" fmla="*/ 1929645 w 2813681"/>
              <a:gd name="connsiteY0" fmla="*/ 3173450 h 3248537"/>
              <a:gd name="connsiteX1" fmla="*/ 796962 w 2813681"/>
              <a:gd name="connsiteY1" fmla="*/ 3173288 h 3248537"/>
              <a:gd name="connsiteX2" fmla="*/ 336057 w 2813681"/>
              <a:gd name="connsiteY2" fmla="*/ 2229184 h 3248537"/>
              <a:gd name="connsiteX3" fmla="*/ 0 w 2813681"/>
              <a:gd name="connsiteY3" fmla="*/ 481954 h 3248537"/>
              <a:gd name="connsiteX4" fmla="*/ 2467865 w 2813681"/>
              <a:gd name="connsiteY4" fmla="*/ 0 h 3248537"/>
              <a:gd name="connsiteX5" fmla="*/ 2809430 w 2813681"/>
              <a:gd name="connsiteY5" fmla="*/ 1748995 h 3248537"/>
              <a:gd name="connsiteX6" fmla="*/ 2813681 w 2813681"/>
              <a:gd name="connsiteY6" fmla="*/ 2045662 h 3248537"/>
              <a:gd name="connsiteX7" fmla="*/ 2299096 w 2813681"/>
              <a:gd name="connsiteY7" fmla="*/ 3038713 h 3248537"/>
              <a:gd name="connsiteX8" fmla="*/ 1929645 w 2813681"/>
              <a:gd name="connsiteY8" fmla="*/ 3173450 h 3248537"/>
              <a:gd name="connsiteX0" fmla="*/ 1929645 w 2816936"/>
              <a:gd name="connsiteY0" fmla="*/ 3173450 h 3248537"/>
              <a:gd name="connsiteX1" fmla="*/ 796962 w 2816936"/>
              <a:gd name="connsiteY1" fmla="*/ 3173288 h 3248537"/>
              <a:gd name="connsiteX2" fmla="*/ 336057 w 2816936"/>
              <a:gd name="connsiteY2" fmla="*/ 2229184 h 3248537"/>
              <a:gd name="connsiteX3" fmla="*/ 0 w 2816936"/>
              <a:gd name="connsiteY3" fmla="*/ 481954 h 3248537"/>
              <a:gd name="connsiteX4" fmla="*/ 2467865 w 2816936"/>
              <a:gd name="connsiteY4" fmla="*/ 0 h 3248537"/>
              <a:gd name="connsiteX5" fmla="*/ 2809430 w 2816936"/>
              <a:gd name="connsiteY5" fmla="*/ 1748995 h 3248537"/>
              <a:gd name="connsiteX6" fmla="*/ 2813681 w 2816936"/>
              <a:gd name="connsiteY6" fmla="*/ 2045662 h 3248537"/>
              <a:gd name="connsiteX7" fmla="*/ 2299096 w 2816936"/>
              <a:gd name="connsiteY7" fmla="*/ 3038713 h 3248537"/>
              <a:gd name="connsiteX8" fmla="*/ 1929645 w 2816936"/>
              <a:gd name="connsiteY8" fmla="*/ 3173450 h 3248537"/>
              <a:gd name="connsiteX0" fmla="*/ 1929645 w 2817968"/>
              <a:gd name="connsiteY0" fmla="*/ 3173450 h 3248537"/>
              <a:gd name="connsiteX1" fmla="*/ 796962 w 2817968"/>
              <a:gd name="connsiteY1" fmla="*/ 3173288 h 3248537"/>
              <a:gd name="connsiteX2" fmla="*/ 336057 w 2817968"/>
              <a:gd name="connsiteY2" fmla="*/ 2229184 h 3248537"/>
              <a:gd name="connsiteX3" fmla="*/ 0 w 2817968"/>
              <a:gd name="connsiteY3" fmla="*/ 481954 h 3248537"/>
              <a:gd name="connsiteX4" fmla="*/ 2467865 w 2817968"/>
              <a:gd name="connsiteY4" fmla="*/ 0 h 3248537"/>
              <a:gd name="connsiteX5" fmla="*/ 2809430 w 2817968"/>
              <a:gd name="connsiteY5" fmla="*/ 1748995 h 3248537"/>
              <a:gd name="connsiteX6" fmla="*/ 2813681 w 2817968"/>
              <a:gd name="connsiteY6" fmla="*/ 2045662 h 3248537"/>
              <a:gd name="connsiteX7" fmla="*/ 2299096 w 2817968"/>
              <a:gd name="connsiteY7" fmla="*/ 3038713 h 3248537"/>
              <a:gd name="connsiteX8" fmla="*/ 1929645 w 2817968"/>
              <a:gd name="connsiteY8" fmla="*/ 3173450 h 3248537"/>
              <a:gd name="connsiteX0" fmla="*/ 1929645 w 2818220"/>
              <a:gd name="connsiteY0" fmla="*/ 3173450 h 3248983"/>
              <a:gd name="connsiteX1" fmla="*/ 796962 w 2818220"/>
              <a:gd name="connsiteY1" fmla="*/ 3173288 h 3248983"/>
              <a:gd name="connsiteX2" fmla="*/ 336057 w 2818220"/>
              <a:gd name="connsiteY2" fmla="*/ 2229184 h 3248983"/>
              <a:gd name="connsiteX3" fmla="*/ 0 w 2818220"/>
              <a:gd name="connsiteY3" fmla="*/ 481954 h 3248983"/>
              <a:gd name="connsiteX4" fmla="*/ 2467865 w 2818220"/>
              <a:gd name="connsiteY4" fmla="*/ 0 h 3248983"/>
              <a:gd name="connsiteX5" fmla="*/ 2809430 w 2818220"/>
              <a:gd name="connsiteY5" fmla="*/ 1748995 h 3248983"/>
              <a:gd name="connsiteX6" fmla="*/ 2813681 w 2818220"/>
              <a:gd name="connsiteY6" fmla="*/ 2045662 h 3248983"/>
              <a:gd name="connsiteX7" fmla="*/ 2318165 w 2818220"/>
              <a:gd name="connsiteY7" fmla="*/ 3027931 h 3248983"/>
              <a:gd name="connsiteX8" fmla="*/ 1929645 w 2818220"/>
              <a:gd name="connsiteY8" fmla="*/ 3173450 h 3248983"/>
              <a:gd name="connsiteX0" fmla="*/ 1872966 w 2818220"/>
              <a:gd name="connsiteY0" fmla="*/ 3389204 h 3395069"/>
              <a:gd name="connsiteX1" fmla="*/ 796962 w 2818220"/>
              <a:gd name="connsiteY1" fmla="*/ 3173288 h 3395069"/>
              <a:gd name="connsiteX2" fmla="*/ 336057 w 2818220"/>
              <a:gd name="connsiteY2" fmla="*/ 2229184 h 3395069"/>
              <a:gd name="connsiteX3" fmla="*/ 0 w 2818220"/>
              <a:gd name="connsiteY3" fmla="*/ 481954 h 3395069"/>
              <a:gd name="connsiteX4" fmla="*/ 2467865 w 2818220"/>
              <a:gd name="connsiteY4" fmla="*/ 0 h 3395069"/>
              <a:gd name="connsiteX5" fmla="*/ 2809430 w 2818220"/>
              <a:gd name="connsiteY5" fmla="*/ 1748995 h 3395069"/>
              <a:gd name="connsiteX6" fmla="*/ 2813681 w 2818220"/>
              <a:gd name="connsiteY6" fmla="*/ 2045662 h 3395069"/>
              <a:gd name="connsiteX7" fmla="*/ 2318165 w 2818220"/>
              <a:gd name="connsiteY7" fmla="*/ 3027931 h 3395069"/>
              <a:gd name="connsiteX8" fmla="*/ 1872966 w 2818220"/>
              <a:gd name="connsiteY8" fmla="*/ 3389204 h 3395069"/>
              <a:gd name="connsiteX0" fmla="*/ 1861016 w 2818220"/>
              <a:gd name="connsiteY0" fmla="*/ 3328014 h 3339978"/>
              <a:gd name="connsiteX1" fmla="*/ 796962 w 2818220"/>
              <a:gd name="connsiteY1" fmla="*/ 3173288 h 3339978"/>
              <a:gd name="connsiteX2" fmla="*/ 336057 w 2818220"/>
              <a:gd name="connsiteY2" fmla="*/ 2229184 h 3339978"/>
              <a:gd name="connsiteX3" fmla="*/ 0 w 2818220"/>
              <a:gd name="connsiteY3" fmla="*/ 481954 h 3339978"/>
              <a:gd name="connsiteX4" fmla="*/ 2467865 w 2818220"/>
              <a:gd name="connsiteY4" fmla="*/ 0 h 3339978"/>
              <a:gd name="connsiteX5" fmla="*/ 2809430 w 2818220"/>
              <a:gd name="connsiteY5" fmla="*/ 1748995 h 3339978"/>
              <a:gd name="connsiteX6" fmla="*/ 2813681 w 2818220"/>
              <a:gd name="connsiteY6" fmla="*/ 2045662 h 3339978"/>
              <a:gd name="connsiteX7" fmla="*/ 2318165 w 2818220"/>
              <a:gd name="connsiteY7" fmla="*/ 3027931 h 3339978"/>
              <a:gd name="connsiteX8" fmla="*/ 1861016 w 2818220"/>
              <a:gd name="connsiteY8" fmla="*/ 3328014 h 3339978"/>
              <a:gd name="connsiteX0" fmla="*/ 1861016 w 2820003"/>
              <a:gd name="connsiteY0" fmla="*/ 3328014 h 3339751"/>
              <a:gd name="connsiteX1" fmla="*/ 796962 w 2820003"/>
              <a:gd name="connsiteY1" fmla="*/ 3173288 h 3339751"/>
              <a:gd name="connsiteX2" fmla="*/ 336057 w 2820003"/>
              <a:gd name="connsiteY2" fmla="*/ 2229184 h 3339751"/>
              <a:gd name="connsiteX3" fmla="*/ 0 w 2820003"/>
              <a:gd name="connsiteY3" fmla="*/ 481954 h 3339751"/>
              <a:gd name="connsiteX4" fmla="*/ 2467865 w 2820003"/>
              <a:gd name="connsiteY4" fmla="*/ 0 h 3339751"/>
              <a:gd name="connsiteX5" fmla="*/ 2809430 w 2820003"/>
              <a:gd name="connsiteY5" fmla="*/ 1748995 h 3339751"/>
              <a:gd name="connsiteX6" fmla="*/ 2813681 w 2820003"/>
              <a:gd name="connsiteY6" fmla="*/ 2045662 h 3339751"/>
              <a:gd name="connsiteX7" fmla="*/ 2410534 w 2820003"/>
              <a:gd name="connsiteY7" fmla="*/ 3031066 h 3339751"/>
              <a:gd name="connsiteX8" fmla="*/ 1861016 w 2820003"/>
              <a:gd name="connsiteY8" fmla="*/ 3328014 h 3339751"/>
              <a:gd name="connsiteX0" fmla="*/ 1861016 w 2819648"/>
              <a:gd name="connsiteY0" fmla="*/ 3328014 h 3339751"/>
              <a:gd name="connsiteX1" fmla="*/ 796962 w 2819648"/>
              <a:gd name="connsiteY1" fmla="*/ 3173288 h 3339751"/>
              <a:gd name="connsiteX2" fmla="*/ 336057 w 2819648"/>
              <a:gd name="connsiteY2" fmla="*/ 2229184 h 3339751"/>
              <a:gd name="connsiteX3" fmla="*/ 0 w 2819648"/>
              <a:gd name="connsiteY3" fmla="*/ 481954 h 3339751"/>
              <a:gd name="connsiteX4" fmla="*/ 2467865 w 2819648"/>
              <a:gd name="connsiteY4" fmla="*/ 0 h 3339751"/>
              <a:gd name="connsiteX5" fmla="*/ 2809430 w 2819648"/>
              <a:gd name="connsiteY5" fmla="*/ 1748995 h 3339751"/>
              <a:gd name="connsiteX6" fmla="*/ 2813681 w 2819648"/>
              <a:gd name="connsiteY6" fmla="*/ 2045662 h 3339751"/>
              <a:gd name="connsiteX7" fmla="*/ 2410534 w 2819648"/>
              <a:gd name="connsiteY7" fmla="*/ 3031066 h 3339751"/>
              <a:gd name="connsiteX8" fmla="*/ 1861016 w 2819648"/>
              <a:gd name="connsiteY8" fmla="*/ 3328014 h 3339751"/>
              <a:gd name="connsiteX0" fmla="*/ 1861016 w 2820851"/>
              <a:gd name="connsiteY0" fmla="*/ 3328014 h 3341130"/>
              <a:gd name="connsiteX1" fmla="*/ 796962 w 2820851"/>
              <a:gd name="connsiteY1" fmla="*/ 3173288 h 3341130"/>
              <a:gd name="connsiteX2" fmla="*/ 336057 w 2820851"/>
              <a:gd name="connsiteY2" fmla="*/ 2229184 h 3341130"/>
              <a:gd name="connsiteX3" fmla="*/ 0 w 2820851"/>
              <a:gd name="connsiteY3" fmla="*/ 481954 h 3341130"/>
              <a:gd name="connsiteX4" fmla="*/ 2467865 w 2820851"/>
              <a:gd name="connsiteY4" fmla="*/ 0 h 3341130"/>
              <a:gd name="connsiteX5" fmla="*/ 2809430 w 2820851"/>
              <a:gd name="connsiteY5" fmla="*/ 1748995 h 3341130"/>
              <a:gd name="connsiteX6" fmla="*/ 2813681 w 2820851"/>
              <a:gd name="connsiteY6" fmla="*/ 2045662 h 3341130"/>
              <a:gd name="connsiteX7" fmla="*/ 2452877 w 2820851"/>
              <a:gd name="connsiteY7" fmla="*/ 3012062 h 3341130"/>
              <a:gd name="connsiteX8" fmla="*/ 1861016 w 2820851"/>
              <a:gd name="connsiteY8" fmla="*/ 3328014 h 3341130"/>
              <a:gd name="connsiteX0" fmla="*/ 1861016 w 2835461"/>
              <a:gd name="connsiteY0" fmla="*/ 3328014 h 3341130"/>
              <a:gd name="connsiteX1" fmla="*/ 796962 w 2835461"/>
              <a:gd name="connsiteY1" fmla="*/ 3173288 h 3341130"/>
              <a:gd name="connsiteX2" fmla="*/ 336057 w 2835461"/>
              <a:gd name="connsiteY2" fmla="*/ 2229184 h 3341130"/>
              <a:gd name="connsiteX3" fmla="*/ 0 w 2835461"/>
              <a:gd name="connsiteY3" fmla="*/ 481954 h 3341130"/>
              <a:gd name="connsiteX4" fmla="*/ 2467865 w 2835461"/>
              <a:gd name="connsiteY4" fmla="*/ 0 h 3341130"/>
              <a:gd name="connsiteX5" fmla="*/ 2809430 w 2835461"/>
              <a:gd name="connsiteY5" fmla="*/ 1748995 h 3341130"/>
              <a:gd name="connsiteX6" fmla="*/ 2828769 w 2835461"/>
              <a:gd name="connsiteY6" fmla="*/ 2091483 h 3341130"/>
              <a:gd name="connsiteX7" fmla="*/ 2452877 w 2835461"/>
              <a:gd name="connsiteY7" fmla="*/ 3012062 h 3341130"/>
              <a:gd name="connsiteX8" fmla="*/ 1861016 w 2835461"/>
              <a:gd name="connsiteY8" fmla="*/ 3328014 h 3341130"/>
              <a:gd name="connsiteX0" fmla="*/ 1861016 w 2835461"/>
              <a:gd name="connsiteY0" fmla="*/ 3328014 h 3341130"/>
              <a:gd name="connsiteX1" fmla="*/ 796962 w 2835461"/>
              <a:gd name="connsiteY1" fmla="*/ 3173288 h 3341130"/>
              <a:gd name="connsiteX2" fmla="*/ 336057 w 2835461"/>
              <a:gd name="connsiteY2" fmla="*/ 2229184 h 3341130"/>
              <a:gd name="connsiteX3" fmla="*/ 0 w 2835461"/>
              <a:gd name="connsiteY3" fmla="*/ 481954 h 3341130"/>
              <a:gd name="connsiteX4" fmla="*/ 2467865 w 2835461"/>
              <a:gd name="connsiteY4" fmla="*/ 0 h 3341130"/>
              <a:gd name="connsiteX5" fmla="*/ 2809430 w 2835461"/>
              <a:gd name="connsiteY5" fmla="*/ 1748995 h 3341130"/>
              <a:gd name="connsiteX6" fmla="*/ 2828769 w 2835461"/>
              <a:gd name="connsiteY6" fmla="*/ 2091483 h 3341130"/>
              <a:gd name="connsiteX7" fmla="*/ 2452877 w 2835461"/>
              <a:gd name="connsiteY7" fmla="*/ 3012062 h 3341130"/>
              <a:gd name="connsiteX8" fmla="*/ 1861016 w 2835461"/>
              <a:gd name="connsiteY8" fmla="*/ 3328014 h 3341130"/>
              <a:gd name="connsiteX0" fmla="*/ 1861016 w 2835461"/>
              <a:gd name="connsiteY0" fmla="*/ 3328014 h 3341130"/>
              <a:gd name="connsiteX1" fmla="*/ 796962 w 2835461"/>
              <a:gd name="connsiteY1" fmla="*/ 3173288 h 3341130"/>
              <a:gd name="connsiteX2" fmla="*/ 336057 w 2835461"/>
              <a:gd name="connsiteY2" fmla="*/ 2229184 h 3341130"/>
              <a:gd name="connsiteX3" fmla="*/ 0 w 2835461"/>
              <a:gd name="connsiteY3" fmla="*/ 481954 h 3341130"/>
              <a:gd name="connsiteX4" fmla="*/ 2467865 w 2835461"/>
              <a:gd name="connsiteY4" fmla="*/ 0 h 3341130"/>
              <a:gd name="connsiteX5" fmla="*/ 2803530 w 2835461"/>
              <a:gd name="connsiteY5" fmla="*/ 1718331 h 3341130"/>
              <a:gd name="connsiteX6" fmla="*/ 2828769 w 2835461"/>
              <a:gd name="connsiteY6" fmla="*/ 2091483 h 3341130"/>
              <a:gd name="connsiteX7" fmla="*/ 2452877 w 2835461"/>
              <a:gd name="connsiteY7" fmla="*/ 3012062 h 3341130"/>
              <a:gd name="connsiteX8" fmla="*/ 1861016 w 2835461"/>
              <a:gd name="connsiteY8" fmla="*/ 3328014 h 3341130"/>
              <a:gd name="connsiteX0" fmla="*/ 1861016 w 2829919"/>
              <a:gd name="connsiteY0" fmla="*/ 3328014 h 3341130"/>
              <a:gd name="connsiteX1" fmla="*/ 796962 w 2829919"/>
              <a:gd name="connsiteY1" fmla="*/ 3173288 h 3341130"/>
              <a:gd name="connsiteX2" fmla="*/ 336057 w 2829919"/>
              <a:gd name="connsiteY2" fmla="*/ 2229184 h 3341130"/>
              <a:gd name="connsiteX3" fmla="*/ 0 w 2829919"/>
              <a:gd name="connsiteY3" fmla="*/ 481954 h 3341130"/>
              <a:gd name="connsiteX4" fmla="*/ 2467865 w 2829919"/>
              <a:gd name="connsiteY4" fmla="*/ 0 h 3341130"/>
              <a:gd name="connsiteX5" fmla="*/ 2803530 w 2829919"/>
              <a:gd name="connsiteY5" fmla="*/ 1718331 h 3341130"/>
              <a:gd name="connsiteX6" fmla="*/ 2828769 w 2829919"/>
              <a:gd name="connsiteY6" fmla="*/ 2091483 h 3341130"/>
              <a:gd name="connsiteX7" fmla="*/ 2452877 w 2829919"/>
              <a:gd name="connsiteY7" fmla="*/ 3012062 h 3341130"/>
              <a:gd name="connsiteX8" fmla="*/ 1861016 w 2829919"/>
              <a:gd name="connsiteY8" fmla="*/ 3328014 h 3341130"/>
              <a:gd name="connsiteX0" fmla="*/ 1861016 w 2829919"/>
              <a:gd name="connsiteY0" fmla="*/ 3328014 h 3346886"/>
              <a:gd name="connsiteX1" fmla="*/ 796962 w 2829919"/>
              <a:gd name="connsiteY1" fmla="*/ 3173288 h 3346886"/>
              <a:gd name="connsiteX2" fmla="*/ 336057 w 2829919"/>
              <a:gd name="connsiteY2" fmla="*/ 2229184 h 3346886"/>
              <a:gd name="connsiteX3" fmla="*/ 0 w 2829919"/>
              <a:gd name="connsiteY3" fmla="*/ 481954 h 3346886"/>
              <a:gd name="connsiteX4" fmla="*/ 2467865 w 2829919"/>
              <a:gd name="connsiteY4" fmla="*/ 0 h 3346886"/>
              <a:gd name="connsiteX5" fmla="*/ 2803530 w 2829919"/>
              <a:gd name="connsiteY5" fmla="*/ 1718331 h 3346886"/>
              <a:gd name="connsiteX6" fmla="*/ 2828769 w 2829919"/>
              <a:gd name="connsiteY6" fmla="*/ 2091483 h 3346886"/>
              <a:gd name="connsiteX7" fmla="*/ 2452877 w 2829919"/>
              <a:gd name="connsiteY7" fmla="*/ 3012062 h 3346886"/>
              <a:gd name="connsiteX8" fmla="*/ 1861016 w 2829919"/>
              <a:gd name="connsiteY8" fmla="*/ 3328014 h 3346886"/>
              <a:gd name="connsiteX0" fmla="*/ 1861016 w 2829919"/>
              <a:gd name="connsiteY0" fmla="*/ 3328014 h 3352626"/>
              <a:gd name="connsiteX1" fmla="*/ 796962 w 2829919"/>
              <a:gd name="connsiteY1" fmla="*/ 3173288 h 3352626"/>
              <a:gd name="connsiteX2" fmla="*/ 336057 w 2829919"/>
              <a:gd name="connsiteY2" fmla="*/ 2229184 h 3352626"/>
              <a:gd name="connsiteX3" fmla="*/ 0 w 2829919"/>
              <a:gd name="connsiteY3" fmla="*/ 481954 h 3352626"/>
              <a:gd name="connsiteX4" fmla="*/ 2467865 w 2829919"/>
              <a:gd name="connsiteY4" fmla="*/ 0 h 3352626"/>
              <a:gd name="connsiteX5" fmla="*/ 2803530 w 2829919"/>
              <a:gd name="connsiteY5" fmla="*/ 1718331 h 3352626"/>
              <a:gd name="connsiteX6" fmla="*/ 2828769 w 2829919"/>
              <a:gd name="connsiteY6" fmla="*/ 2091483 h 3352626"/>
              <a:gd name="connsiteX7" fmla="*/ 2452877 w 2829919"/>
              <a:gd name="connsiteY7" fmla="*/ 3012062 h 3352626"/>
              <a:gd name="connsiteX8" fmla="*/ 1861016 w 2829919"/>
              <a:gd name="connsiteY8" fmla="*/ 3328014 h 3352626"/>
              <a:gd name="connsiteX0" fmla="*/ 1861016 w 2829919"/>
              <a:gd name="connsiteY0" fmla="*/ 3328014 h 3352626"/>
              <a:gd name="connsiteX1" fmla="*/ 796962 w 2829919"/>
              <a:gd name="connsiteY1" fmla="*/ 3173288 h 3352626"/>
              <a:gd name="connsiteX2" fmla="*/ 336057 w 2829919"/>
              <a:gd name="connsiteY2" fmla="*/ 2229184 h 3352626"/>
              <a:gd name="connsiteX3" fmla="*/ 0 w 2829919"/>
              <a:gd name="connsiteY3" fmla="*/ 481954 h 3352626"/>
              <a:gd name="connsiteX4" fmla="*/ 2467865 w 2829919"/>
              <a:gd name="connsiteY4" fmla="*/ 0 h 3352626"/>
              <a:gd name="connsiteX5" fmla="*/ 2803530 w 2829919"/>
              <a:gd name="connsiteY5" fmla="*/ 1718331 h 3352626"/>
              <a:gd name="connsiteX6" fmla="*/ 2828769 w 2829919"/>
              <a:gd name="connsiteY6" fmla="*/ 2091483 h 3352626"/>
              <a:gd name="connsiteX7" fmla="*/ 2452877 w 2829919"/>
              <a:gd name="connsiteY7" fmla="*/ 3012062 h 3352626"/>
              <a:gd name="connsiteX8" fmla="*/ 1861016 w 2829919"/>
              <a:gd name="connsiteY8" fmla="*/ 3328014 h 3352626"/>
              <a:gd name="connsiteX0" fmla="*/ 1861016 w 2829919"/>
              <a:gd name="connsiteY0" fmla="*/ 3328014 h 3352626"/>
              <a:gd name="connsiteX1" fmla="*/ 796962 w 2829919"/>
              <a:gd name="connsiteY1" fmla="*/ 3173288 h 3352626"/>
              <a:gd name="connsiteX2" fmla="*/ 336057 w 2829919"/>
              <a:gd name="connsiteY2" fmla="*/ 2229184 h 3352626"/>
              <a:gd name="connsiteX3" fmla="*/ 0 w 2829919"/>
              <a:gd name="connsiteY3" fmla="*/ 481954 h 3352626"/>
              <a:gd name="connsiteX4" fmla="*/ 2467865 w 2829919"/>
              <a:gd name="connsiteY4" fmla="*/ 0 h 3352626"/>
              <a:gd name="connsiteX5" fmla="*/ 2803530 w 2829919"/>
              <a:gd name="connsiteY5" fmla="*/ 1718331 h 3352626"/>
              <a:gd name="connsiteX6" fmla="*/ 2828769 w 2829919"/>
              <a:gd name="connsiteY6" fmla="*/ 2091483 h 3352626"/>
              <a:gd name="connsiteX7" fmla="*/ 2452877 w 2829919"/>
              <a:gd name="connsiteY7" fmla="*/ 3012062 h 3352626"/>
              <a:gd name="connsiteX8" fmla="*/ 1861016 w 2829919"/>
              <a:gd name="connsiteY8" fmla="*/ 3328014 h 3352626"/>
              <a:gd name="connsiteX0" fmla="*/ 1861016 w 2829919"/>
              <a:gd name="connsiteY0" fmla="*/ 3328014 h 3352626"/>
              <a:gd name="connsiteX1" fmla="*/ 796962 w 2829919"/>
              <a:gd name="connsiteY1" fmla="*/ 3173288 h 3352626"/>
              <a:gd name="connsiteX2" fmla="*/ 336057 w 2829919"/>
              <a:gd name="connsiteY2" fmla="*/ 2229184 h 3352626"/>
              <a:gd name="connsiteX3" fmla="*/ 0 w 2829919"/>
              <a:gd name="connsiteY3" fmla="*/ 481954 h 3352626"/>
              <a:gd name="connsiteX4" fmla="*/ 1636004 w 2829919"/>
              <a:gd name="connsiteY4" fmla="*/ 2119429 h 3352626"/>
              <a:gd name="connsiteX5" fmla="*/ 2467865 w 2829919"/>
              <a:gd name="connsiteY5" fmla="*/ 0 h 3352626"/>
              <a:gd name="connsiteX6" fmla="*/ 2803530 w 2829919"/>
              <a:gd name="connsiteY6" fmla="*/ 1718331 h 3352626"/>
              <a:gd name="connsiteX7" fmla="*/ 2828769 w 2829919"/>
              <a:gd name="connsiteY7" fmla="*/ 2091483 h 3352626"/>
              <a:gd name="connsiteX8" fmla="*/ 2452877 w 2829919"/>
              <a:gd name="connsiteY8" fmla="*/ 3012062 h 3352626"/>
              <a:gd name="connsiteX9" fmla="*/ 1861016 w 2829919"/>
              <a:gd name="connsiteY9" fmla="*/ 3328014 h 3352626"/>
              <a:gd name="connsiteX0" fmla="*/ 1861016 w 2829919"/>
              <a:gd name="connsiteY0" fmla="*/ 3328014 h 3352626"/>
              <a:gd name="connsiteX1" fmla="*/ 796962 w 2829919"/>
              <a:gd name="connsiteY1" fmla="*/ 3173288 h 3352626"/>
              <a:gd name="connsiteX2" fmla="*/ 336057 w 2829919"/>
              <a:gd name="connsiteY2" fmla="*/ 2229184 h 3352626"/>
              <a:gd name="connsiteX3" fmla="*/ 0 w 2829919"/>
              <a:gd name="connsiteY3" fmla="*/ 481954 h 3352626"/>
              <a:gd name="connsiteX4" fmla="*/ 1636004 w 2829919"/>
              <a:gd name="connsiteY4" fmla="*/ 2119429 h 3352626"/>
              <a:gd name="connsiteX5" fmla="*/ 2467865 w 2829919"/>
              <a:gd name="connsiteY5" fmla="*/ 0 h 3352626"/>
              <a:gd name="connsiteX6" fmla="*/ 2803530 w 2829919"/>
              <a:gd name="connsiteY6" fmla="*/ 1718331 h 3352626"/>
              <a:gd name="connsiteX7" fmla="*/ 2828769 w 2829919"/>
              <a:gd name="connsiteY7" fmla="*/ 2091483 h 3352626"/>
              <a:gd name="connsiteX8" fmla="*/ 2452877 w 2829919"/>
              <a:gd name="connsiteY8" fmla="*/ 3012062 h 3352626"/>
              <a:gd name="connsiteX9" fmla="*/ 1861016 w 2829919"/>
              <a:gd name="connsiteY9" fmla="*/ 3328014 h 3352626"/>
              <a:gd name="connsiteX0" fmla="*/ 1861016 w 2829919"/>
              <a:gd name="connsiteY0" fmla="*/ 3328014 h 3352626"/>
              <a:gd name="connsiteX1" fmla="*/ 796962 w 2829919"/>
              <a:gd name="connsiteY1" fmla="*/ 3173288 h 3352626"/>
              <a:gd name="connsiteX2" fmla="*/ 336057 w 2829919"/>
              <a:gd name="connsiteY2" fmla="*/ 2229184 h 3352626"/>
              <a:gd name="connsiteX3" fmla="*/ 0 w 2829919"/>
              <a:gd name="connsiteY3" fmla="*/ 481954 h 3352626"/>
              <a:gd name="connsiteX4" fmla="*/ 1649572 w 2829919"/>
              <a:gd name="connsiteY4" fmla="*/ 2189943 h 3352626"/>
              <a:gd name="connsiteX5" fmla="*/ 2467865 w 2829919"/>
              <a:gd name="connsiteY5" fmla="*/ 0 h 3352626"/>
              <a:gd name="connsiteX6" fmla="*/ 2803530 w 2829919"/>
              <a:gd name="connsiteY6" fmla="*/ 1718331 h 3352626"/>
              <a:gd name="connsiteX7" fmla="*/ 2828769 w 2829919"/>
              <a:gd name="connsiteY7" fmla="*/ 2091483 h 3352626"/>
              <a:gd name="connsiteX8" fmla="*/ 2452877 w 2829919"/>
              <a:gd name="connsiteY8" fmla="*/ 3012062 h 3352626"/>
              <a:gd name="connsiteX9" fmla="*/ 1861016 w 2829919"/>
              <a:gd name="connsiteY9" fmla="*/ 3328014 h 3352626"/>
              <a:gd name="connsiteX0" fmla="*/ 1861016 w 2829919"/>
              <a:gd name="connsiteY0" fmla="*/ 3328014 h 3359247"/>
              <a:gd name="connsiteX1" fmla="*/ 796962 w 2829919"/>
              <a:gd name="connsiteY1" fmla="*/ 3173288 h 3359247"/>
              <a:gd name="connsiteX2" fmla="*/ 336057 w 2829919"/>
              <a:gd name="connsiteY2" fmla="*/ 2229184 h 3359247"/>
              <a:gd name="connsiteX3" fmla="*/ 0 w 2829919"/>
              <a:gd name="connsiteY3" fmla="*/ 481954 h 3359247"/>
              <a:gd name="connsiteX4" fmla="*/ 1649572 w 2829919"/>
              <a:gd name="connsiteY4" fmla="*/ 2189943 h 3359247"/>
              <a:gd name="connsiteX5" fmla="*/ 2467865 w 2829919"/>
              <a:gd name="connsiteY5" fmla="*/ 0 h 3359247"/>
              <a:gd name="connsiteX6" fmla="*/ 2803530 w 2829919"/>
              <a:gd name="connsiteY6" fmla="*/ 1718331 h 3359247"/>
              <a:gd name="connsiteX7" fmla="*/ 2828769 w 2829919"/>
              <a:gd name="connsiteY7" fmla="*/ 2091483 h 3359247"/>
              <a:gd name="connsiteX8" fmla="*/ 2452877 w 2829919"/>
              <a:gd name="connsiteY8" fmla="*/ 3012062 h 3359247"/>
              <a:gd name="connsiteX9" fmla="*/ 1861016 w 2829919"/>
              <a:gd name="connsiteY9" fmla="*/ 3328014 h 3359247"/>
              <a:gd name="connsiteX0" fmla="*/ 1861016 w 2830596"/>
              <a:gd name="connsiteY0" fmla="*/ 3328014 h 3342040"/>
              <a:gd name="connsiteX1" fmla="*/ 796962 w 2830596"/>
              <a:gd name="connsiteY1" fmla="*/ 3173288 h 3342040"/>
              <a:gd name="connsiteX2" fmla="*/ 336057 w 2830596"/>
              <a:gd name="connsiteY2" fmla="*/ 2229184 h 3342040"/>
              <a:gd name="connsiteX3" fmla="*/ 0 w 2830596"/>
              <a:gd name="connsiteY3" fmla="*/ 481954 h 3342040"/>
              <a:gd name="connsiteX4" fmla="*/ 1649572 w 2830596"/>
              <a:gd name="connsiteY4" fmla="*/ 2189943 h 3342040"/>
              <a:gd name="connsiteX5" fmla="*/ 2467865 w 2830596"/>
              <a:gd name="connsiteY5" fmla="*/ 0 h 3342040"/>
              <a:gd name="connsiteX6" fmla="*/ 2803530 w 2830596"/>
              <a:gd name="connsiteY6" fmla="*/ 1718331 h 3342040"/>
              <a:gd name="connsiteX7" fmla="*/ 2828769 w 2830596"/>
              <a:gd name="connsiteY7" fmla="*/ 2091483 h 3342040"/>
              <a:gd name="connsiteX8" fmla="*/ 2516033 w 2830596"/>
              <a:gd name="connsiteY8" fmla="*/ 2999544 h 3342040"/>
              <a:gd name="connsiteX9" fmla="*/ 1861016 w 2830596"/>
              <a:gd name="connsiteY9" fmla="*/ 3328014 h 3342040"/>
              <a:gd name="connsiteX0" fmla="*/ 1861016 w 2830709"/>
              <a:gd name="connsiteY0" fmla="*/ 3328014 h 3344557"/>
              <a:gd name="connsiteX1" fmla="*/ 796962 w 2830709"/>
              <a:gd name="connsiteY1" fmla="*/ 3173288 h 3344557"/>
              <a:gd name="connsiteX2" fmla="*/ 336057 w 2830709"/>
              <a:gd name="connsiteY2" fmla="*/ 2229184 h 3344557"/>
              <a:gd name="connsiteX3" fmla="*/ 0 w 2830709"/>
              <a:gd name="connsiteY3" fmla="*/ 481954 h 3344557"/>
              <a:gd name="connsiteX4" fmla="*/ 1649572 w 2830709"/>
              <a:gd name="connsiteY4" fmla="*/ 2189943 h 3344557"/>
              <a:gd name="connsiteX5" fmla="*/ 2467865 w 2830709"/>
              <a:gd name="connsiteY5" fmla="*/ 0 h 3344557"/>
              <a:gd name="connsiteX6" fmla="*/ 2803530 w 2830709"/>
              <a:gd name="connsiteY6" fmla="*/ 1718331 h 3344557"/>
              <a:gd name="connsiteX7" fmla="*/ 2828769 w 2830709"/>
              <a:gd name="connsiteY7" fmla="*/ 2091483 h 3344557"/>
              <a:gd name="connsiteX8" fmla="*/ 2522497 w 2830709"/>
              <a:gd name="connsiteY8" fmla="*/ 2964989 h 3344557"/>
              <a:gd name="connsiteX9" fmla="*/ 1861016 w 2830709"/>
              <a:gd name="connsiteY9" fmla="*/ 3328014 h 3344557"/>
              <a:gd name="connsiteX0" fmla="*/ 1861016 w 2830709"/>
              <a:gd name="connsiteY0" fmla="*/ 3328014 h 3359688"/>
              <a:gd name="connsiteX1" fmla="*/ 796962 w 2830709"/>
              <a:gd name="connsiteY1" fmla="*/ 3173288 h 3359688"/>
              <a:gd name="connsiteX2" fmla="*/ 336057 w 2830709"/>
              <a:gd name="connsiteY2" fmla="*/ 2229184 h 3359688"/>
              <a:gd name="connsiteX3" fmla="*/ 0 w 2830709"/>
              <a:gd name="connsiteY3" fmla="*/ 481954 h 3359688"/>
              <a:gd name="connsiteX4" fmla="*/ 1649572 w 2830709"/>
              <a:gd name="connsiteY4" fmla="*/ 2189943 h 3359688"/>
              <a:gd name="connsiteX5" fmla="*/ 2467865 w 2830709"/>
              <a:gd name="connsiteY5" fmla="*/ 0 h 3359688"/>
              <a:gd name="connsiteX6" fmla="*/ 2803530 w 2830709"/>
              <a:gd name="connsiteY6" fmla="*/ 1718331 h 3359688"/>
              <a:gd name="connsiteX7" fmla="*/ 2828769 w 2830709"/>
              <a:gd name="connsiteY7" fmla="*/ 2091483 h 3359688"/>
              <a:gd name="connsiteX8" fmla="*/ 2522497 w 2830709"/>
              <a:gd name="connsiteY8" fmla="*/ 2964989 h 3359688"/>
              <a:gd name="connsiteX9" fmla="*/ 1861016 w 2830709"/>
              <a:gd name="connsiteY9" fmla="*/ 3328014 h 3359688"/>
              <a:gd name="connsiteX0" fmla="*/ 1861016 w 2830709"/>
              <a:gd name="connsiteY0" fmla="*/ 3328014 h 3360929"/>
              <a:gd name="connsiteX1" fmla="*/ 832092 w 2830709"/>
              <a:gd name="connsiteY1" fmla="*/ 3219563 h 3360929"/>
              <a:gd name="connsiteX2" fmla="*/ 336057 w 2830709"/>
              <a:gd name="connsiteY2" fmla="*/ 2229184 h 3360929"/>
              <a:gd name="connsiteX3" fmla="*/ 0 w 2830709"/>
              <a:gd name="connsiteY3" fmla="*/ 481954 h 3360929"/>
              <a:gd name="connsiteX4" fmla="*/ 1649572 w 2830709"/>
              <a:gd name="connsiteY4" fmla="*/ 2189943 h 3360929"/>
              <a:gd name="connsiteX5" fmla="*/ 2467865 w 2830709"/>
              <a:gd name="connsiteY5" fmla="*/ 0 h 3360929"/>
              <a:gd name="connsiteX6" fmla="*/ 2803530 w 2830709"/>
              <a:gd name="connsiteY6" fmla="*/ 1718331 h 3360929"/>
              <a:gd name="connsiteX7" fmla="*/ 2828769 w 2830709"/>
              <a:gd name="connsiteY7" fmla="*/ 2091483 h 3360929"/>
              <a:gd name="connsiteX8" fmla="*/ 2522497 w 2830709"/>
              <a:gd name="connsiteY8" fmla="*/ 2964989 h 3360929"/>
              <a:gd name="connsiteX9" fmla="*/ 1861016 w 2830709"/>
              <a:gd name="connsiteY9" fmla="*/ 3328014 h 3360929"/>
              <a:gd name="connsiteX0" fmla="*/ 1861016 w 2830709"/>
              <a:gd name="connsiteY0" fmla="*/ 3328014 h 3360929"/>
              <a:gd name="connsiteX1" fmla="*/ 832092 w 2830709"/>
              <a:gd name="connsiteY1" fmla="*/ 3219563 h 3360929"/>
              <a:gd name="connsiteX2" fmla="*/ 336057 w 2830709"/>
              <a:gd name="connsiteY2" fmla="*/ 2229184 h 3360929"/>
              <a:gd name="connsiteX3" fmla="*/ 0 w 2830709"/>
              <a:gd name="connsiteY3" fmla="*/ 481954 h 3360929"/>
              <a:gd name="connsiteX4" fmla="*/ 1649572 w 2830709"/>
              <a:gd name="connsiteY4" fmla="*/ 2189943 h 3360929"/>
              <a:gd name="connsiteX5" fmla="*/ 2467865 w 2830709"/>
              <a:gd name="connsiteY5" fmla="*/ 0 h 3360929"/>
              <a:gd name="connsiteX6" fmla="*/ 2803530 w 2830709"/>
              <a:gd name="connsiteY6" fmla="*/ 1718331 h 3360929"/>
              <a:gd name="connsiteX7" fmla="*/ 2828769 w 2830709"/>
              <a:gd name="connsiteY7" fmla="*/ 2091483 h 3360929"/>
              <a:gd name="connsiteX8" fmla="*/ 2522497 w 2830709"/>
              <a:gd name="connsiteY8" fmla="*/ 2964989 h 3360929"/>
              <a:gd name="connsiteX9" fmla="*/ 1861016 w 2830709"/>
              <a:gd name="connsiteY9" fmla="*/ 3328014 h 3360929"/>
              <a:gd name="connsiteX0" fmla="*/ 1861016 w 2830709"/>
              <a:gd name="connsiteY0" fmla="*/ 3328014 h 3360929"/>
              <a:gd name="connsiteX1" fmla="*/ 832092 w 2830709"/>
              <a:gd name="connsiteY1" fmla="*/ 3219563 h 3360929"/>
              <a:gd name="connsiteX2" fmla="*/ 336057 w 2830709"/>
              <a:gd name="connsiteY2" fmla="*/ 2229184 h 3360929"/>
              <a:gd name="connsiteX3" fmla="*/ 0 w 2830709"/>
              <a:gd name="connsiteY3" fmla="*/ 481954 h 3360929"/>
              <a:gd name="connsiteX4" fmla="*/ 1620462 w 2830709"/>
              <a:gd name="connsiteY4" fmla="*/ 2209024 h 3360929"/>
              <a:gd name="connsiteX5" fmla="*/ 2467865 w 2830709"/>
              <a:gd name="connsiteY5" fmla="*/ 0 h 3360929"/>
              <a:gd name="connsiteX6" fmla="*/ 2803530 w 2830709"/>
              <a:gd name="connsiteY6" fmla="*/ 1718331 h 3360929"/>
              <a:gd name="connsiteX7" fmla="*/ 2828769 w 2830709"/>
              <a:gd name="connsiteY7" fmla="*/ 2091483 h 3360929"/>
              <a:gd name="connsiteX8" fmla="*/ 2522497 w 2830709"/>
              <a:gd name="connsiteY8" fmla="*/ 2964989 h 3360929"/>
              <a:gd name="connsiteX9" fmla="*/ 1861016 w 2830709"/>
              <a:gd name="connsiteY9" fmla="*/ 3328014 h 3360929"/>
              <a:gd name="connsiteX0" fmla="*/ 1861016 w 2830709"/>
              <a:gd name="connsiteY0" fmla="*/ 3328014 h 3360929"/>
              <a:gd name="connsiteX1" fmla="*/ 832092 w 2830709"/>
              <a:gd name="connsiteY1" fmla="*/ 3219563 h 3360929"/>
              <a:gd name="connsiteX2" fmla="*/ 336057 w 2830709"/>
              <a:gd name="connsiteY2" fmla="*/ 2229184 h 3360929"/>
              <a:gd name="connsiteX3" fmla="*/ 0 w 2830709"/>
              <a:gd name="connsiteY3" fmla="*/ 481954 h 3360929"/>
              <a:gd name="connsiteX4" fmla="*/ 1620462 w 2830709"/>
              <a:gd name="connsiteY4" fmla="*/ 2209024 h 3360929"/>
              <a:gd name="connsiteX5" fmla="*/ 2467865 w 2830709"/>
              <a:gd name="connsiteY5" fmla="*/ 0 h 3360929"/>
              <a:gd name="connsiteX6" fmla="*/ 2803530 w 2830709"/>
              <a:gd name="connsiteY6" fmla="*/ 1718331 h 3360929"/>
              <a:gd name="connsiteX7" fmla="*/ 2828769 w 2830709"/>
              <a:gd name="connsiteY7" fmla="*/ 2091483 h 3360929"/>
              <a:gd name="connsiteX8" fmla="*/ 2522497 w 2830709"/>
              <a:gd name="connsiteY8" fmla="*/ 2964989 h 3360929"/>
              <a:gd name="connsiteX9" fmla="*/ 1861016 w 2830709"/>
              <a:gd name="connsiteY9" fmla="*/ 3328014 h 3360929"/>
              <a:gd name="connsiteX0" fmla="*/ 1861016 w 2830709"/>
              <a:gd name="connsiteY0" fmla="*/ 3328014 h 3360929"/>
              <a:gd name="connsiteX1" fmla="*/ 832092 w 2830709"/>
              <a:gd name="connsiteY1" fmla="*/ 3219563 h 3360929"/>
              <a:gd name="connsiteX2" fmla="*/ 336057 w 2830709"/>
              <a:gd name="connsiteY2" fmla="*/ 2229184 h 3360929"/>
              <a:gd name="connsiteX3" fmla="*/ 0 w 2830709"/>
              <a:gd name="connsiteY3" fmla="*/ 481954 h 3360929"/>
              <a:gd name="connsiteX4" fmla="*/ 1620462 w 2830709"/>
              <a:gd name="connsiteY4" fmla="*/ 2209024 h 3360929"/>
              <a:gd name="connsiteX5" fmla="*/ 2467865 w 2830709"/>
              <a:gd name="connsiteY5" fmla="*/ 0 h 3360929"/>
              <a:gd name="connsiteX6" fmla="*/ 2749262 w 2830709"/>
              <a:gd name="connsiteY6" fmla="*/ 1436277 h 3360929"/>
              <a:gd name="connsiteX7" fmla="*/ 2828769 w 2830709"/>
              <a:gd name="connsiteY7" fmla="*/ 2091483 h 3360929"/>
              <a:gd name="connsiteX8" fmla="*/ 2522497 w 2830709"/>
              <a:gd name="connsiteY8" fmla="*/ 2964989 h 3360929"/>
              <a:gd name="connsiteX9" fmla="*/ 1861016 w 2830709"/>
              <a:gd name="connsiteY9" fmla="*/ 3328014 h 3360929"/>
              <a:gd name="connsiteX0" fmla="*/ 1861016 w 2830709"/>
              <a:gd name="connsiteY0" fmla="*/ 3328014 h 3360929"/>
              <a:gd name="connsiteX1" fmla="*/ 832092 w 2830709"/>
              <a:gd name="connsiteY1" fmla="*/ 3219563 h 3360929"/>
              <a:gd name="connsiteX2" fmla="*/ 336057 w 2830709"/>
              <a:gd name="connsiteY2" fmla="*/ 2229184 h 3360929"/>
              <a:gd name="connsiteX3" fmla="*/ 0 w 2830709"/>
              <a:gd name="connsiteY3" fmla="*/ 481954 h 3360929"/>
              <a:gd name="connsiteX4" fmla="*/ 1620462 w 2830709"/>
              <a:gd name="connsiteY4" fmla="*/ 2209024 h 3360929"/>
              <a:gd name="connsiteX5" fmla="*/ 2467865 w 2830709"/>
              <a:gd name="connsiteY5" fmla="*/ 0 h 3360929"/>
              <a:gd name="connsiteX6" fmla="*/ 2744478 w 2830709"/>
              <a:gd name="connsiteY6" fmla="*/ 1377332 h 3360929"/>
              <a:gd name="connsiteX7" fmla="*/ 2828769 w 2830709"/>
              <a:gd name="connsiteY7" fmla="*/ 2091483 h 3360929"/>
              <a:gd name="connsiteX8" fmla="*/ 2522497 w 2830709"/>
              <a:gd name="connsiteY8" fmla="*/ 2964989 h 3360929"/>
              <a:gd name="connsiteX9" fmla="*/ 1861016 w 2830709"/>
              <a:gd name="connsiteY9" fmla="*/ 3328014 h 3360929"/>
              <a:gd name="connsiteX0" fmla="*/ 1861016 w 2828818"/>
              <a:gd name="connsiteY0" fmla="*/ 3328014 h 3360929"/>
              <a:gd name="connsiteX1" fmla="*/ 832092 w 2828818"/>
              <a:gd name="connsiteY1" fmla="*/ 3219563 h 3360929"/>
              <a:gd name="connsiteX2" fmla="*/ 336057 w 2828818"/>
              <a:gd name="connsiteY2" fmla="*/ 2229184 h 3360929"/>
              <a:gd name="connsiteX3" fmla="*/ 0 w 2828818"/>
              <a:gd name="connsiteY3" fmla="*/ 481954 h 3360929"/>
              <a:gd name="connsiteX4" fmla="*/ 1620462 w 2828818"/>
              <a:gd name="connsiteY4" fmla="*/ 2209024 h 3360929"/>
              <a:gd name="connsiteX5" fmla="*/ 2467865 w 2828818"/>
              <a:gd name="connsiteY5" fmla="*/ 0 h 3360929"/>
              <a:gd name="connsiteX6" fmla="*/ 2744478 w 2828818"/>
              <a:gd name="connsiteY6" fmla="*/ 1377332 h 3360929"/>
              <a:gd name="connsiteX7" fmla="*/ 2828769 w 2828818"/>
              <a:gd name="connsiteY7" fmla="*/ 2091483 h 3360929"/>
              <a:gd name="connsiteX8" fmla="*/ 2522497 w 2828818"/>
              <a:gd name="connsiteY8" fmla="*/ 2964989 h 3360929"/>
              <a:gd name="connsiteX9" fmla="*/ 1861016 w 2828818"/>
              <a:gd name="connsiteY9" fmla="*/ 3328014 h 3360929"/>
              <a:gd name="connsiteX0" fmla="*/ 1861016 w 2828818"/>
              <a:gd name="connsiteY0" fmla="*/ 3328014 h 3360929"/>
              <a:gd name="connsiteX1" fmla="*/ 832092 w 2828818"/>
              <a:gd name="connsiteY1" fmla="*/ 3219563 h 3360929"/>
              <a:gd name="connsiteX2" fmla="*/ 336057 w 2828818"/>
              <a:gd name="connsiteY2" fmla="*/ 2229184 h 3360929"/>
              <a:gd name="connsiteX3" fmla="*/ 0 w 2828818"/>
              <a:gd name="connsiteY3" fmla="*/ 481954 h 3360929"/>
              <a:gd name="connsiteX4" fmla="*/ 1589645 w 2828818"/>
              <a:gd name="connsiteY4" fmla="*/ 2018827 h 3360929"/>
              <a:gd name="connsiteX5" fmla="*/ 2467865 w 2828818"/>
              <a:gd name="connsiteY5" fmla="*/ 0 h 3360929"/>
              <a:gd name="connsiteX6" fmla="*/ 2744478 w 2828818"/>
              <a:gd name="connsiteY6" fmla="*/ 1377332 h 3360929"/>
              <a:gd name="connsiteX7" fmla="*/ 2828769 w 2828818"/>
              <a:gd name="connsiteY7" fmla="*/ 2091483 h 3360929"/>
              <a:gd name="connsiteX8" fmla="*/ 2522497 w 2828818"/>
              <a:gd name="connsiteY8" fmla="*/ 2964989 h 3360929"/>
              <a:gd name="connsiteX9" fmla="*/ 1861016 w 2828818"/>
              <a:gd name="connsiteY9" fmla="*/ 3328014 h 3360929"/>
              <a:gd name="connsiteX0" fmla="*/ 1721722 w 2689524"/>
              <a:gd name="connsiteY0" fmla="*/ 3328014 h 3360929"/>
              <a:gd name="connsiteX1" fmla="*/ 692798 w 2689524"/>
              <a:gd name="connsiteY1" fmla="*/ 3219563 h 3360929"/>
              <a:gd name="connsiteX2" fmla="*/ 196763 w 2689524"/>
              <a:gd name="connsiteY2" fmla="*/ 2229184 h 3360929"/>
              <a:gd name="connsiteX3" fmla="*/ 0 w 2689524"/>
              <a:gd name="connsiteY3" fmla="*/ 731729 h 3360929"/>
              <a:gd name="connsiteX4" fmla="*/ 1450351 w 2689524"/>
              <a:gd name="connsiteY4" fmla="*/ 2018827 h 3360929"/>
              <a:gd name="connsiteX5" fmla="*/ 2328571 w 2689524"/>
              <a:gd name="connsiteY5" fmla="*/ 0 h 3360929"/>
              <a:gd name="connsiteX6" fmla="*/ 2605184 w 2689524"/>
              <a:gd name="connsiteY6" fmla="*/ 1377332 h 3360929"/>
              <a:gd name="connsiteX7" fmla="*/ 2689475 w 2689524"/>
              <a:gd name="connsiteY7" fmla="*/ 2091483 h 3360929"/>
              <a:gd name="connsiteX8" fmla="*/ 2383203 w 2689524"/>
              <a:gd name="connsiteY8" fmla="*/ 2964989 h 3360929"/>
              <a:gd name="connsiteX9" fmla="*/ 1721722 w 2689524"/>
              <a:gd name="connsiteY9" fmla="*/ 3328014 h 3360929"/>
              <a:gd name="connsiteX0" fmla="*/ 1721722 w 2689524"/>
              <a:gd name="connsiteY0" fmla="*/ 3048970 h 3081885"/>
              <a:gd name="connsiteX1" fmla="*/ 692798 w 2689524"/>
              <a:gd name="connsiteY1" fmla="*/ 2940519 h 3081885"/>
              <a:gd name="connsiteX2" fmla="*/ 196763 w 2689524"/>
              <a:gd name="connsiteY2" fmla="*/ 1950140 h 3081885"/>
              <a:gd name="connsiteX3" fmla="*/ 0 w 2689524"/>
              <a:gd name="connsiteY3" fmla="*/ 452685 h 3081885"/>
              <a:gd name="connsiteX4" fmla="*/ 1450351 w 2689524"/>
              <a:gd name="connsiteY4" fmla="*/ 1739783 h 3081885"/>
              <a:gd name="connsiteX5" fmla="*/ 2300667 w 2689524"/>
              <a:gd name="connsiteY5" fmla="*/ 0 h 3081885"/>
              <a:gd name="connsiteX6" fmla="*/ 2605184 w 2689524"/>
              <a:gd name="connsiteY6" fmla="*/ 1098288 h 3081885"/>
              <a:gd name="connsiteX7" fmla="*/ 2689475 w 2689524"/>
              <a:gd name="connsiteY7" fmla="*/ 1812439 h 3081885"/>
              <a:gd name="connsiteX8" fmla="*/ 2383203 w 2689524"/>
              <a:gd name="connsiteY8" fmla="*/ 2685945 h 3081885"/>
              <a:gd name="connsiteX9" fmla="*/ 1721722 w 2689524"/>
              <a:gd name="connsiteY9" fmla="*/ 3048970 h 3081885"/>
              <a:gd name="connsiteX0" fmla="*/ 1721722 w 2689524"/>
              <a:gd name="connsiteY0" fmla="*/ 3048970 h 3081885"/>
              <a:gd name="connsiteX1" fmla="*/ 692798 w 2689524"/>
              <a:gd name="connsiteY1" fmla="*/ 2940519 h 3081885"/>
              <a:gd name="connsiteX2" fmla="*/ 196763 w 2689524"/>
              <a:gd name="connsiteY2" fmla="*/ 1950140 h 3081885"/>
              <a:gd name="connsiteX3" fmla="*/ 0 w 2689524"/>
              <a:gd name="connsiteY3" fmla="*/ 452685 h 3081885"/>
              <a:gd name="connsiteX4" fmla="*/ 1450351 w 2689524"/>
              <a:gd name="connsiteY4" fmla="*/ 1739783 h 3081885"/>
              <a:gd name="connsiteX5" fmla="*/ 2300667 w 2689524"/>
              <a:gd name="connsiteY5" fmla="*/ 0 h 3081885"/>
              <a:gd name="connsiteX6" fmla="*/ 2605184 w 2689524"/>
              <a:gd name="connsiteY6" fmla="*/ 1098288 h 3081885"/>
              <a:gd name="connsiteX7" fmla="*/ 2689475 w 2689524"/>
              <a:gd name="connsiteY7" fmla="*/ 1812439 h 3081885"/>
              <a:gd name="connsiteX8" fmla="*/ 2383203 w 2689524"/>
              <a:gd name="connsiteY8" fmla="*/ 2685945 h 3081885"/>
              <a:gd name="connsiteX9" fmla="*/ 1721722 w 2689524"/>
              <a:gd name="connsiteY9" fmla="*/ 3048970 h 3081885"/>
              <a:gd name="connsiteX0" fmla="*/ 1721722 w 2689524"/>
              <a:gd name="connsiteY0" fmla="*/ 3048970 h 3081885"/>
              <a:gd name="connsiteX1" fmla="*/ 692798 w 2689524"/>
              <a:gd name="connsiteY1" fmla="*/ 2940519 h 3081885"/>
              <a:gd name="connsiteX2" fmla="*/ 196763 w 2689524"/>
              <a:gd name="connsiteY2" fmla="*/ 1950140 h 3081885"/>
              <a:gd name="connsiteX3" fmla="*/ 0 w 2689524"/>
              <a:gd name="connsiteY3" fmla="*/ 452685 h 3081885"/>
              <a:gd name="connsiteX4" fmla="*/ 1450351 w 2689524"/>
              <a:gd name="connsiteY4" fmla="*/ 1739783 h 3081885"/>
              <a:gd name="connsiteX5" fmla="*/ 2300667 w 2689524"/>
              <a:gd name="connsiteY5" fmla="*/ 0 h 3081885"/>
              <a:gd name="connsiteX6" fmla="*/ 2605184 w 2689524"/>
              <a:gd name="connsiteY6" fmla="*/ 1098288 h 3081885"/>
              <a:gd name="connsiteX7" fmla="*/ 2689475 w 2689524"/>
              <a:gd name="connsiteY7" fmla="*/ 1812439 h 3081885"/>
              <a:gd name="connsiteX8" fmla="*/ 2383203 w 2689524"/>
              <a:gd name="connsiteY8" fmla="*/ 2685945 h 3081885"/>
              <a:gd name="connsiteX9" fmla="*/ 1721722 w 2689524"/>
              <a:gd name="connsiteY9" fmla="*/ 3048970 h 3081885"/>
              <a:gd name="connsiteX0" fmla="*/ 1721722 w 2689524"/>
              <a:gd name="connsiteY0" fmla="*/ 3048970 h 3081885"/>
              <a:gd name="connsiteX1" fmla="*/ 692798 w 2689524"/>
              <a:gd name="connsiteY1" fmla="*/ 2940519 h 3081885"/>
              <a:gd name="connsiteX2" fmla="*/ 196763 w 2689524"/>
              <a:gd name="connsiteY2" fmla="*/ 1950140 h 3081885"/>
              <a:gd name="connsiteX3" fmla="*/ 0 w 2689524"/>
              <a:gd name="connsiteY3" fmla="*/ 452685 h 3081885"/>
              <a:gd name="connsiteX4" fmla="*/ 1450351 w 2689524"/>
              <a:gd name="connsiteY4" fmla="*/ 1739783 h 3081885"/>
              <a:gd name="connsiteX5" fmla="*/ 2300667 w 2689524"/>
              <a:gd name="connsiteY5" fmla="*/ 0 h 3081885"/>
              <a:gd name="connsiteX6" fmla="*/ 2605184 w 2689524"/>
              <a:gd name="connsiteY6" fmla="*/ 1098288 h 3081885"/>
              <a:gd name="connsiteX7" fmla="*/ 2689475 w 2689524"/>
              <a:gd name="connsiteY7" fmla="*/ 1812439 h 3081885"/>
              <a:gd name="connsiteX8" fmla="*/ 2383203 w 2689524"/>
              <a:gd name="connsiteY8" fmla="*/ 2685945 h 3081885"/>
              <a:gd name="connsiteX9" fmla="*/ 1721722 w 2689524"/>
              <a:gd name="connsiteY9" fmla="*/ 3048970 h 3081885"/>
              <a:gd name="connsiteX0" fmla="*/ 1721722 w 2689524"/>
              <a:gd name="connsiteY0" fmla="*/ 3048970 h 3081885"/>
              <a:gd name="connsiteX1" fmla="*/ 692798 w 2689524"/>
              <a:gd name="connsiteY1" fmla="*/ 2940519 h 3081885"/>
              <a:gd name="connsiteX2" fmla="*/ 196763 w 2689524"/>
              <a:gd name="connsiteY2" fmla="*/ 1950140 h 3081885"/>
              <a:gd name="connsiteX3" fmla="*/ 0 w 2689524"/>
              <a:gd name="connsiteY3" fmla="*/ 452685 h 3081885"/>
              <a:gd name="connsiteX4" fmla="*/ 1434392 w 2689524"/>
              <a:gd name="connsiteY4" fmla="*/ 1601965 h 3081885"/>
              <a:gd name="connsiteX5" fmla="*/ 2300667 w 2689524"/>
              <a:gd name="connsiteY5" fmla="*/ 0 h 3081885"/>
              <a:gd name="connsiteX6" fmla="*/ 2605184 w 2689524"/>
              <a:gd name="connsiteY6" fmla="*/ 1098288 h 3081885"/>
              <a:gd name="connsiteX7" fmla="*/ 2689475 w 2689524"/>
              <a:gd name="connsiteY7" fmla="*/ 1812439 h 3081885"/>
              <a:gd name="connsiteX8" fmla="*/ 2383203 w 2689524"/>
              <a:gd name="connsiteY8" fmla="*/ 2685945 h 3081885"/>
              <a:gd name="connsiteX9" fmla="*/ 1721722 w 2689524"/>
              <a:gd name="connsiteY9" fmla="*/ 3048970 h 3081885"/>
              <a:gd name="connsiteX0" fmla="*/ 1721722 w 2689524"/>
              <a:gd name="connsiteY0" fmla="*/ 3048970 h 3081885"/>
              <a:gd name="connsiteX1" fmla="*/ 692798 w 2689524"/>
              <a:gd name="connsiteY1" fmla="*/ 2940519 h 3081885"/>
              <a:gd name="connsiteX2" fmla="*/ 196763 w 2689524"/>
              <a:gd name="connsiteY2" fmla="*/ 1950140 h 3081885"/>
              <a:gd name="connsiteX3" fmla="*/ 0 w 2689524"/>
              <a:gd name="connsiteY3" fmla="*/ 452685 h 3081885"/>
              <a:gd name="connsiteX4" fmla="*/ 1434392 w 2689524"/>
              <a:gd name="connsiteY4" fmla="*/ 1601965 h 3081885"/>
              <a:gd name="connsiteX5" fmla="*/ 2300667 w 2689524"/>
              <a:gd name="connsiteY5" fmla="*/ 0 h 3081885"/>
              <a:gd name="connsiteX6" fmla="*/ 2605184 w 2689524"/>
              <a:gd name="connsiteY6" fmla="*/ 1098288 h 3081885"/>
              <a:gd name="connsiteX7" fmla="*/ 2689475 w 2689524"/>
              <a:gd name="connsiteY7" fmla="*/ 1812439 h 3081885"/>
              <a:gd name="connsiteX8" fmla="*/ 2383203 w 2689524"/>
              <a:gd name="connsiteY8" fmla="*/ 2685945 h 3081885"/>
              <a:gd name="connsiteX9" fmla="*/ 1721722 w 2689524"/>
              <a:gd name="connsiteY9" fmla="*/ 3048970 h 3081885"/>
              <a:gd name="connsiteX0" fmla="*/ 1721722 w 2689524"/>
              <a:gd name="connsiteY0" fmla="*/ 3048970 h 3081885"/>
              <a:gd name="connsiteX1" fmla="*/ 692798 w 2689524"/>
              <a:gd name="connsiteY1" fmla="*/ 2940519 h 3081885"/>
              <a:gd name="connsiteX2" fmla="*/ 196763 w 2689524"/>
              <a:gd name="connsiteY2" fmla="*/ 1950140 h 3081885"/>
              <a:gd name="connsiteX3" fmla="*/ 0 w 2689524"/>
              <a:gd name="connsiteY3" fmla="*/ 452685 h 3081885"/>
              <a:gd name="connsiteX4" fmla="*/ 1434392 w 2689524"/>
              <a:gd name="connsiteY4" fmla="*/ 1601965 h 3081885"/>
              <a:gd name="connsiteX5" fmla="*/ 2300667 w 2689524"/>
              <a:gd name="connsiteY5" fmla="*/ 0 h 3081885"/>
              <a:gd name="connsiteX6" fmla="*/ 2605184 w 2689524"/>
              <a:gd name="connsiteY6" fmla="*/ 1098288 h 3081885"/>
              <a:gd name="connsiteX7" fmla="*/ 2689475 w 2689524"/>
              <a:gd name="connsiteY7" fmla="*/ 1812439 h 3081885"/>
              <a:gd name="connsiteX8" fmla="*/ 2383203 w 2689524"/>
              <a:gd name="connsiteY8" fmla="*/ 2685945 h 3081885"/>
              <a:gd name="connsiteX9" fmla="*/ 1721722 w 2689524"/>
              <a:gd name="connsiteY9" fmla="*/ 3048970 h 3081885"/>
              <a:gd name="connsiteX0" fmla="*/ 1721722 w 2689524"/>
              <a:gd name="connsiteY0" fmla="*/ 3048970 h 3081885"/>
              <a:gd name="connsiteX1" fmla="*/ 692798 w 2689524"/>
              <a:gd name="connsiteY1" fmla="*/ 2940519 h 3081885"/>
              <a:gd name="connsiteX2" fmla="*/ 196763 w 2689524"/>
              <a:gd name="connsiteY2" fmla="*/ 1950140 h 3081885"/>
              <a:gd name="connsiteX3" fmla="*/ 0 w 2689524"/>
              <a:gd name="connsiteY3" fmla="*/ 452685 h 3081885"/>
              <a:gd name="connsiteX4" fmla="*/ 1434392 w 2689524"/>
              <a:gd name="connsiteY4" fmla="*/ 1601965 h 3081885"/>
              <a:gd name="connsiteX5" fmla="*/ 2300667 w 2689524"/>
              <a:gd name="connsiteY5" fmla="*/ 0 h 3081885"/>
              <a:gd name="connsiteX6" fmla="*/ 2605184 w 2689524"/>
              <a:gd name="connsiteY6" fmla="*/ 1098288 h 3081885"/>
              <a:gd name="connsiteX7" fmla="*/ 2689475 w 2689524"/>
              <a:gd name="connsiteY7" fmla="*/ 1812439 h 3081885"/>
              <a:gd name="connsiteX8" fmla="*/ 2383203 w 2689524"/>
              <a:gd name="connsiteY8" fmla="*/ 2685945 h 3081885"/>
              <a:gd name="connsiteX9" fmla="*/ 1721722 w 2689524"/>
              <a:gd name="connsiteY9" fmla="*/ 3048970 h 3081885"/>
              <a:gd name="connsiteX0" fmla="*/ 1721722 w 2689524"/>
              <a:gd name="connsiteY0" fmla="*/ 3048970 h 3105307"/>
              <a:gd name="connsiteX1" fmla="*/ 633527 w 2689524"/>
              <a:gd name="connsiteY1" fmla="*/ 2986647 h 3105307"/>
              <a:gd name="connsiteX2" fmla="*/ 196763 w 2689524"/>
              <a:gd name="connsiteY2" fmla="*/ 1950140 h 3105307"/>
              <a:gd name="connsiteX3" fmla="*/ 0 w 2689524"/>
              <a:gd name="connsiteY3" fmla="*/ 452685 h 3105307"/>
              <a:gd name="connsiteX4" fmla="*/ 1434392 w 2689524"/>
              <a:gd name="connsiteY4" fmla="*/ 1601965 h 3105307"/>
              <a:gd name="connsiteX5" fmla="*/ 2300667 w 2689524"/>
              <a:gd name="connsiteY5" fmla="*/ 0 h 3105307"/>
              <a:gd name="connsiteX6" fmla="*/ 2605184 w 2689524"/>
              <a:gd name="connsiteY6" fmla="*/ 1098288 h 3105307"/>
              <a:gd name="connsiteX7" fmla="*/ 2689475 w 2689524"/>
              <a:gd name="connsiteY7" fmla="*/ 1812439 h 3105307"/>
              <a:gd name="connsiteX8" fmla="*/ 2383203 w 2689524"/>
              <a:gd name="connsiteY8" fmla="*/ 2685945 h 3105307"/>
              <a:gd name="connsiteX9" fmla="*/ 1721722 w 2689524"/>
              <a:gd name="connsiteY9" fmla="*/ 3048970 h 3105307"/>
              <a:gd name="connsiteX0" fmla="*/ 1721722 w 2753276"/>
              <a:gd name="connsiteY0" fmla="*/ 3048970 h 3105307"/>
              <a:gd name="connsiteX1" fmla="*/ 633527 w 2753276"/>
              <a:gd name="connsiteY1" fmla="*/ 2986647 h 3105307"/>
              <a:gd name="connsiteX2" fmla="*/ 196763 w 2753276"/>
              <a:gd name="connsiteY2" fmla="*/ 1950140 h 3105307"/>
              <a:gd name="connsiteX3" fmla="*/ 0 w 2753276"/>
              <a:gd name="connsiteY3" fmla="*/ 452685 h 3105307"/>
              <a:gd name="connsiteX4" fmla="*/ 1434392 w 2753276"/>
              <a:gd name="connsiteY4" fmla="*/ 1601965 h 3105307"/>
              <a:gd name="connsiteX5" fmla="*/ 2300667 w 2753276"/>
              <a:gd name="connsiteY5" fmla="*/ 0 h 3105307"/>
              <a:gd name="connsiteX6" fmla="*/ 2605184 w 2753276"/>
              <a:gd name="connsiteY6" fmla="*/ 1098288 h 3105307"/>
              <a:gd name="connsiteX7" fmla="*/ 2753251 w 2753276"/>
              <a:gd name="connsiteY7" fmla="*/ 1836106 h 3105307"/>
              <a:gd name="connsiteX8" fmla="*/ 2383203 w 2753276"/>
              <a:gd name="connsiteY8" fmla="*/ 2685945 h 3105307"/>
              <a:gd name="connsiteX9" fmla="*/ 1721722 w 2753276"/>
              <a:gd name="connsiteY9" fmla="*/ 3048970 h 3105307"/>
              <a:gd name="connsiteX0" fmla="*/ 1721722 w 2753276"/>
              <a:gd name="connsiteY0" fmla="*/ 3048970 h 3105307"/>
              <a:gd name="connsiteX1" fmla="*/ 633527 w 2753276"/>
              <a:gd name="connsiteY1" fmla="*/ 2986647 h 3105307"/>
              <a:gd name="connsiteX2" fmla="*/ 196763 w 2753276"/>
              <a:gd name="connsiteY2" fmla="*/ 1950140 h 3105307"/>
              <a:gd name="connsiteX3" fmla="*/ 0 w 2753276"/>
              <a:gd name="connsiteY3" fmla="*/ 452685 h 3105307"/>
              <a:gd name="connsiteX4" fmla="*/ 1434392 w 2753276"/>
              <a:gd name="connsiteY4" fmla="*/ 1601965 h 3105307"/>
              <a:gd name="connsiteX5" fmla="*/ 2300667 w 2753276"/>
              <a:gd name="connsiteY5" fmla="*/ 0 h 3105307"/>
              <a:gd name="connsiteX6" fmla="*/ 2681366 w 2753276"/>
              <a:gd name="connsiteY6" fmla="*/ 1170525 h 3105307"/>
              <a:gd name="connsiteX7" fmla="*/ 2753251 w 2753276"/>
              <a:gd name="connsiteY7" fmla="*/ 1836106 h 3105307"/>
              <a:gd name="connsiteX8" fmla="*/ 2383203 w 2753276"/>
              <a:gd name="connsiteY8" fmla="*/ 2685945 h 3105307"/>
              <a:gd name="connsiteX9" fmla="*/ 1721722 w 2753276"/>
              <a:gd name="connsiteY9" fmla="*/ 3048970 h 3105307"/>
              <a:gd name="connsiteX0" fmla="*/ 1721722 w 2753276"/>
              <a:gd name="connsiteY0" fmla="*/ 3048970 h 3105307"/>
              <a:gd name="connsiteX1" fmla="*/ 633527 w 2753276"/>
              <a:gd name="connsiteY1" fmla="*/ 2986647 h 3105307"/>
              <a:gd name="connsiteX2" fmla="*/ 196763 w 2753276"/>
              <a:gd name="connsiteY2" fmla="*/ 1950140 h 3105307"/>
              <a:gd name="connsiteX3" fmla="*/ 0 w 2753276"/>
              <a:gd name="connsiteY3" fmla="*/ 452685 h 3105307"/>
              <a:gd name="connsiteX4" fmla="*/ 1434392 w 2753276"/>
              <a:gd name="connsiteY4" fmla="*/ 1601965 h 3105307"/>
              <a:gd name="connsiteX5" fmla="*/ 2300667 w 2753276"/>
              <a:gd name="connsiteY5" fmla="*/ 0 h 3105307"/>
              <a:gd name="connsiteX6" fmla="*/ 2681366 w 2753276"/>
              <a:gd name="connsiteY6" fmla="*/ 1170525 h 3105307"/>
              <a:gd name="connsiteX7" fmla="*/ 2753251 w 2753276"/>
              <a:gd name="connsiteY7" fmla="*/ 1836106 h 3105307"/>
              <a:gd name="connsiteX8" fmla="*/ 2383203 w 2753276"/>
              <a:gd name="connsiteY8" fmla="*/ 2685945 h 3105307"/>
              <a:gd name="connsiteX9" fmla="*/ 1721722 w 2753276"/>
              <a:gd name="connsiteY9" fmla="*/ 3048970 h 3105307"/>
              <a:gd name="connsiteX0" fmla="*/ 1721722 w 2753288"/>
              <a:gd name="connsiteY0" fmla="*/ 3048970 h 3104766"/>
              <a:gd name="connsiteX1" fmla="*/ 633527 w 2753288"/>
              <a:gd name="connsiteY1" fmla="*/ 2986647 h 3104766"/>
              <a:gd name="connsiteX2" fmla="*/ 196763 w 2753288"/>
              <a:gd name="connsiteY2" fmla="*/ 1950140 h 3104766"/>
              <a:gd name="connsiteX3" fmla="*/ 0 w 2753288"/>
              <a:gd name="connsiteY3" fmla="*/ 452685 h 3104766"/>
              <a:gd name="connsiteX4" fmla="*/ 1434392 w 2753288"/>
              <a:gd name="connsiteY4" fmla="*/ 1601965 h 3104766"/>
              <a:gd name="connsiteX5" fmla="*/ 2300667 w 2753288"/>
              <a:gd name="connsiteY5" fmla="*/ 0 h 3104766"/>
              <a:gd name="connsiteX6" fmla="*/ 2681366 w 2753288"/>
              <a:gd name="connsiteY6" fmla="*/ 1170525 h 3104766"/>
              <a:gd name="connsiteX7" fmla="*/ 2753251 w 2753288"/>
              <a:gd name="connsiteY7" fmla="*/ 1836106 h 3104766"/>
              <a:gd name="connsiteX8" fmla="*/ 2423950 w 2753288"/>
              <a:gd name="connsiteY8" fmla="*/ 2694786 h 3104766"/>
              <a:gd name="connsiteX9" fmla="*/ 1721722 w 2753288"/>
              <a:gd name="connsiteY9" fmla="*/ 3048970 h 3104766"/>
              <a:gd name="connsiteX0" fmla="*/ 1721722 w 2753288"/>
              <a:gd name="connsiteY0" fmla="*/ 3048970 h 3104764"/>
              <a:gd name="connsiteX1" fmla="*/ 633527 w 2753288"/>
              <a:gd name="connsiteY1" fmla="*/ 2986647 h 3104764"/>
              <a:gd name="connsiteX2" fmla="*/ 196763 w 2753288"/>
              <a:gd name="connsiteY2" fmla="*/ 1950140 h 3104764"/>
              <a:gd name="connsiteX3" fmla="*/ 0 w 2753288"/>
              <a:gd name="connsiteY3" fmla="*/ 452685 h 3104764"/>
              <a:gd name="connsiteX4" fmla="*/ 1434392 w 2753288"/>
              <a:gd name="connsiteY4" fmla="*/ 1601965 h 3104764"/>
              <a:gd name="connsiteX5" fmla="*/ 2300667 w 2753288"/>
              <a:gd name="connsiteY5" fmla="*/ 0 h 3104764"/>
              <a:gd name="connsiteX6" fmla="*/ 2681366 w 2753288"/>
              <a:gd name="connsiteY6" fmla="*/ 1170525 h 3104764"/>
              <a:gd name="connsiteX7" fmla="*/ 2753251 w 2753288"/>
              <a:gd name="connsiteY7" fmla="*/ 1836106 h 3104764"/>
              <a:gd name="connsiteX8" fmla="*/ 2423950 w 2753288"/>
              <a:gd name="connsiteY8" fmla="*/ 2694786 h 3104764"/>
              <a:gd name="connsiteX9" fmla="*/ 1721722 w 2753288"/>
              <a:gd name="connsiteY9" fmla="*/ 3048970 h 3104764"/>
              <a:gd name="connsiteX0" fmla="*/ 1832144 w 2863710"/>
              <a:gd name="connsiteY0" fmla="*/ 3048970 h 3104766"/>
              <a:gd name="connsiteX1" fmla="*/ 743949 w 2863710"/>
              <a:gd name="connsiteY1" fmla="*/ 2986647 h 3104766"/>
              <a:gd name="connsiteX2" fmla="*/ 307185 w 2863710"/>
              <a:gd name="connsiteY2" fmla="*/ 1950140 h 3104766"/>
              <a:gd name="connsiteX3" fmla="*/ 121564 w 2863710"/>
              <a:gd name="connsiteY3" fmla="*/ 662147 h 3104766"/>
              <a:gd name="connsiteX4" fmla="*/ 110422 w 2863710"/>
              <a:gd name="connsiteY4" fmla="*/ 452685 h 3104766"/>
              <a:gd name="connsiteX5" fmla="*/ 1544814 w 2863710"/>
              <a:gd name="connsiteY5" fmla="*/ 1601965 h 3104766"/>
              <a:gd name="connsiteX6" fmla="*/ 2411089 w 2863710"/>
              <a:gd name="connsiteY6" fmla="*/ 0 h 3104766"/>
              <a:gd name="connsiteX7" fmla="*/ 2791788 w 2863710"/>
              <a:gd name="connsiteY7" fmla="*/ 1170525 h 3104766"/>
              <a:gd name="connsiteX8" fmla="*/ 2863673 w 2863710"/>
              <a:gd name="connsiteY8" fmla="*/ 1836106 h 3104766"/>
              <a:gd name="connsiteX9" fmla="*/ 2534372 w 2863710"/>
              <a:gd name="connsiteY9" fmla="*/ 2694786 h 3104766"/>
              <a:gd name="connsiteX10" fmla="*/ 1832144 w 2863710"/>
              <a:gd name="connsiteY10" fmla="*/ 3048970 h 3104766"/>
              <a:gd name="connsiteX0" fmla="*/ 1723370 w 2754936"/>
              <a:gd name="connsiteY0" fmla="*/ 3048970 h 3104764"/>
              <a:gd name="connsiteX1" fmla="*/ 635175 w 2754936"/>
              <a:gd name="connsiteY1" fmla="*/ 2986647 h 3104764"/>
              <a:gd name="connsiteX2" fmla="*/ 198411 w 2754936"/>
              <a:gd name="connsiteY2" fmla="*/ 1950140 h 3104764"/>
              <a:gd name="connsiteX3" fmla="*/ 12790 w 2754936"/>
              <a:gd name="connsiteY3" fmla="*/ 662147 h 3104764"/>
              <a:gd name="connsiteX4" fmla="*/ 234272 w 2754936"/>
              <a:gd name="connsiteY4" fmla="*/ 575239 h 3104764"/>
              <a:gd name="connsiteX5" fmla="*/ 1436040 w 2754936"/>
              <a:gd name="connsiteY5" fmla="*/ 1601965 h 3104764"/>
              <a:gd name="connsiteX6" fmla="*/ 2302315 w 2754936"/>
              <a:gd name="connsiteY6" fmla="*/ 0 h 3104764"/>
              <a:gd name="connsiteX7" fmla="*/ 2683014 w 2754936"/>
              <a:gd name="connsiteY7" fmla="*/ 1170525 h 3104764"/>
              <a:gd name="connsiteX8" fmla="*/ 2754899 w 2754936"/>
              <a:gd name="connsiteY8" fmla="*/ 1836106 h 3104764"/>
              <a:gd name="connsiteX9" fmla="*/ 2425598 w 2754936"/>
              <a:gd name="connsiteY9" fmla="*/ 2694786 h 3104764"/>
              <a:gd name="connsiteX10" fmla="*/ 1723370 w 2754936"/>
              <a:gd name="connsiteY10" fmla="*/ 3048970 h 3104764"/>
              <a:gd name="connsiteX0" fmla="*/ 1723813 w 2755379"/>
              <a:gd name="connsiteY0" fmla="*/ 3048970 h 3104766"/>
              <a:gd name="connsiteX1" fmla="*/ 635618 w 2755379"/>
              <a:gd name="connsiteY1" fmla="*/ 2986647 h 3104766"/>
              <a:gd name="connsiteX2" fmla="*/ 198854 w 2755379"/>
              <a:gd name="connsiteY2" fmla="*/ 1950140 h 3104766"/>
              <a:gd name="connsiteX3" fmla="*/ 13233 w 2755379"/>
              <a:gd name="connsiteY3" fmla="*/ 662147 h 3104766"/>
              <a:gd name="connsiteX4" fmla="*/ 234715 w 2755379"/>
              <a:gd name="connsiteY4" fmla="*/ 575239 h 3104766"/>
              <a:gd name="connsiteX5" fmla="*/ 1436483 w 2755379"/>
              <a:gd name="connsiteY5" fmla="*/ 1601965 h 3104766"/>
              <a:gd name="connsiteX6" fmla="*/ 2302758 w 2755379"/>
              <a:gd name="connsiteY6" fmla="*/ 0 h 3104766"/>
              <a:gd name="connsiteX7" fmla="*/ 2683457 w 2755379"/>
              <a:gd name="connsiteY7" fmla="*/ 1170525 h 3104766"/>
              <a:gd name="connsiteX8" fmla="*/ 2755342 w 2755379"/>
              <a:gd name="connsiteY8" fmla="*/ 1836106 h 3104766"/>
              <a:gd name="connsiteX9" fmla="*/ 2426041 w 2755379"/>
              <a:gd name="connsiteY9" fmla="*/ 2694786 h 3104766"/>
              <a:gd name="connsiteX10" fmla="*/ 1723813 w 2755379"/>
              <a:gd name="connsiteY10" fmla="*/ 3048970 h 3104766"/>
              <a:gd name="connsiteX0" fmla="*/ 1723813 w 2755379"/>
              <a:gd name="connsiteY0" fmla="*/ 3048970 h 3104764"/>
              <a:gd name="connsiteX1" fmla="*/ 635618 w 2755379"/>
              <a:gd name="connsiteY1" fmla="*/ 2986647 h 3104764"/>
              <a:gd name="connsiteX2" fmla="*/ 198854 w 2755379"/>
              <a:gd name="connsiteY2" fmla="*/ 1950140 h 3104764"/>
              <a:gd name="connsiteX3" fmla="*/ 13233 w 2755379"/>
              <a:gd name="connsiteY3" fmla="*/ 662147 h 3104764"/>
              <a:gd name="connsiteX4" fmla="*/ 234715 w 2755379"/>
              <a:gd name="connsiteY4" fmla="*/ 575239 h 3104764"/>
              <a:gd name="connsiteX5" fmla="*/ 1436483 w 2755379"/>
              <a:gd name="connsiteY5" fmla="*/ 1601965 h 3104764"/>
              <a:gd name="connsiteX6" fmla="*/ 2302758 w 2755379"/>
              <a:gd name="connsiteY6" fmla="*/ 0 h 3104764"/>
              <a:gd name="connsiteX7" fmla="*/ 2683457 w 2755379"/>
              <a:gd name="connsiteY7" fmla="*/ 1170525 h 3104764"/>
              <a:gd name="connsiteX8" fmla="*/ 2755342 w 2755379"/>
              <a:gd name="connsiteY8" fmla="*/ 1836106 h 3104764"/>
              <a:gd name="connsiteX9" fmla="*/ 2426041 w 2755379"/>
              <a:gd name="connsiteY9" fmla="*/ 2694786 h 3104764"/>
              <a:gd name="connsiteX10" fmla="*/ 1723813 w 2755379"/>
              <a:gd name="connsiteY10" fmla="*/ 3048970 h 3104764"/>
              <a:gd name="connsiteX0" fmla="*/ 1733901 w 2765467"/>
              <a:gd name="connsiteY0" fmla="*/ 3048970 h 3104766"/>
              <a:gd name="connsiteX1" fmla="*/ 645706 w 2765467"/>
              <a:gd name="connsiteY1" fmla="*/ 2986647 h 3104766"/>
              <a:gd name="connsiteX2" fmla="*/ 208942 w 2765467"/>
              <a:gd name="connsiteY2" fmla="*/ 1950140 h 3104766"/>
              <a:gd name="connsiteX3" fmla="*/ 23321 w 2765467"/>
              <a:gd name="connsiteY3" fmla="*/ 662147 h 3104766"/>
              <a:gd name="connsiteX4" fmla="*/ 197107 w 2765467"/>
              <a:gd name="connsiteY4" fmla="*/ 568171 h 3104766"/>
              <a:gd name="connsiteX5" fmla="*/ 1446571 w 2765467"/>
              <a:gd name="connsiteY5" fmla="*/ 1601965 h 3104766"/>
              <a:gd name="connsiteX6" fmla="*/ 2312846 w 2765467"/>
              <a:gd name="connsiteY6" fmla="*/ 0 h 3104766"/>
              <a:gd name="connsiteX7" fmla="*/ 2693545 w 2765467"/>
              <a:gd name="connsiteY7" fmla="*/ 1170525 h 3104766"/>
              <a:gd name="connsiteX8" fmla="*/ 2765430 w 2765467"/>
              <a:gd name="connsiteY8" fmla="*/ 1836106 h 3104766"/>
              <a:gd name="connsiteX9" fmla="*/ 2436129 w 2765467"/>
              <a:gd name="connsiteY9" fmla="*/ 2694786 h 3104766"/>
              <a:gd name="connsiteX10" fmla="*/ 1733901 w 2765467"/>
              <a:gd name="connsiteY10" fmla="*/ 3048970 h 3104766"/>
              <a:gd name="connsiteX0" fmla="*/ 1724485 w 2756051"/>
              <a:gd name="connsiteY0" fmla="*/ 3048970 h 3104764"/>
              <a:gd name="connsiteX1" fmla="*/ 636290 w 2756051"/>
              <a:gd name="connsiteY1" fmla="*/ 2986647 h 3104764"/>
              <a:gd name="connsiteX2" fmla="*/ 199526 w 2756051"/>
              <a:gd name="connsiteY2" fmla="*/ 1950140 h 3104764"/>
              <a:gd name="connsiteX3" fmla="*/ 13905 w 2756051"/>
              <a:gd name="connsiteY3" fmla="*/ 662147 h 3104764"/>
              <a:gd name="connsiteX4" fmla="*/ 187691 w 2756051"/>
              <a:gd name="connsiteY4" fmla="*/ 568171 h 3104764"/>
              <a:gd name="connsiteX5" fmla="*/ 1437155 w 2756051"/>
              <a:gd name="connsiteY5" fmla="*/ 1601965 h 3104764"/>
              <a:gd name="connsiteX6" fmla="*/ 2303430 w 2756051"/>
              <a:gd name="connsiteY6" fmla="*/ 0 h 3104764"/>
              <a:gd name="connsiteX7" fmla="*/ 2684129 w 2756051"/>
              <a:gd name="connsiteY7" fmla="*/ 1170525 h 3104764"/>
              <a:gd name="connsiteX8" fmla="*/ 2756014 w 2756051"/>
              <a:gd name="connsiteY8" fmla="*/ 1836106 h 3104764"/>
              <a:gd name="connsiteX9" fmla="*/ 2426713 w 2756051"/>
              <a:gd name="connsiteY9" fmla="*/ 2694786 h 3104764"/>
              <a:gd name="connsiteX10" fmla="*/ 1724485 w 2756051"/>
              <a:gd name="connsiteY10" fmla="*/ 3048970 h 3104764"/>
              <a:gd name="connsiteX0" fmla="*/ 1724485 w 2756051"/>
              <a:gd name="connsiteY0" fmla="*/ 3048970 h 3104764"/>
              <a:gd name="connsiteX1" fmla="*/ 636290 w 2756051"/>
              <a:gd name="connsiteY1" fmla="*/ 2986647 h 3104764"/>
              <a:gd name="connsiteX2" fmla="*/ 199526 w 2756051"/>
              <a:gd name="connsiteY2" fmla="*/ 1950140 h 3104764"/>
              <a:gd name="connsiteX3" fmla="*/ 13905 w 2756051"/>
              <a:gd name="connsiteY3" fmla="*/ 662147 h 3104764"/>
              <a:gd name="connsiteX4" fmla="*/ 187691 w 2756051"/>
              <a:gd name="connsiteY4" fmla="*/ 568171 h 3104764"/>
              <a:gd name="connsiteX5" fmla="*/ 1466857 w 2756051"/>
              <a:gd name="connsiteY5" fmla="*/ 1895688 h 3104764"/>
              <a:gd name="connsiteX6" fmla="*/ 2303430 w 2756051"/>
              <a:gd name="connsiteY6" fmla="*/ 0 h 3104764"/>
              <a:gd name="connsiteX7" fmla="*/ 2684129 w 2756051"/>
              <a:gd name="connsiteY7" fmla="*/ 1170525 h 3104764"/>
              <a:gd name="connsiteX8" fmla="*/ 2756014 w 2756051"/>
              <a:gd name="connsiteY8" fmla="*/ 1836106 h 3104764"/>
              <a:gd name="connsiteX9" fmla="*/ 2426713 w 2756051"/>
              <a:gd name="connsiteY9" fmla="*/ 2694786 h 3104764"/>
              <a:gd name="connsiteX10" fmla="*/ 1724485 w 2756051"/>
              <a:gd name="connsiteY10" fmla="*/ 3048970 h 3104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56051" h="3104764">
                <a:moveTo>
                  <a:pt x="1724485" y="3048970"/>
                </a:moveTo>
                <a:cubicBezTo>
                  <a:pt x="1426081" y="3097614"/>
                  <a:pt x="890450" y="3169785"/>
                  <a:pt x="636290" y="2986647"/>
                </a:cubicBezTo>
                <a:cubicBezTo>
                  <a:pt x="382130" y="2803509"/>
                  <a:pt x="304348" y="2347624"/>
                  <a:pt x="199526" y="1950140"/>
                </a:cubicBezTo>
                <a:cubicBezTo>
                  <a:pt x="94704" y="1552656"/>
                  <a:pt x="46699" y="911723"/>
                  <a:pt x="13905" y="662147"/>
                </a:cubicBezTo>
                <a:cubicBezTo>
                  <a:pt x="-18889" y="412571"/>
                  <a:pt x="-5767" y="466901"/>
                  <a:pt x="187691" y="568171"/>
                </a:cubicBezTo>
                <a:cubicBezTo>
                  <a:pt x="426385" y="718543"/>
                  <a:pt x="966028" y="1274493"/>
                  <a:pt x="1466857" y="1895688"/>
                </a:cubicBezTo>
                <a:cubicBezTo>
                  <a:pt x="1695003" y="1589952"/>
                  <a:pt x="2238101" y="85449"/>
                  <a:pt x="2303430" y="0"/>
                </a:cubicBezTo>
                <a:cubicBezTo>
                  <a:pt x="2464274" y="367081"/>
                  <a:pt x="2638530" y="907149"/>
                  <a:pt x="2684129" y="1170525"/>
                </a:cubicBezTo>
                <a:lnTo>
                  <a:pt x="2756014" y="1836106"/>
                </a:lnTo>
                <a:cubicBezTo>
                  <a:pt x="2758138" y="2311745"/>
                  <a:pt x="2669555" y="2417589"/>
                  <a:pt x="2426713" y="2694786"/>
                </a:cubicBezTo>
                <a:cubicBezTo>
                  <a:pt x="2254164" y="2847789"/>
                  <a:pt x="2022889" y="3000327"/>
                  <a:pt x="1724485" y="3048970"/>
                </a:cubicBezTo>
                <a:close/>
              </a:path>
            </a:pathLst>
          </a:cu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1" name="Freeform: Shape 20">
            <a:extLst>
              <a:ext uri="{FF2B5EF4-FFF2-40B4-BE49-F238E27FC236}">
                <a16:creationId xmlns:a16="http://schemas.microsoft.com/office/drawing/2014/main" id="{0163E122-6CD4-84BF-401F-51DF984E1B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2703623" flipH="1" flipV="1">
            <a:off x="10488744" y="4592449"/>
            <a:ext cx="920129" cy="1040596"/>
          </a:xfrm>
          <a:custGeom>
            <a:avLst/>
            <a:gdLst>
              <a:gd name="connsiteX0" fmla="*/ 1929645 w 2813738"/>
              <a:gd name="connsiteY0" fmla="*/ 3173450 h 3214044"/>
              <a:gd name="connsiteX1" fmla="*/ 1581773 w 2813738"/>
              <a:gd name="connsiteY1" fmla="*/ 3212054 h 3214044"/>
              <a:gd name="connsiteX2" fmla="*/ 546159 w 2813738"/>
              <a:gd name="connsiteY2" fmla="*/ 2756430 h 3214044"/>
              <a:gd name="connsiteX3" fmla="*/ 336057 w 2813738"/>
              <a:gd name="connsiteY3" fmla="*/ 2229184 h 3214044"/>
              <a:gd name="connsiteX4" fmla="*/ 334808 w 2813738"/>
              <a:gd name="connsiteY4" fmla="*/ 2196353 h 3214044"/>
              <a:gd name="connsiteX5" fmla="*/ 0 w 2813738"/>
              <a:gd name="connsiteY5" fmla="*/ 481954 h 3214044"/>
              <a:gd name="connsiteX6" fmla="*/ 2467865 w 2813738"/>
              <a:gd name="connsiteY6" fmla="*/ 0 h 3214044"/>
              <a:gd name="connsiteX7" fmla="*/ 2809430 w 2813738"/>
              <a:gd name="connsiteY7" fmla="*/ 1748995 h 3214044"/>
              <a:gd name="connsiteX8" fmla="*/ 2784500 w 2813738"/>
              <a:gd name="connsiteY8" fmla="*/ 1753864 h 3214044"/>
              <a:gd name="connsiteX9" fmla="*/ 2793072 w 2813738"/>
              <a:gd name="connsiteY9" fmla="*/ 1800696 h 3214044"/>
              <a:gd name="connsiteX10" fmla="*/ 2813681 w 2813738"/>
              <a:gd name="connsiteY10" fmla="*/ 2045662 h 3214044"/>
              <a:gd name="connsiteX11" fmla="*/ 2749358 w 2813738"/>
              <a:gd name="connsiteY11" fmla="*/ 2417869 h 3214044"/>
              <a:gd name="connsiteX12" fmla="*/ 2299096 w 2813738"/>
              <a:gd name="connsiteY12" fmla="*/ 3038713 h 3214044"/>
              <a:gd name="connsiteX13" fmla="*/ 1929645 w 2813738"/>
              <a:gd name="connsiteY13" fmla="*/ 3173450 h 3214044"/>
              <a:gd name="connsiteX0" fmla="*/ 1929645 w 2813738"/>
              <a:gd name="connsiteY0" fmla="*/ 3173450 h 3214044"/>
              <a:gd name="connsiteX1" fmla="*/ 1581773 w 2813738"/>
              <a:gd name="connsiteY1" fmla="*/ 3212054 h 3214044"/>
              <a:gd name="connsiteX2" fmla="*/ 546159 w 2813738"/>
              <a:gd name="connsiteY2" fmla="*/ 2756430 h 3214044"/>
              <a:gd name="connsiteX3" fmla="*/ 336057 w 2813738"/>
              <a:gd name="connsiteY3" fmla="*/ 2229184 h 3214044"/>
              <a:gd name="connsiteX4" fmla="*/ 334808 w 2813738"/>
              <a:gd name="connsiteY4" fmla="*/ 2196353 h 3214044"/>
              <a:gd name="connsiteX5" fmla="*/ 0 w 2813738"/>
              <a:gd name="connsiteY5" fmla="*/ 481954 h 3214044"/>
              <a:gd name="connsiteX6" fmla="*/ 2467865 w 2813738"/>
              <a:gd name="connsiteY6" fmla="*/ 0 h 3214044"/>
              <a:gd name="connsiteX7" fmla="*/ 2809430 w 2813738"/>
              <a:gd name="connsiteY7" fmla="*/ 1748995 h 3214044"/>
              <a:gd name="connsiteX8" fmla="*/ 2784500 w 2813738"/>
              <a:gd name="connsiteY8" fmla="*/ 1753864 h 3214044"/>
              <a:gd name="connsiteX9" fmla="*/ 2813681 w 2813738"/>
              <a:gd name="connsiteY9" fmla="*/ 2045662 h 3214044"/>
              <a:gd name="connsiteX10" fmla="*/ 2749358 w 2813738"/>
              <a:gd name="connsiteY10" fmla="*/ 2417869 h 3214044"/>
              <a:gd name="connsiteX11" fmla="*/ 2299096 w 2813738"/>
              <a:gd name="connsiteY11" fmla="*/ 3038713 h 3214044"/>
              <a:gd name="connsiteX12" fmla="*/ 1929645 w 2813738"/>
              <a:gd name="connsiteY12" fmla="*/ 3173450 h 3214044"/>
              <a:gd name="connsiteX0" fmla="*/ 1929645 w 2813738"/>
              <a:gd name="connsiteY0" fmla="*/ 3173450 h 3214044"/>
              <a:gd name="connsiteX1" fmla="*/ 1581773 w 2813738"/>
              <a:gd name="connsiteY1" fmla="*/ 3212054 h 3214044"/>
              <a:gd name="connsiteX2" fmla="*/ 546159 w 2813738"/>
              <a:gd name="connsiteY2" fmla="*/ 2756430 h 3214044"/>
              <a:gd name="connsiteX3" fmla="*/ 336057 w 2813738"/>
              <a:gd name="connsiteY3" fmla="*/ 2229184 h 3214044"/>
              <a:gd name="connsiteX4" fmla="*/ 334808 w 2813738"/>
              <a:gd name="connsiteY4" fmla="*/ 2196353 h 3214044"/>
              <a:gd name="connsiteX5" fmla="*/ 0 w 2813738"/>
              <a:gd name="connsiteY5" fmla="*/ 481954 h 3214044"/>
              <a:gd name="connsiteX6" fmla="*/ 2467865 w 2813738"/>
              <a:gd name="connsiteY6" fmla="*/ 0 h 3214044"/>
              <a:gd name="connsiteX7" fmla="*/ 2809430 w 2813738"/>
              <a:gd name="connsiteY7" fmla="*/ 1748995 h 3214044"/>
              <a:gd name="connsiteX8" fmla="*/ 2813681 w 2813738"/>
              <a:gd name="connsiteY8" fmla="*/ 2045662 h 3214044"/>
              <a:gd name="connsiteX9" fmla="*/ 2749358 w 2813738"/>
              <a:gd name="connsiteY9" fmla="*/ 2417869 h 3214044"/>
              <a:gd name="connsiteX10" fmla="*/ 2299096 w 2813738"/>
              <a:gd name="connsiteY10" fmla="*/ 3038713 h 3214044"/>
              <a:gd name="connsiteX11" fmla="*/ 1929645 w 2813738"/>
              <a:gd name="connsiteY11" fmla="*/ 3173450 h 3214044"/>
              <a:gd name="connsiteX0" fmla="*/ 2041023 w 2925116"/>
              <a:gd name="connsiteY0" fmla="*/ 3173450 h 3214044"/>
              <a:gd name="connsiteX1" fmla="*/ 1693151 w 2925116"/>
              <a:gd name="connsiteY1" fmla="*/ 3212054 h 3214044"/>
              <a:gd name="connsiteX2" fmla="*/ 657537 w 2925116"/>
              <a:gd name="connsiteY2" fmla="*/ 2756430 h 3214044"/>
              <a:gd name="connsiteX3" fmla="*/ 447435 w 2925116"/>
              <a:gd name="connsiteY3" fmla="*/ 2229184 h 3214044"/>
              <a:gd name="connsiteX4" fmla="*/ 111378 w 2925116"/>
              <a:gd name="connsiteY4" fmla="*/ 481954 h 3214044"/>
              <a:gd name="connsiteX5" fmla="*/ 2579243 w 2925116"/>
              <a:gd name="connsiteY5" fmla="*/ 0 h 3214044"/>
              <a:gd name="connsiteX6" fmla="*/ 2920808 w 2925116"/>
              <a:gd name="connsiteY6" fmla="*/ 1748995 h 3214044"/>
              <a:gd name="connsiteX7" fmla="*/ 2925059 w 2925116"/>
              <a:gd name="connsiteY7" fmla="*/ 2045662 h 3214044"/>
              <a:gd name="connsiteX8" fmla="*/ 2860736 w 2925116"/>
              <a:gd name="connsiteY8" fmla="*/ 2417869 h 3214044"/>
              <a:gd name="connsiteX9" fmla="*/ 2410474 w 2925116"/>
              <a:gd name="connsiteY9" fmla="*/ 3038713 h 3214044"/>
              <a:gd name="connsiteX10" fmla="*/ 2041023 w 2925116"/>
              <a:gd name="connsiteY10" fmla="*/ 3173450 h 3214044"/>
              <a:gd name="connsiteX0" fmla="*/ 1929645 w 2813738"/>
              <a:gd name="connsiteY0" fmla="*/ 3173450 h 3214044"/>
              <a:gd name="connsiteX1" fmla="*/ 1581773 w 2813738"/>
              <a:gd name="connsiteY1" fmla="*/ 3212054 h 3214044"/>
              <a:gd name="connsiteX2" fmla="*/ 546159 w 2813738"/>
              <a:gd name="connsiteY2" fmla="*/ 2756430 h 3214044"/>
              <a:gd name="connsiteX3" fmla="*/ 336057 w 2813738"/>
              <a:gd name="connsiteY3" fmla="*/ 2229184 h 3214044"/>
              <a:gd name="connsiteX4" fmla="*/ 0 w 2813738"/>
              <a:gd name="connsiteY4" fmla="*/ 481954 h 3214044"/>
              <a:gd name="connsiteX5" fmla="*/ 2467865 w 2813738"/>
              <a:gd name="connsiteY5" fmla="*/ 0 h 3214044"/>
              <a:gd name="connsiteX6" fmla="*/ 2809430 w 2813738"/>
              <a:gd name="connsiteY6" fmla="*/ 1748995 h 3214044"/>
              <a:gd name="connsiteX7" fmla="*/ 2813681 w 2813738"/>
              <a:gd name="connsiteY7" fmla="*/ 2045662 h 3214044"/>
              <a:gd name="connsiteX8" fmla="*/ 2749358 w 2813738"/>
              <a:gd name="connsiteY8" fmla="*/ 2417869 h 3214044"/>
              <a:gd name="connsiteX9" fmla="*/ 2299096 w 2813738"/>
              <a:gd name="connsiteY9" fmla="*/ 3038713 h 3214044"/>
              <a:gd name="connsiteX10" fmla="*/ 1929645 w 2813738"/>
              <a:gd name="connsiteY10" fmla="*/ 3173450 h 3214044"/>
              <a:gd name="connsiteX0" fmla="*/ 1929645 w 2813738"/>
              <a:gd name="connsiteY0" fmla="*/ 3173450 h 3222394"/>
              <a:gd name="connsiteX1" fmla="*/ 1581773 w 2813738"/>
              <a:gd name="connsiteY1" fmla="*/ 3212054 h 3222394"/>
              <a:gd name="connsiteX2" fmla="*/ 634750 w 2813738"/>
              <a:gd name="connsiteY2" fmla="*/ 2993222 h 3222394"/>
              <a:gd name="connsiteX3" fmla="*/ 336057 w 2813738"/>
              <a:gd name="connsiteY3" fmla="*/ 2229184 h 3222394"/>
              <a:gd name="connsiteX4" fmla="*/ 0 w 2813738"/>
              <a:gd name="connsiteY4" fmla="*/ 481954 h 3222394"/>
              <a:gd name="connsiteX5" fmla="*/ 2467865 w 2813738"/>
              <a:gd name="connsiteY5" fmla="*/ 0 h 3222394"/>
              <a:gd name="connsiteX6" fmla="*/ 2809430 w 2813738"/>
              <a:gd name="connsiteY6" fmla="*/ 1748995 h 3222394"/>
              <a:gd name="connsiteX7" fmla="*/ 2813681 w 2813738"/>
              <a:gd name="connsiteY7" fmla="*/ 2045662 h 3222394"/>
              <a:gd name="connsiteX8" fmla="*/ 2749358 w 2813738"/>
              <a:gd name="connsiteY8" fmla="*/ 2417869 h 3222394"/>
              <a:gd name="connsiteX9" fmla="*/ 2299096 w 2813738"/>
              <a:gd name="connsiteY9" fmla="*/ 3038713 h 3222394"/>
              <a:gd name="connsiteX10" fmla="*/ 1929645 w 2813738"/>
              <a:gd name="connsiteY10" fmla="*/ 3173450 h 3222394"/>
              <a:gd name="connsiteX0" fmla="*/ 1929645 w 2813738"/>
              <a:gd name="connsiteY0" fmla="*/ 3173450 h 3259726"/>
              <a:gd name="connsiteX1" fmla="*/ 1581773 w 2813738"/>
              <a:gd name="connsiteY1" fmla="*/ 3212054 h 3259726"/>
              <a:gd name="connsiteX2" fmla="*/ 634750 w 2813738"/>
              <a:gd name="connsiteY2" fmla="*/ 2993222 h 3259726"/>
              <a:gd name="connsiteX3" fmla="*/ 336057 w 2813738"/>
              <a:gd name="connsiteY3" fmla="*/ 2229184 h 3259726"/>
              <a:gd name="connsiteX4" fmla="*/ 0 w 2813738"/>
              <a:gd name="connsiteY4" fmla="*/ 481954 h 3259726"/>
              <a:gd name="connsiteX5" fmla="*/ 2467865 w 2813738"/>
              <a:gd name="connsiteY5" fmla="*/ 0 h 3259726"/>
              <a:gd name="connsiteX6" fmla="*/ 2809430 w 2813738"/>
              <a:gd name="connsiteY6" fmla="*/ 1748995 h 3259726"/>
              <a:gd name="connsiteX7" fmla="*/ 2813681 w 2813738"/>
              <a:gd name="connsiteY7" fmla="*/ 2045662 h 3259726"/>
              <a:gd name="connsiteX8" fmla="*/ 2749358 w 2813738"/>
              <a:gd name="connsiteY8" fmla="*/ 2417869 h 3259726"/>
              <a:gd name="connsiteX9" fmla="*/ 2299096 w 2813738"/>
              <a:gd name="connsiteY9" fmla="*/ 3038713 h 3259726"/>
              <a:gd name="connsiteX10" fmla="*/ 1929645 w 2813738"/>
              <a:gd name="connsiteY10" fmla="*/ 3173450 h 3259726"/>
              <a:gd name="connsiteX0" fmla="*/ 1929645 w 2813738"/>
              <a:gd name="connsiteY0" fmla="*/ 3173450 h 3173450"/>
              <a:gd name="connsiteX1" fmla="*/ 634750 w 2813738"/>
              <a:gd name="connsiteY1" fmla="*/ 2993222 h 3173450"/>
              <a:gd name="connsiteX2" fmla="*/ 336057 w 2813738"/>
              <a:gd name="connsiteY2" fmla="*/ 2229184 h 3173450"/>
              <a:gd name="connsiteX3" fmla="*/ 0 w 2813738"/>
              <a:gd name="connsiteY3" fmla="*/ 481954 h 3173450"/>
              <a:gd name="connsiteX4" fmla="*/ 2467865 w 2813738"/>
              <a:gd name="connsiteY4" fmla="*/ 0 h 3173450"/>
              <a:gd name="connsiteX5" fmla="*/ 2809430 w 2813738"/>
              <a:gd name="connsiteY5" fmla="*/ 1748995 h 3173450"/>
              <a:gd name="connsiteX6" fmla="*/ 2813681 w 2813738"/>
              <a:gd name="connsiteY6" fmla="*/ 2045662 h 3173450"/>
              <a:gd name="connsiteX7" fmla="*/ 2749358 w 2813738"/>
              <a:gd name="connsiteY7" fmla="*/ 2417869 h 3173450"/>
              <a:gd name="connsiteX8" fmla="*/ 2299096 w 2813738"/>
              <a:gd name="connsiteY8" fmla="*/ 3038713 h 3173450"/>
              <a:gd name="connsiteX9" fmla="*/ 1929645 w 2813738"/>
              <a:gd name="connsiteY9" fmla="*/ 3173450 h 3173450"/>
              <a:gd name="connsiteX0" fmla="*/ 1929645 w 2813738"/>
              <a:gd name="connsiteY0" fmla="*/ 3173450 h 3248537"/>
              <a:gd name="connsiteX1" fmla="*/ 796962 w 2813738"/>
              <a:gd name="connsiteY1" fmla="*/ 3173288 h 3248537"/>
              <a:gd name="connsiteX2" fmla="*/ 336057 w 2813738"/>
              <a:gd name="connsiteY2" fmla="*/ 2229184 h 3248537"/>
              <a:gd name="connsiteX3" fmla="*/ 0 w 2813738"/>
              <a:gd name="connsiteY3" fmla="*/ 481954 h 3248537"/>
              <a:gd name="connsiteX4" fmla="*/ 2467865 w 2813738"/>
              <a:gd name="connsiteY4" fmla="*/ 0 h 3248537"/>
              <a:gd name="connsiteX5" fmla="*/ 2809430 w 2813738"/>
              <a:gd name="connsiteY5" fmla="*/ 1748995 h 3248537"/>
              <a:gd name="connsiteX6" fmla="*/ 2813681 w 2813738"/>
              <a:gd name="connsiteY6" fmla="*/ 2045662 h 3248537"/>
              <a:gd name="connsiteX7" fmla="*/ 2749358 w 2813738"/>
              <a:gd name="connsiteY7" fmla="*/ 2417869 h 3248537"/>
              <a:gd name="connsiteX8" fmla="*/ 2299096 w 2813738"/>
              <a:gd name="connsiteY8" fmla="*/ 3038713 h 3248537"/>
              <a:gd name="connsiteX9" fmla="*/ 1929645 w 2813738"/>
              <a:gd name="connsiteY9" fmla="*/ 3173450 h 3248537"/>
              <a:gd name="connsiteX0" fmla="*/ 1929645 w 2813681"/>
              <a:gd name="connsiteY0" fmla="*/ 3173450 h 3248537"/>
              <a:gd name="connsiteX1" fmla="*/ 796962 w 2813681"/>
              <a:gd name="connsiteY1" fmla="*/ 3173288 h 3248537"/>
              <a:gd name="connsiteX2" fmla="*/ 336057 w 2813681"/>
              <a:gd name="connsiteY2" fmla="*/ 2229184 h 3248537"/>
              <a:gd name="connsiteX3" fmla="*/ 0 w 2813681"/>
              <a:gd name="connsiteY3" fmla="*/ 481954 h 3248537"/>
              <a:gd name="connsiteX4" fmla="*/ 2467865 w 2813681"/>
              <a:gd name="connsiteY4" fmla="*/ 0 h 3248537"/>
              <a:gd name="connsiteX5" fmla="*/ 2809430 w 2813681"/>
              <a:gd name="connsiteY5" fmla="*/ 1748995 h 3248537"/>
              <a:gd name="connsiteX6" fmla="*/ 2813681 w 2813681"/>
              <a:gd name="connsiteY6" fmla="*/ 2045662 h 3248537"/>
              <a:gd name="connsiteX7" fmla="*/ 2299096 w 2813681"/>
              <a:gd name="connsiteY7" fmla="*/ 3038713 h 3248537"/>
              <a:gd name="connsiteX8" fmla="*/ 1929645 w 2813681"/>
              <a:gd name="connsiteY8" fmla="*/ 3173450 h 3248537"/>
              <a:gd name="connsiteX0" fmla="*/ 1929645 w 2816936"/>
              <a:gd name="connsiteY0" fmla="*/ 3173450 h 3248537"/>
              <a:gd name="connsiteX1" fmla="*/ 796962 w 2816936"/>
              <a:gd name="connsiteY1" fmla="*/ 3173288 h 3248537"/>
              <a:gd name="connsiteX2" fmla="*/ 336057 w 2816936"/>
              <a:gd name="connsiteY2" fmla="*/ 2229184 h 3248537"/>
              <a:gd name="connsiteX3" fmla="*/ 0 w 2816936"/>
              <a:gd name="connsiteY3" fmla="*/ 481954 h 3248537"/>
              <a:gd name="connsiteX4" fmla="*/ 2467865 w 2816936"/>
              <a:gd name="connsiteY4" fmla="*/ 0 h 3248537"/>
              <a:gd name="connsiteX5" fmla="*/ 2809430 w 2816936"/>
              <a:gd name="connsiteY5" fmla="*/ 1748995 h 3248537"/>
              <a:gd name="connsiteX6" fmla="*/ 2813681 w 2816936"/>
              <a:gd name="connsiteY6" fmla="*/ 2045662 h 3248537"/>
              <a:gd name="connsiteX7" fmla="*/ 2299096 w 2816936"/>
              <a:gd name="connsiteY7" fmla="*/ 3038713 h 3248537"/>
              <a:gd name="connsiteX8" fmla="*/ 1929645 w 2816936"/>
              <a:gd name="connsiteY8" fmla="*/ 3173450 h 3248537"/>
              <a:gd name="connsiteX0" fmla="*/ 1929645 w 2817968"/>
              <a:gd name="connsiteY0" fmla="*/ 3173450 h 3248537"/>
              <a:gd name="connsiteX1" fmla="*/ 796962 w 2817968"/>
              <a:gd name="connsiteY1" fmla="*/ 3173288 h 3248537"/>
              <a:gd name="connsiteX2" fmla="*/ 336057 w 2817968"/>
              <a:gd name="connsiteY2" fmla="*/ 2229184 h 3248537"/>
              <a:gd name="connsiteX3" fmla="*/ 0 w 2817968"/>
              <a:gd name="connsiteY3" fmla="*/ 481954 h 3248537"/>
              <a:gd name="connsiteX4" fmla="*/ 2467865 w 2817968"/>
              <a:gd name="connsiteY4" fmla="*/ 0 h 3248537"/>
              <a:gd name="connsiteX5" fmla="*/ 2809430 w 2817968"/>
              <a:gd name="connsiteY5" fmla="*/ 1748995 h 3248537"/>
              <a:gd name="connsiteX6" fmla="*/ 2813681 w 2817968"/>
              <a:gd name="connsiteY6" fmla="*/ 2045662 h 3248537"/>
              <a:gd name="connsiteX7" fmla="*/ 2299096 w 2817968"/>
              <a:gd name="connsiteY7" fmla="*/ 3038713 h 3248537"/>
              <a:gd name="connsiteX8" fmla="*/ 1929645 w 2817968"/>
              <a:gd name="connsiteY8" fmla="*/ 3173450 h 3248537"/>
              <a:gd name="connsiteX0" fmla="*/ 1929645 w 2818220"/>
              <a:gd name="connsiteY0" fmla="*/ 3173450 h 3248983"/>
              <a:gd name="connsiteX1" fmla="*/ 796962 w 2818220"/>
              <a:gd name="connsiteY1" fmla="*/ 3173288 h 3248983"/>
              <a:gd name="connsiteX2" fmla="*/ 336057 w 2818220"/>
              <a:gd name="connsiteY2" fmla="*/ 2229184 h 3248983"/>
              <a:gd name="connsiteX3" fmla="*/ 0 w 2818220"/>
              <a:gd name="connsiteY3" fmla="*/ 481954 h 3248983"/>
              <a:gd name="connsiteX4" fmla="*/ 2467865 w 2818220"/>
              <a:gd name="connsiteY4" fmla="*/ 0 h 3248983"/>
              <a:gd name="connsiteX5" fmla="*/ 2809430 w 2818220"/>
              <a:gd name="connsiteY5" fmla="*/ 1748995 h 3248983"/>
              <a:gd name="connsiteX6" fmla="*/ 2813681 w 2818220"/>
              <a:gd name="connsiteY6" fmla="*/ 2045662 h 3248983"/>
              <a:gd name="connsiteX7" fmla="*/ 2318165 w 2818220"/>
              <a:gd name="connsiteY7" fmla="*/ 3027931 h 3248983"/>
              <a:gd name="connsiteX8" fmla="*/ 1929645 w 2818220"/>
              <a:gd name="connsiteY8" fmla="*/ 3173450 h 3248983"/>
              <a:gd name="connsiteX0" fmla="*/ 1872966 w 2818220"/>
              <a:gd name="connsiteY0" fmla="*/ 3389204 h 3395069"/>
              <a:gd name="connsiteX1" fmla="*/ 796962 w 2818220"/>
              <a:gd name="connsiteY1" fmla="*/ 3173288 h 3395069"/>
              <a:gd name="connsiteX2" fmla="*/ 336057 w 2818220"/>
              <a:gd name="connsiteY2" fmla="*/ 2229184 h 3395069"/>
              <a:gd name="connsiteX3" fmla="*/ 0 w 2818220"/>
              <a:gd name="connsiteY3" fmla="*/ 481954 h 3395069"/>
              <a:gd name="connsiteX4" fmla="*/ 2467865 w 2818220"/>
              <a:gd name="connsiteY4" fmla="*/ 0 h 3395069"/>
              <a:gd name="connsiteX5" fmla="*/ 2809430 w 2818220"/>
              <a:gd name="connsiteY5" fmla="*/ 1748995 h 3395069"/>
              <a:gd name="connsiteX6" fmla="*/ 2813681 w 2818220"/>
              <a:gd name="connsiteY6" fmla="*/ 2045662 h 3395069"/>
              <a:gd name="connsiteX7" fmla="*/ 2318165 w 2818220"/>
              <a:gd name="connsiteY7" fmla="*/ 3027931 h 3395069"/>
              <a:gd name="connsiteX8" fmla="*/ 1872966 w 2818220"/>
              <a:gd name="connsiteY8" fmla="*/ 3389204 h 3395069"/>
              <a:gd name="connsiteX0" fmla="*/ 1861016 w 2818220"/>
              <a:gd name="connsiteY0" fmla="*/ 3328014 h 3339978"/>
              <a:gd name="connsiteX1" fmla="*/ 796962 w 2818220"/>
              <a:gd name="connsiteY1" fmla="*/ 3173288 h 3339978"/>
              <a:gd name="connsiteX2" fmla="*/ 336057 w 2818220"/>
              <a:gd name="connsiteY2" fmla="*/ 2229184 h 3339978"/>
              <a:gd name="connsiteX3" fmla="*/ 0 w 2818220"/>
              <a:gd name="connsiteY3" fmla="*/ 481954 h 3339978"/>
              <a:gd name="connsiteX4" fmla="*/ 2467865 w 2818220"/>
              <a:gd name="connsiteY4" fmla="*/ 0 h 3339978"/>
              <a:gd name="connsiteX5" fmla="*/ 2809430 w 2818220"/>
              <a:gd name="connsiteY5" fmla="*/ 1748995 h 3339978"/>
              <a:gd name="connsiteX6" fmla="*/ 2813681 w 2818220"/>
              <a:gd name="connsiteY6" fmla="*/ 2045662 h 3339978"/>
              <a:gd name="connsiteX7" fmla="*/ 2318165 w 2818220"/>
              <a:gd name="connsiteY7" fmla="*/ 3027931 h 3339978"/>
              <a:gd name="connsiteX8" fmla="*/ 1861016 w 2818220"/>
              <a:gd name="connsiteY8" fmla="*/ 3328014 h 3339978"/>
              <a:gd name="connsiteX0" fmla="*/ 1861016 w 2820003"/>
              <a:gd name="connsiteY0" fmla="*/ 3328014 h 3339751"/>
              <a:gd name="connsiteX1" fmla="*/ 796962 w 2820003"/>
              <a:gd name="connsiteY1" fmla="*/ 3173288 h 3339751"/>
              <a:gd name="connsiteX2" fmla="*/ 336057 w 2820003"/>
              <a:gd name="connsiteY2" fmla="*/ 2229184 h 3339751"/>
              <a:gd name="connsiteX3" fmla="*/ 0 w 2820003"/>
              <a:gd name="connsiteY3" fmla="*/ 481954 h 3339751"/>
              <a:gd name="connsiteX4" fmla="*/ 2467865 w 2820003"/>
              <a:gd name="connsiteY4" fmla="*/ 0 h 3339751"/>
              <a:gd name="connsiteX5" fmla="*/ 2809430 w 2820003"/>
              <a:gd name="connsiteY5" fmla="*/ 1748995 h 3339751"/>
              <a:gd name="connsiteX6" fmla="*/ 2813681 w 2820003"/>
              <a:gd name="connsiteY6" fmla="*/ 2045662 h 3339751"/>
              <a:gd name="connsiteX7" fmla="*/ 2410534 w 2820003"/>
              <a:gd name="connsiteY7" fmla="*/ 3031066 h 3339751"/>
              <a:gd name="connsiteX8" fmla="*/ 1861016 w 2820003"/>
              <a:gd name="connsiteY8" fmla="*/ 3328014 h 3339751"/>
              <a:gd name="connsiteX0" fmla="*/ 1861016 w 2819648"/>
              <a:gd name="connsiteY0" fmla="*/ 3328014 h 3339751"/>
              <a:gd name="connsiteX1" fmla="*/ 796962 w 2819648"/>
              <a:gd name="connsiteY1" fmla="*/ 3173288 h 3339751"/>
              <a:gd name="connsiteX2" fmla="*/ 336057 w 2819648"/>
              <a:gd name="connsiteY2" fmla="*/ 2229184 h 3339751"/>
              <a:gd name="connsiteX3" fmla="*/ 0 w 2819648"/>
              <a:gd name="connsiteY3" fmla="*/ 481954 h 3339751"/>
              <a:gd name="connsiteX4" fmla="*/ 2467865 w 2819648"/>
              <a:gd name="connsiteY4" fmla="*/ 0 h 3339751"/>
              <a:gd name="connsiteX5" fmla="*/ 2809430 w 2819648"/>
              <a:gd name="connsiteY5" fmla="*/ 1748995 h 3339751"/>
              <a:gd name="connsiteX6" fmla="*/ 2813681 w 2819648"/>
              <a:gd name="connsiteY6" fmla="*/ 2045662 h 3339751"/>
              <a:gd name="connsiteX7" fmla="*/ 2410534 w 2819648"/>
              <a:gd name="connsiteY7" fmla="*/ 3031066 h 3339751"/>
              <a:gd name="connsiteX8" fmla="*/ 1861016 w 2819648"/>
              <a:gd name="connsiteY8" fmla="*/ 3328014 h 3339751"/>
              <a:gd name="connsiteX0" fmla="*/ 1861016 w 2820851"/>
              <a:gd name="connsiteY0" fmla="*/ 3328014 h 3341130"/>
              <a:gd name="connsiteX1" fmla="*/ 796962 w 2820851"/>
              <a:gd name="connsiteY1" fmla="*/ 3173288 h 3341130"/>
              <a:gd name="connsiteX2" fmla="*/ 336057 w 2820851"/>
              <a:gd name="connsiteY2" fmla="*/ 2229184 h 3341130"/>
              <a:gd name="connsiteX3" fmla="*/ 0 w 2820851"/>
              <a:gd name="connsiteY3" fmla="*/ 481954 h 3341130"/>
              <a:gd name="connsiteX4" fmla="*/ 2467865 w 2820851"/>
              <a:gd name="connsiteY4" fmla="*/ 0 h 3341130"/>
              <a:gd name="connsiteX5" fmla="*/ 2809430 w 2820851"/>
              <a:gd name="connsiteY5" fmla="*/ 1748995 h 3341130"/>
              <a:gd name="connsiteX6" fmla="*/ 2813681 w 2820851"/>
              <a:gd name="connsiteY6" fmla="*/ 2045662 h 3341130"/>
              <a:gd name="connsiteX7" fmla="*/ 2452877 w 2820851"/>
              <a:gd name="connsiteY7" fmla="*/ 3012062 h 3341130"/>
              <a:gd name="connsiteX8" fmla="*/ 1861016 w 2820851"/>
              <a:gd name="connsiteY8" fmla="*/ 3328014 h 3341130"/>
              <a:gd name="connsiteX0" fmla="*/ 1861016 w 2835461"/>
              <a:gd name="connsiteY0" fmla="*/ 3328014 h 3341130"/>
              <a:gd name="connsiteX1" fmla="*/ 796962 w 2835461"/>
              <a:gd name="connsiteY1" fmla="*/ 3173288 h 3341130"/>
              <a:gd name="connsiteX2" fmla="*/ 336057 w 2835461"/>
              <a:gd name="connsiteY2" fmla="*/ 2229184 h 3341130"/>
              <a:gd name="connsiteX3" fmla="*/ 0 w 2835461"/>
              <a:gd name="connsiteY3" fmla="*/ 481954 h 3341130"/>
              <a:gd name="connsiteX4" fmla="*/ 2467865 w 2835461"/>
              <a:gd name="connsiteY4" fmla="*/ 0 h 3341130"/>
              <a:gd name="connsiteX5" fmla="*/ 2809430 w 2835461"/>
              <a:gd name="connsiteY5" fmla="*/ 1748995 h 3341130"/>
              <a:gd name="connsiteX6" fmla="*/ 2828769 w 2835461"/>
              <a:gd name="connsiteY6" fmla="*/ 2091483 h 3341130"/>
              <a:gd name="connsiteX7" fmla="*/ 2452877 w 2835461"/>
              <a:gd name="connsiteY7" fmla="*/ 3012062 h 3341130"/>
              <a:gd name="connsiteX8" fmla="*/ 1861016 w 2835461"/>
              <a:gd name="connsiteY8" fmla="*/ 3328014 h 3341130"/>
              <a:gd name="connsiteX0" fmla="*/ 1861016 w 2835461"/>
              <a:gd name="connsiteY0" fmla="*/ 3328014 h 3341130"/>
              <a:gd name="connsiteX1" fmla="*/ 796962 w 2835461"/>
              <a:gd name="connsiteY1" fmla="*/ 3173288 h 3341130"/>
              <a:gd name="connsiteX2" fmla="*/ 336057 w 2835461"/>
              <a:gd name="connsiteY2" fmla="*/ 2229184 h 3341130"/>
              <a:gd name="connsiteX3" fmla="*/ 0 w 2835461"/>
              <a:gd name="connsiteY3" fmla="*/ 481954 h 3341130"/>
              <a:gd name="connsiteX4" fmla="*/ 2467865 w 2835461"/>
              <a:gd name="connsiteY4" fmla="*/ 0 h 3341130"/>
              <a:gd name="connsiteX5" fmla="*/ 2809430 w 2835461"/>
              <a:gd name="connsiteY5" fmla="*/ 1748995 h 3341130"/>
              <a:gd name="connsiteX6" fmla="*/ 2828769 w 2835461"/>
              <a:gd name="connsiteY6" fmla="*/ 2091483 h 3341130"/>
              <a:gd name="connsiteX7" fmla="*/ 2452877 w 2835461"/>
              <a:gd name="connsiteY7" fmla="*/ 3012062 h 3341130"/>
              <a:gd name="connsiteX8" fmla="*/ 1861016 w 2835461"/>
              <a:gd name="connsiteY8" fmla="*/ 3328014 h 3341130"/>
              <a:gd name="connsiteX0" fmla="*/ 1861016 w 2835461"/>
              <a:gd name="connsiteY0" fmla="*/ 3328014 h 3341130"/>
              <a:gd name="connsiteX1" fmla="*/ 796962 w 2835461"/>
              <a:gd name="connsiteY1" fmla="*/ 3173288 h 3341130"/>
              <a:gd name="connsiteX2" fmla="*/ 336057 w 2835461"/>
              <a:gd name="connsiteY2" fmla="*/ 2229184 h 3341130"/>
              <a:gd name="connsiteX3" fmla="*/ 0 w 2835461"/>
              <a:gd name="connsiteY3" fmla="*/ 481954 h 3341130"/>
              <a:gd name="connsiteX4" fmla="*/ 2467865 w 2835461"/>
              <a:gd name="connsiteY4" fmla="*/ 0 h 3341130"/>
              <a:gd name="connsiteX5" fmla="*/ 2803530 w 2835461"/>
              <a:gd name="connsiteY5" fmla="*/ 1718331 h 3341130"/>
              <a:gd name="connsiteX6" fmla="*/ 2828769 w 2835461"/>
              <a:gd name="connsiteY6" fmla="*/ 2091483 h 3341130"/>
              <a:gd name="connsiteX7" fmla="*/ 2452877 w 2835461"/>
              <a:gd name="connsiteY7" fmla="*/ 3012062 h 3341130"/>
              <a:gd name="connsiteX8" fmla="*/ 1861016 w 2835461"/>
              <a:gd name="connsiteY8" fmla="*/ 3328014 h 3341130"/>
              <a:gd name="connsiteX0" fmla="*/ 1861016 w 2829919"/>
              <a:gd name="connsiteY0" fmla="*/ 3328014 h 3341130"/>
              <a:gd name="connsiteX1" fmla="*/ 796962 w 2829919"/>
              <a:gd name="connsiteY1" fmla="*/ 3173288 h 3341130"/>
              <a:gd name="connsiteX2" fmla="*/ 336057 w 2829919"/>
              <a:gd name="connsiteY2" fmla="*/ 2229184 h 3341130"/>
              <a:gd name="connsiteX3" fmla="*/ 0 w 2829919"/>
              <a:gd name="connsiteY3" fmla="*/ 481954 h 3341130"/>
              <a:gd name="connsiteX4" fmla="*/ 2467865 w 2829919"/>
              <a:gd name="connsiteY4" fmla="*/ 0 h 3341130"/>
              <a:gd name="connsiteX5" fmla="*/ 2803530 w 2829919"/>
              <a:gd name="connsiteY5" fmla="*/ 1718331 h 3341130"/>
              <a:gd name="connsiteX6" fmla="*/ 2828769 w 2829919"/>
              <a:gd name="connsiteY6" fmla="*/ 2091483 h 3341130"/>
              <a:gd name="connsiteX7" fmla="*/ 2452877 w 2829919"/>
              <a:gd name="connsiteY7" fmla="*/ 3012062 h 3341130"/>
              <a:gd name="connsiteX8" fmla="*/ 1861016 w 2829919"/>
              <a:gd name="connsiteY8" fmla="*/ 3328014 h 3341130"/>
              <a:gd name="connsiteX0" fmla="*/ 1861016 w 2829919"/>
              <a:gd name="connsiteY0" fmla="*/ 3328014 h 3346886"/>
              <a:gd name="connsiteX1" fmla="*/ 796962 w 2829919"/>
              <a:gd name="connsiteY1" fmla="*/ 3173288 h 3346886"/>
              <a:gd name="connsiteX2" fmla="*/ 336057 w 2829919"/>
              <a:gd name="connsiteY2" fmla="*/ 2229184 h 3346886"/>
              <a:gd name="connsiteX3" fmla="*/ 0 w 2829919"/>
              <a:gd name="connsiteY3" fmla="*/ 481954 h 3346886"/>
              <a:gd name="connsiteX4" fmla="*/ 2467865 w 2829919"/>
              <a:gd name="connsiteY4" fmla="*/ 0 h 3346886"/>
              <a:gd name="connsiteX5" fmla="*/ 2803530 w 2829919"/>
              <a:gd name="connsiteY5" fmla="*/ 1718331 h 3346886"/>
              <a:gd name="connsiteX6" fmla="*/ 2828769 w 2829919"/>
              <a:gd name="connsiteY6" fmla="*/ 2091483 h 3346886"/>
              <a:gd name="connsiteX7" fmla="*/ 2452877 w 2829919"/>
              <a:gd name="connsiteY7" fmla="*/ 3012062 h 3346886"/>
              <a:gd name="connsiteX8" fmla="*/ 1861016 w 2829919"/>
              <a:gd name="connsiteY8" fmla="*/ 3328014 h 3346886"/>
              <a:gd name="connsiteX0" fmla="*/ 1861016 w 2829919"/>
              <a:gd name="connsiteY0" fmla="*/ 3328014 h 3352626"/>
              <a:gd name="connsiteX1" fmla="*/ 796962 w 2829919"/>
              <a:gd name="connsiteY1" fmla="*/ 3173288 h 3352626"/>
              <a:gd name="connsiteX2" fmla="*/ 336057 w 2829919"/>
              <a:gd name="connsiteY2" fmla="*/ 2229184 h 3352626"/>
              <a:gd name="connsiteX3" fmla="*/ 0 w 2829919"/>
              <a:gd name="connsiteY3" fmla="*/ 481954 h 3352626"/>
              <a:gd name="connsiteX4" fmla="*/ 2467865 w 2829919"/>
              <a:gd name="connsiteY4" fmla="*/ 0 h 3352626"/>
              <a:gd name="connsiteX5" fmla="*/ 2803530 w 2829919"/>
              <a:gd name="connsiteY5" fmla="*/ 1718331 h 3352626"/>
              <a:gd name="connsiteX6" fmla="*/ 2828769 w 2829919"/>
              <a:gd name="connsiteY6" fmla="*/ 2091483 h 3352626"/>
              <a:gd name="connsiteX7" fmla="*/ 2452877 w 2829919"/>
              <a:gd name="connsiteY7" fmla="*/ 3012062 h 3352626"/>
              <a:gd name="connsiteX8" fmla="*/ 1861016 w 2829919"/>
              <a:gd name="connsiteY8" fmla="*/ 3328014 h 3352626"/>
              <a:gd name="connsiteX0" fmla="*/ 1861016 w 2829919"/>
              <a:gd name="connsiteY0" fmla="*/ 3328014 h 3352626"/>
              <a:gd name="connsiteX1" fmla="*/ 796962 w 2829919"/>
              <a:gd name="connsiteY1" fmla="*/ 3173288 h 3352626"/>
              <a:gd name="connsiteX2" fmla="*/ 336057 w 2829919"/>
              <a:gd name="connsiteY2" fmla="*/ 2229184 h 3352626"/>
              <a:gd name="connsiteX3" fmla="*/ 0 w 2829919"/>
              <a:gd name="connsiteY3" fmla="*/ 481954 h 3352626"/>
              <a:gd name="connsiteX4" fmla="*/ 2467865 w 2829919"/>
              <a:gd name="connsiteY4" fmla="*/ 0 h 3352626"/>
              <a:gd name="connsiteX5" fmla="*/ 2803530 w 2829919"/>
              <a:gd name="connsiteY5" fmla="*/ 1718331 h 3352626"/>
              <a:gd name="connsiteX6" fmla="*/ 2828769 w 2829919"/>
              <a:gd name="connsiteY6" fmla="*/ 2091483 h 3352626"/>
              <a:gd name="connsiteX7" fmla="*/ 2452877 w 2829919"/>
              <a:gd name="connsiteY7" fmla="*/ 3012062 h 3352626"/>
              <a:gd name="connsiteX8" fmla="*/ 1861016 w 2829919"/>
              <a:gd name="connsiteY8" fmla="*/ 3328014 h 3352626"/>
              <a:gd name="connsiteX0" fmla="*/ 1861016 w 2829919"/>
              <a:gd name="connsiteY0" fmla="*/ 3328014 h 3352626"/>
              <a:gd name="connsiteX1" fmla="*/ 796962 w 2829919"/>
              <a:gd name="connsiteY1" fmla="*/ 3173288 h 3352626"/>
              <a:gd name="connsiteX2" fmla="*/ 336057 w 2829919"/>
              <a:gd name="connsiteY2" fmla="*/ 2229184 h 3352626"/>
              <a:gd name="connsiteX3" fmla="*/ 0 w 2829919"/>
              <a:gd name="connsiteY3" fmla="*/ 481954 h 3352626"/>
              <a:gd name="connsiteX4" fmla="*/ 2467865 w 2829919"/>
              <a:gd name="connsiteY4" fmla="*/ 0 h 3352626"/>
              <a:gd name="connsiteX5" fmla="*/ 2803530 w 2829919"/>
              <a:gd name="connsiteY5" fmla="*/ 1718331 h 3352626"/>
              <a:gd name="connsiteX6" fmla="*/ 2828769 w 2829919"/>
              <a:gd name="connsiteY6" fmla="*/ 2091483 h 3352626"/>
              <a:gd name="connsiteX7" fmla="*/ 2452877 w 2829919"/>
              <a:gd name="connsiteY7" fmla="*/ 3012062 h 3352626"/>
              <a:gd name="connsiteX8" fmla="*/ 1861016 w 2829919"/>
              <a:gd name="connsiteY8" fmla="*/ 3328014 h 3352626"/>
              <a:gd name="connsiteX0" fmla="*/ 1861016 w 2829919"/>
              <a:gd name="connsiteY0" fmla="*/ 3328014 h 3352626"/>
              <a:gd name="connsiteX1" fmla="*/ 796962 w 2829919"/>
              <a:gd name="connsiteY1" fmla="*/ 3173288 h 3352626"/>
              <a:gd name="connsiteX2" fmla="*/ 336057 w 2829919"/>
              <a:gd name="connsiteY2" fmla="*/ 2229184 h 3352626"/>
              <a:gd name="connsiteX3" fmla="*/ 0 w 2829919"/>
              <a:gd name="connsiteY3" fmla="*/ 481954 h 3352626"/>
              <a:gd name="connsiteX4" fmla="*/ 1636004 w 2829919"/>
              <a:gd name="connsiteY4" fmla="*/ 2119429 h 3352626"/>
              <a:gd name="connsiteX5" fmla="*/ 2467865 w 2829919"/>
              <a:gd name="connsiteY5" fmla="*/ 0 h 3352626"/>
              <a:gd name="connsiteX6" fmla="*/ 2803530 w 2829919"/>
              <a:gd name="connsiteY6" fmla="*/ 1718331 h 3352626"/>
              <a:gd name="connsiteX7" fmla="*/ 2828769 w 2829919"/>
              <a:gd name="connsiteY7" fmla="*/ 2091483 h 3352626"/>
              <a:gd name="connsiteX8" fmla="*/ 2452877 w 2829919"/>
              <a:gd name="connsiteY8" fmla="*/ 3012062 h 3352626"/>
              <a:gd name="connsiteX9" fmla="*/ 1861016 w 2829919"/>
              <a:gd name="connsiteY9" fmla="*/ 3328014 h 3352626"/>
              <a:gd name="connsiteX0" fmla="*/ 1861016 w 2829919"/>
              <a:gd name="connsiteY0" fmla="*/ 3328014 h 3352626"/>
              <a:gd name="connsiteX1" fmla="*/ 796962 w 2829919"/>
              <a:gd name="connsiteY1" fmla="*/ 3173288 h 3352626"/>
              <a:gd name="connsiteX2" fmla="*/ 336057 w 2829919"/>
              <a:gd name="connsiteY2" fmla="*/ 2229184 h 3352626"/>
              <a:gd name="connsiteX3" fmla="*/ 0 w 2829919"/>
              <a:gd name="connsiteY3" fmla="*/ 481954 h 3352626"/>
              <a:gd name="connsiteX4" fmla="*/ 1636004 w 2829919"/>
              <a:gd name="connsiteY4" fmla="*/ 2119429 h 3352626"/>
              <a:gd name="connsiteX5" fmla="*/ 2467865 w 2829919"/>
              <a:gd name="connsiteY5" fmla="*/ 0 h 3352626"/>
              <a:gd name="connsiteX6" fmla="*/ 2803530 w 2829919"/>
              <a:gd name="connsiteY6" fmla="*/ 1718331 h 3352626"/>
              <a:gd name="connsiteX7" fmla="*/ 2828769 w 2829919"/>
              <a:gd name="connsiteY7" fmla="*/ 2091483 h 3352626"/>
              <a:gd name="connsiteX8" fmla="*/ 2452877 w 2829919"/>
              <a:gd name="connsiteY8" fmla="*/ 3012062 h 3352626"/>
              <a:gd name="connsiteX9" fmla="*/ 1861016 w 2829919"/>
              <a:gd name="connsiteY9" fmla="*/ 3328014 h 3352626"/>
              <a:gd name="connsiteX0" fmla="*/ 1861016 w 2829919"/>
              <a:gd name="connsiteY0" fmla="*/ 3328014 h 3352626"/>
              <a:gd name="connsiteX1" fmla="*/ 796962 w 2829919"/>
              <a:gd name="connsiteY1" fmla="*/ 3173288 h 3352626"/>
              <a:gd name="connsiteX2" fmla="*/ 336057 w 2829919"/>
              <a:gd name="connsiteY2" fmla="*/ 2229184 h 3352626"/>
              <a:gd name="connsiteX3" fmla="*/ 0 w 2829919"/>
              <a:gd name="connsiteY3" fmla="*/ 481954 h 3352626"/>
              <a:gd name="connsiteX4" fmla="*/ 1649572 w 2829919"/>
              <a:gd name="connsiteY4" fmla="*/ 2189943 h 3352626"/>
              <a:gd name="connsiteX5" fmla="*/ 2467865 w 2829919"/>
              <a:gd name="connsiteY5" fmla="*/ 0 h 3352626"/>
              <a:gd name="connsiteX6" fmla="*/ 2803530 w 2829919"/>
              <a:gd name="connsiteY6" fmla="*/ 1718331 h 3352626"/>
              <a:gd name="connsiteX7" fmla="*/ 2828769 w 2829919"/>
              <a:gd name="connsiteY7" fmla="*/ 2091483 h 3352626"/>
              <a:gd name="connsiteX8" fmla="*/ 2452877 w 2829919"/>
              <a:gd name="connsiteY8" fmla="*/ 3012062 h 3352626"/>
              <a:gd name="connsiteX9" fmla="*/ 1861016 w 2829919"/>
              <a:gd name="connsiteY9" fmla="*/ 3328014 h 3352626"/>
              <a:gd name="connsiteX0" fmla="*/ 1861016 w 2829919"/>
              <a:gd name="connsiteY0" fmla="*/ 3328014 h 3359247"/>
              <a:gd name="connsiteX1" fmla="*/ 796962 w 2829919"/>
              <a:gd name="connsiteY1" fmla="*/ 3173288 h 3359247"/>
              <a:gd name="connsiteX2" fmla="*/ 336057 w 2829919"/>
              <a:gd name="connsiteY2" fmla="*/ 2229184 h 3359247"/>
              <a:gd name="connsiteX3" fmla="*/ 0 w 2829919"/>
              <a:gd name="connsiteY3" fmla="*/ 481954 h 3359247"/>
              <a:gd name="connsiteX4" fmla="*/ 1649572 w 2829919"/>
              <a:gd name="connsiteY4" fmla="*/ 2189943 h 3359247"/>
              <a:gd name="connsiteX5" fmla="*/ 2467865 w 2829919"/>
              <a:gd name="connsiteY5" fmla="*/ 0 h 3359247"/>
              <a:gd name="connsiteX6" fmla="*/ 2803530 w 2829919"/>
              <a:gd name="connsiteY6" fmla="*/ 1718331 h 3359247"/>
              <a:gd name="connsiteX7" fmla="*/ 2828769 w 2829919"/>
              <a:gd name="connsiteY7" fmla="*/ 2091483 h 3359247"/>
              <a:gd name="connsiteX8" fmla="*/ 2452877 w 2829919"/>
              <a:gd name="connsiteY8" fmla="*/ 3012062 h 3359247"/>
              <a:gd name="connsiteX9" fmla="*/ 1861016 w 2829919"/>
              <a:gd name="connsiteY9" fmla="*/ 3328014 h 3359247"/>
              <a:gd name="connsiteX0" fmla="*/ 1861016 w 2830596"/>
              <a:gd name="connsiteY0" fmla="*/ 3328014 h 3342040"/>
              <a:gd name="connsiteX1" fmla="*/ 796962 w 2830596"/>
              <a:gd name="connsiteY1" fmla="*/ 3173288 h 3342040"/>
              <a:gd name="connsiteX2" fmla="*/ 336057 w 2830596"/>
              <a:gd name="connsiteY2" fmla="*/ 2229184 h 3342040"/>
              <a:gd name="connsiteX3" fmla="*/ 0 w 2830596"/>
              <a:gd name="connsiteY3" fmla="*/ 481954 h 3342040"/>
              <a:gd name="connsiteX4" fmla="*/ 1649572 w 2830596"/>
              <a:gd name="connsiteY4" fmla="*/ 2189943 h 3342040"/>
              <a:gd name="connsiteX5" fmla="*/ 2467865 w 2830596"/>
              <a:gd name="connsiteY5" fmla="*/ 0 h 3342040"/>
              <a:gd name="connsiteX6" fmla="*/ 2803530 w 2830596"/>
              <a:gd name="connsiteY6" fmla="*/ 1718331 h 3342040"/>
              <a:gd name="connsiteX7" fmla="*/ 2828769 w 2830596"/>
              <a:gd name="connsiteY7" fmla="*/ 2091483 h 3342040"/>
              <a:gd name="connsiteX8" fmla="*/ 2516033 w 2830596"/>
              <a:gd name="connsiteY8" fmla="*/ 2999544 h 3342040"/>
              <a:gd name="connsiteX9" fmla="*/ 1861016 w 2830596"/>
              <a:gd name="connsiteY9" fmla="*/ 3328014 h 3342040"/>
              <a:gd name="connsiteX0" fmla="*/ 1861016 w 2830709"/>
              <a:gd name="connsiteY0" fmla="*/ 3328014 h 3344557"/>
              <a:gd name="connsiteX1" fmla="*/ 796962 w 2830709"/>
              <a:gd name="connsiteY1" fmla="*/ 3173288 h 3344557"/>
              <a:gd name="connsiteX2" fmla="*/ 336057 w 2830709"/>
              <a:gd name="connsiteY2" fmla="*/ 2229184 h 3344557"/>
              <a:gd name="connsiteX3" fmla="*/ 0 w 2830709"/>
              <a:gd name="connsiteY3" fmla="*/ 481954 h 3344557"/>
              <a:gd name="connsiteX4" fmla="*/ 1649572 w 2830709"/>
              <a:gd name="connsiteY4" fmla="*/ 2189943 h 3344557"/>
              <a:gd name="connsiteX5" fmla="*/ 2467865 w 2830709"/>
              <a:gd name="connsiteY5" fmla="*/ 0 h 3344557"/>
              <a:gd name="connsiteX6" fmla="*/ 2803530 w 2830709"/>
              <a:gd name="connsiteY6" fmla="*/ 1718331 h 3344557"/>
              <a:gd name="connsiteX7" fmla="*/ 2828769 w 2830709"/>
              <a:gd name="connsiteY7" fmla="*/ 2091483 h 3344557"/>
              <a:gd name="connsiteX8" fmla="*/ 2522497 w 2830709"/>
              <a:gd name="connsiteY8" fmla="*/ 2964989 h 3344557"/>
              <a:gd name="connsiteX9" fmla="*/ 1861016 w 2830709"/>
              <a:gd name="connsiteY9" fmla="*/ 3328014 h 3344557"/>
              <a:gd name="connsiteX0" fmla="*/ 1861016 w 2830709"/>
              <a:gd name="connsiteY0" fmla="*/ 3328014 h 3359688"/>
              <a:gd name="connsiteX1" fmla="*/ 796962 w 2830709"/>
              <a:gd name="connsiteY1" fmla="*/ 3173288 h 3359688"/>
              <a:gd name="connsiteX2" fmla="*/ 336057 w 2830709"/>
              <a:gd name="connsiteY2" fmla="*/ 2229184 h 3359688"/>
              <a:gd name="connsiteX3" fmla="*/ 0 w 2830709"/>
              <a:gd name="connsiteY3" fmla="*/ 481954 h 3359688"/>
              <a:gd name="connsiteX4" fmla="*/ 1649572 w 2830709"/>
              <a:gd name="connsiteY4" fmla="*/ 2189943 h 3359688"/>
              <a:gd name="connsiteX5" fmla="*/ 2467865 w 2830709"/>
              <a:gd name="connsiteY5" fmla="*/ 0 h 3359688"/>
              <a:gd name="connsiteX6" fmla="*/ 2803530 w 2830709"/>
              <a:gd name="connsiteY6" fmla="*/ 1718331 h 3359688"/>
              <a:gd name="connsiteX7" fmla="*/ 2828769 w 2830709"/>
              <a:gd name="connsiteY7" fmla="*/ 2091483 h 3359688"/>
              <a:gd name="connsiteX8" fmla="*/ 2522497 w 2830709"/>
              <a:gd name="connsiteY8" fmla="*/ 2964989 h 3359688"/>
              <a:gd name="connsiteX9" fmla="*/ 1861016 w 2830709"/>
              <a:gd name="connsiteY9" fmla="*/ 3328014 h 3359688"/>
              <a:gd name="connsiteX0" fmla="*/ 1861016 w 2830709"/>
              <a:gd name="connsiteY0" fmla="*/ 3328014 h 3360929"/>
              <a:gd name="connsiteX1" fmla="*/ 832092 w 2830709"/>
              <a:gd name="connsiteY1" fmla="*/ 3219563 h 3360929"/>
              <a:gd name="connsiteX2" fmla="*/ 336057 w 2830709"/>
              <a:gd name="connsiteY2" fmla="*/ 2229184 h 3360929"/>
              <a:gd name="connsiteX3" fmla="*/ 0 w 2830709"/>
              <a:gd name="connsiteY3" fmla="*/ 481954 h 3360929"/>
              <a:gd name="connsiteX4" fmla="*/ 1649572 w 2830709"/>
              <a:gd name="connsiteY4" fmla="*/ 2189943 h 3360929"/>
              <a:gd name="connsiteX5" fmla="*/ 2467865 w 2830709"/>
              <a:gd name="connsiteY5" fmla="*/ 0 h 3360929"/>
              <a:gd name="connsiteX6" fmla="*/ 2803530 w 2830709"/>
              <a:gd name="connsiteY6" fmla="*/ 1718331 h 3360929"/>
              <a:gd name="connsiteX7" fmla="*/ 2828769 w 2830709"/>
              <a:gd name="connsiteY7" fmla="*/ 2091483 h 3360929"/>
              <a:gd name="connsiteX8" fmla="*/ 2522497 w 2830709"/>
              <a:gd name="connsiteY8" fmla="*/ 2964989 h 3360929"/>
              <a:gd name="connsiteX9" fmla="*/ 1861016 w 2830709"/>
              <a:gd name="connsiteY9" fmla="*/ 3328014 h 3360929"/>
              <a:gd name="connsiteX0" fmla="*/ 1861016 w 2830709"/>
              <a:gd name="connsiteY0" fmla="*/ 3328014 h 3360929"/>
              <a:gd name="connsiteX1" fmla="*/ 832092 w 2830709"/>
              <a:gd name="connsiteY1" fmla="*/ 3219563 h 3360929"/>
              <a:gd name="connsiteX2" fmla="*/ 336057 w 2830709"/>
              <a:gd name="connsiteY2" fmla="*/ 2229184 h 3360929"/>
              <a:gd name="connsiteX3" fmla="*/ 0 w 2830709"/>
              <a:gd name="connsiteY3" fmla="*/ 481954 h 3360929"/>
              <a:gd name="connsiteX4" fmla="*/ 1649572 w 2830709"/>
              <a:gd name="connsiteY4" fmla="*/ 2189943 h 3360929"/>
              <a:gd name="connsiteX5" fmla="*/ 2467865 w 2830709"/>
              <a:gd name="connsiteY5" fmla="*/ 0 h 3360929"/>
              <a:gd name="connsiteX6" fmla="*/ 2803530 w 2830709"/>
              <a:gd name="connsiteY6" fmla="*/ 1718331 h 3360929"/>
              <a:gd name="connsiteX7" fmla="*/ 2828769 w 2830709"/>
              <a:gd name="connsiteY7" fmla="*/ 2091483 h 3360929"/>
              <a:gd name="connsiteX8" fmla="*/ 2522497 w 2830709"/>
              <a:gd name="connsiteY8" fmla="*/ 2964989 h 3360929"/>
              <a:gd name="connsiteX9" fmla="*/ 1861016 w 2830709"/>
              <a:gd name="connsiteY9" fmla="*/ 3328014 h 3360929"/>
              <a:gd name="connsiteX0" fmla="*/ 1861016 w 2830709"/>
              <a:gd name="connsiteY0" fmla="*/ 3328014 h 3360929"/>
              <a:gd name="connsiteX1" fmla="*/ 832092 w 2830709"/>
              <a:gd name="connsiteY1" fmla="*/ 3219563 h 3360929"/>
              <a:gd name="connsiteX2" fmla="*/ 336057 w 2830709"/>
              <a:gd name="connsiteY2" fmla="*/ 2229184 h 3360929"/>
              <a:gd name="connsiteX3" fmla="*/ 0 w 2830709"/>
              <a:gd name="connsiteY3" fmla="*/ 481954 h 3360929"/>
              <a:gd name="connsiteX4" fmla="*/ 1620462 w 2830709"/>
              <a:gd name="connsiteY4" fmla="*/ 2209024 h 3360929"/>
              <a:gd name="connsiteX5" fmla="*/ 2467865 w 2830709"/>
              <a:gd name="connsiteY5" fmla="*/ 0 h 3360929"/>
              <a:gd name="connsiteX6" fmla="*/ 2803530 w 2830709"/>
              <a:gd name="connsiteY6" fmla="*/ 1718331 h 3360929"/>
              <a:gd name="connsiteX7" fmla="*/ 2828769 w 2830709"/>
              <a:gd name="connsiteY7" fmla="*/ 2091483 h 3360929"/>
              <a:gd name="connsiteX8" fmla="*/ 2522497 w 2830709"/>
              <a:gd name="connsiteY8" fmla="*/ 2964989 h 3360929"/>
              <a:gd name="connsiteX9" fmla="*/ 1861016 w 2830709"/>
              <a:gd name="connsiteY9" fmla="*/ 3328014 h 3360929"/>
              <a:gd name="connsiteX0" fmla="*/ 1861016 w 2830709"/>
              <a:gd name="connsiteY0" fmla="*/ 3328014 h 3360929"/>
              <a:gd name="connsiteX1" fmla="*/ 832092 w 2830709"/>
              <a:gd name="connsiteY1" fmla="*/ 3219563 h 3360929"/>
              <a:gd name="connsiteX2" fmla="*/ 336057 w 2830709"/>
              <a:gd name="connsiteY2" fmla="*/ 2229184 h 3360929"/>
              <a:gd name="connsiteX3" fmla="*/ 0 w 2830709"/>
              <a:gd name="connsiteY3" fmla="*/ 481954 h 3360929"/>
              <a:gd name="connsiteX4" fmla="*/ 1620462 w 2830709"/>
              <a:gd name="connsiteY4" fmla="*/ 2209024 h 3360929"/>
              <a:gd name="connsiteX5" fmla="*/ 2467865 w 2830709"/>
              <a:gd name="connsiteY5" fmla="*/ 0 h 3360929"/>
              <a:gd name="connsiteX6" fmla="*/ 2803530 w 2830709"/>
              <a:gd name="connsiteY6" fmla="*/ 1718331 h 3360929"/>
              <a:gd name="connsiteX7" fmla="*/ 2828769 w 2830709"/>
              <a:gd name="connsiteY7" fmla="*/ 2091483 h 3360929"/>
              <a:gd name="connsiteX8" fmla="*/ 2522497 w 2830709"/>
              <a:gd name="connsiteY8" fmla="*/ 2964989 h 3360929"/>
              <a:gd name="connsiteX9" fmla="*/ 1861016 w 2830709"/>
              <a:gd name="connsiteY9" fmla="*/ 3328014 h 3360929"/>
              <a:gd name="connsiteX0" fmla="*/ 1861016 w 2830709"/>
              <a:gd name="connsiteY0" fmla="*/ 3328014 h 3360929"/>
              <a:gd name="connsiteX1" fmla="*/ 832092 w 2830709"/>
              <a:gd name="connsiteY1" fmla="*/ 3219563 h 3360929"/>
              <a:gd name="connsiteX2" fmla="*/ 336057 w 2830709"/>
              <a:gd name="connsiteY2" fmla="*/ 2229184 h 3360929"/>
              <a:gd name="connsiteX3" fmla="*/ 0 w 2830709"/>
              <a:gd name="connsiteY3" fmla="*/ 481954 h 3360929"/>
              <a:gd name="connsiteX4" fmla="*/ 1620462 w 2830709"/>
              <a:gd name="connsiteY4" fmla="*/ 2209024 h 3360929"/>
              <a:gd name="connsiteX5" fmla="*/ 2467865 w 2830709"/>
              <a:gd name="connsiteY5" fmla="*/ 0 h 3360929"/>
              <a:gd name="connsiteX6" fmla="*/ 2749262 w 2830709"/>
              <a:gd name="connsiteY6" fmla="*/ 1436277 h 3360929"/>
              <a:gd name="connsiteX7" fmla="*/ 2828769 w 2830709"/>
              <a:gd name="connsiteY7" fmla="*/ 2091483 h 3360929"/>
              <a:gd name="connsiteX8" fmla="*/ 2522497 w 2830709"/>
              <a:gd name="connsiteY8" fmla="*/ 2964989 h 3360929"/>
              <a:gd name="connsiteX9" fmla="*/ 1861016 w 2830709"/>
              <a:gd name="connsiteY9" fmla="*/ 3328014 h 3360929"/>
              <a:gd name="connsiteX0" fmla="*/ 1861016 w 2830709"/>
              <a:gd name="connsiteY0" fmla="*/ 3328014 h 3360929"/>
              <a:gd name="connsiteX1" fmla="*/ 832092 w 2830709"/>
              <a:gd name="connsiteY1" fmla="*/ 3219563 h 3360929"/>
              <a:gd name="connsiteX2" fmla="*/ 336057 w 2830709"/>
              <a:gd name="connsiteY2" fmla="*/ 2229184 h 3360929"/>
              <a:gd name="connsiteX3" fmla="*/ 0 w 2830709"/>
              <a:gd name="connsiteY3" fmla="*/ 481954 h 3360929"/>
              <a:gd name="connsiteX4" fmla="*/ 1620462 w 2830709"/>
              <a:gd name="connsiteY4" fmla="*/ 2209024 h 3360929"/>
              <a:gd name="connsiteX5" fmla="*/ 2467865 w 2830709"/>
              <a:gd name="connsiteY5" fmla="*/ 0 h 3360929"/>
              <a:gd name="connsiteX6" fmla="*/ 2744478 w 2830709"/>
              <a:gd name="connsiteY6" fmla="*/ 1377332 h 3360929"/>
              <a:gd name="connsiteX7" fmla="*/ 2828769 w 2830709"/>
              <a:gd name="connsiteY7" fmla="*/ 2091483 h 3360929"/>
              <a:gd name="connsiteX8" fmla="*/ 2522497 w 2830709"/>
              <a:gd name="connsiteY8" fmla="*/ 2964989 h 3360929"/>
              <a:gd name="connsiteX9" fmla="*/ 1861016 w 2830709"/>
              <a:gd name="connsiteY9" fmla="*/ 3328014 h 3360929"/>
              <a:gd name="connsiteX0" fmla="*/ 1861016 w 2828818"/>
              <a:gd name="connsiteY0" fmla="*/ 3328014 h 3360929"/>
              <a:gd name="connsiteX1" fmla="*/ 832092 w 2828818"/>
              <a:gd name="connsiteY1" fmla="*/ 3219563 h 3360929"/>
              <a:gd name="connsiteX2" fmla="*/ 336057 w 2828818"/>
              <a:gd name="connsiteY2" fmla="*/ 2229184 h 3360929"/>
              <a:gd name="connsiteX3" fmla="*/ 0 w 2828818"/>
              <a:gd name="connsiteY3" fmla="*/ 481954 h 3360929"/>
              <a:gd name="connsiteX4" fmla="*/ 1620462 w 2828818"/>
              <a:gd name="connsiteY4" fmla="*/ 2209024 h 3360929"/>
              <a:gd name="connsiteX5" fmla="*/ 2467865 w 2828818"/>
              <a:gd name="connsiteY5" fmla="*/ 0 h 3360929"/>
              <a:gd name="connsiteX6" fmla="*/ 2744478 w 2828818"/>
              <a:gd name="connsiteY6" fmla="*/ 1377332 h 3360929"/>
              <a:gd name="connsiteX7" fmla="*/ 2828769 w 2828818"/>
              <a:gd name="connsiteY7" fmla="*/ 2091483 h 3360929"/>
              <a:gd name="connsiteX8" fmla="*/ 2522497 w 2828818"/>
              <a:gd name="connsiteY8" fmla="*/ 2964989 h 3360929"/>
              <a:gd name="connsiteX9" fmla="*/ 1861016 w 2828818"/>
              <a:gd name="connsiteY9" fmla="*/ 3328014 h 3360929"/>
              <a:gd name="connsiteX0" fmla="*/ 1861016 w 2828818"/>
              <a:gd name="connsiteY0" fmla="*/ 3328014 h 3360929"/>
              <a:gd name="connsiteX1" fmla="*/ 832092 w 2828818"/>
              <a:gd name="connsiteY1" fmla="*/ 3219563 h 3360929"/>
              <a:gd name="connsiteX2" fmla="*/ 336057 w 2828818"/>
              <a:gd name="connsiteY2" fmla="*/ 2229184 h 3360929"/>
              <a:gd name="connsiteX3" fmla="*/ 0 w 2828818"/>
              <a:gd name="connsiteY3" fmla="*/ 481954 h 3360929"/>
              <a:gd name="connsiteX4" fmla="*/ 1589645 w 2828818"/>
              <a:gd name="connsiteY4" fmla="*/ 2018827 h 3360929"/>
              <a:gd name="connsiteX5" fmla="*/ 2467865 w 2828818"/>
              <a:gd name="connsiteY5" fmla="*/ 0 h 3360929"/>
              <a:gd name="connsiteX6" fmla="*/ 2744478 w 2828818"/>
              <a:gd name="connsiteY6" fmla="*/ 1377332 h 3360929"/>
              <a:gd name="connsiteX7" fmla="*/ 2828769 w 2828818"/>
              <a:gd name="connsiteY7" fmla="*/ 2091483 h 3360929"/>
              <a:gd name="connsiteX8" fmla="*/ 2522497 w 2828818"/>
              <a:gd name="connsiteY8" fmla="*/ 2964989 h 3360929"/>
              <a:gd name="connsiteX9" fmla="*/ 1861016 w 2828818"/>
              <a:gd name="connsiteY9" fmla="*/ 3328014 h 3360929"/>
              <a:gd name="connsiteX0" fmla="*/ 1721722 w 2689524"/>
              <a:gd name="connsiteY0" fmla="*/ 3328014 h 3360929"/>
              <a:gd name="connsiteX1" fmla="*/ 692798 w 2689524"/>
              <a:gd name="connsiteY1" fmla="*/ 3219563 h 3360929"/>
              <a:gd name="connsiteX2" fmla="*/ 196763 w 2689524"/>
              <a:gd name="connsiteY2" fmla="*/ 2229184 h 3360929"/>
              <a:gd name="connsiteX3" fmla="*/ 0 w 2689524"/>
              <a:gd name="connsiteY3" fmla="*/ 731729 h 3360929"/>
              <a:gd name="connsiteX4" fmla="*/ 1450351 w 2689524"/>
              <a:gd name="connsiteY4" fmla="*/ 2018827 h 3360929"/>
              <a:gd name="connsiteX5" fmla="*/ 2328571 w 2689524"/>
              <a:gd name="connsiteY5" fmla="*/ 0 h 3360929"/>
              <a:gd name="connsiteX6" fmla="*/ 2605184 w 2689524"/>
              <a:gd name="connsiteY6" fmla="*/ 1377332 h 3360929"/>
              <a:gd name="connsiteX7" fmla="*/ 2689475 w 2689524"/>
              <a:gd name="connsiteY7" fmla="*/ 2091483 h 3360929"/>
              <a:gd name="connsiteX8" fmla="*/ 2383203 w 2689524"/>
              <a:gd name="connsiteY8" fmla="*/ 2964989 h 3360929"/>
              <a:gd name="connsiteX9" fmla="*/ 1721722 w 2689524"/>
              <a:gd name="connsiteY9" fmla="*/ 3328014 h 3360929"/>
              <a:gd name="connsiteX0" fmla="*/ 1721722 w 2689524"/>
              <a:gd name="connsiteY0" fmla="*/ 3048970 h 3081885"/>
              <a:gd name="connsiteX1" fmla="*/ 692798 w 2689524"/>
              <a:gd name="connsiteY1" fmla="*/ 2940519 h 3081885"/>
              <a:gd name="connsiteX2" fmla="*/ 196763 w 2689524"/>
              <a:gd name="connsiteY2" fmla="*/ 1950140 h 3081885"/>
              <a:gd name="connsiteX3" fmla="*/ 0 w 2689524"/>
              <a:gd name="connsiteY3" fmla="*/ 452685 h 3081885"/>
              <a:gd name="connsiteX4" fmla="*/ 1450351 w 2689524"/>
              <a:gd name="connsiteY4" fmla="*/ 1739783 h 3081885"/>
              <a:gd name="connsiteX5" fmla="*/ 2300667 w 2689524"/>
              <a:gd name="connsiteY5" fmla="*/ 0 h 3081885"/>
              <a:gd name="connsiteX6" fmla="*/ 2605184 w 2689524"/>
              <a:gd name="connsiteY6" fmla="*/ 1098288 h 3081885"/>
              <a:gd name="connsiteX7" fmla="*/ 2689475 w 2689524"/>
              <a:gd name="connsiteY7" fmla="*/ 1812439 h 3081885"/>
              <a:gd name="connsiteX8" fmla="*/ 2383203 w 2689524"/>
              <a:gd name="connsiteY8" fmla="*/ 2685945 h 3081885"/>
              <a:gd name="connsiteX9" fmla="*/ 1721722 w 2689524"/>
              <a:gd name="connsiteY9" fmla="*/ 3048970 h 3081885"/>
              <a:gd name="connsiteX0" fmla="*/ 1721722 w 2689524"/>
              <a:gd name="connsiteY0" fmla="*/ 3048970 h 3081885"/>
              <a:gd name="connsiteX1" fmla="*/ 692798 w 2689524"/>
              <a:gd name="connsiteY1" fmla="*/ 2940519 h 3081885"/>
              <a:gd name="connsiteX2" fmla="*/ 196763 w 2689524"/>
              <a:gd name="connsiteY2" fmla="*/ 1950140 h 3081885"/>
              <a:gd name="connsiteX3" fmla="*/ 0 w 2689524"/>
              <a:gd name="connsiteY3" fmla="*/ 452685 h 3081885"/>
              <a:gd name="connsiteX4" fmla="*/ 1450351 w 2689524"/>
              <a:gd name="connsiteY4" fmla="*/ 1739783 h 3081885"/>
              <a:gd name="connsiteX5" fmla="*/ 2300667 w 2689524"/>
              <a:gd name="connsiteY5" fmla="*/ 0 h 3081885"/>
              <a:gd name="connsiteX6" fmla="*/ 2605184 w 2689524"/>
              <a:gd name="connsiteY6" fmla="*/ 1098288 h 3081885"/>
              <a:gd name="connsiteX7" fmla="*/ 2689475 w 2689524"/>
              <a:gd name="connsiteY7" fmla="*/ 1812439 h 3081885"/>
              <a:gd name="connsiteX8" fmla="*/ 2383203 w 2689524"/>
              <a:gd name="connsiteY8" fmla="*/ 2685945 h 3081885"/>
              <a:gd name="connsiteX9" fmla="*/ 1721722 w 2689524"/>
              <a:gd name="connsiteY9" fmla="*/ 3048970 h 3081885"/>
              <a:gd name="connsiteX0" fmla="*/ 1721722 w 2689524"/>
              <a:gd name="connsiteY0" fmla="*/ 3048970 h 3081885"/>
              <a:gd name="connsiteX1" fmla="*/ 692798 w 2689524"/>
              <a:gd name="connsiteY1" fmla="*/ 2940519 h 3081885"/>
              <a:gd name="connsiteX2" fmla="*/ 196763 w 2689524"/>
              <a:gd name="connsiteY2" fmla="*/ 1950140 h 3081885"/>
              <a:gd name="connsiteX3" fmla="*/ 0 w 2689524"/>
              <a:gd name="connsiteY3" fmla="*/ 452685 h 3081885"/>
              <a:gd name="connsiteX4" fmla="*/ 1450351 w 2689524"/>
              <a:gd name="connsiteY4" fmla="*/ 1739783 h 3081885"/>
              <a:gd name="connsiteX5" fmla="*/ 2300667 w 2689524"/>
              <a:gd name="connsiteY5" fmla="*/ 0 h 3081885"/>
              <a:gd name="connsiteX6" fmla="*/ 2605184 w 2689524"/>
              <a:gd name="connsiteY6" fmla="*/ 1098288 h 3081885"/>
              <a:gd name="connsiteX7" fmla="*/ 2689475 w 2689524"/>
              <a:gd name="connsiteY7" fmla="*/ 1812439 h 3081885"/>
              <a:gd name="connsiteX8" fmla="*/ 2383203 w 2689524"/>
              <a:gd name="connsiteY8" fmla="*/ 2685945 h 3081885"/>
              <a:gd name="connsiteX9" fmla="*/ 1721722 w 2689524"/>
              <a:gd name="connsiteY9" fmla="*/ 3048970 h 3081885"/>
              <a:gd name="connsiteX0" fmla="*/ 1721722 w 2689524"/>
              <a:gd name="connsiteY0" fmla="*/ 3048970 h 3081885"/>
              <a:gd name="connsiteX1" fmla="*/ 692798 w 2689524"/>
              <a:gd name="connsiteY1" fmla="*/ 2940519 h 3081885"/>
              <a:gd name="connsiteX2" fmla="*/ 196763 w 2689524"/>
              <a:gd name="connsiteY2" fmla="*/ 1950140 h 3081885"/>
              <a:gd name="connsiteX3" fmla="*/ 0 w 2689524"/>
              <a:gd name="connsiteY3" fmla="*/ 452685 h 3081885"/>
              <a:gd name="connsiteX4" fmla="*/ 1450351 w 2689524"/>
              <a:gd name="connsiteY4" fmla="*/ 1739783 h 3081885"/>
              <a:gd name="connsiteX5" fmla="*/ 2300667 w 2689524"/>
              <a:gd name="connsiteY5" fmla="*/ 0 h 3081885"/>
              <a:gd name="connsiteX6" fmla="*/ 2605184 w 2689524"/>
              <a:gd name="connsiteY6" fmla="*/ 1098288 h 3081885"/>
              <a:gd name="connsiteX7" fmla="*/ 2689475 w 2689524"/>
              <a:gd name="connsiteY7" fmla="*/ 1812439 h 3081885"/>
              <a:gd name="connsiteX8" fmla="*/ 2383203 w 2689524"/>
              <a:gd name="connsiteY8" fmla="*/ 2685945 h 3081885"/>
              <a:gd name="connsiteX9" fmla="*/ 1721722 w 2689524"/>
              <a:gd name="connsiteY9" fmla="*/ 3048970 h 3081885"/>
              <a:gd name="connsiteX0" fmla="*/ 1721722 w 2689524"/>
              <a:gd name="connsiteY0" fmla="*/ 3048970 h 3081885"/>
              <a:gd name="connsiteX1" fmla="*/ 692798 w 2689524"/>
              <a:gd name="connsiteY1" fmla="*/ 2940519 h 3081885"/>
              <a:gd name="connsiteX2" fmla="*/ 196763 w 2689524"/>
              <a:gd name="connsiteY2" fmla="*/ 1950140 h 3081885"/>
              <a:gd name="connsiteX3" fmla="*/ 0 w 2689524"/>
              <a:gd name="connsiteY3" fmla="*/ 452685 h 3081885"/>
              <a:gd name="connsiteX4" fmla="*/ 1434392 w 2689524"/>
              <a:gd name="connsiteY4" fmla="*/ 1601965 h 3081885"/>
              <a:gd name="connsiteX5" fmla="*/ 2300667 w 2689524"/>
              <a:gd name="connsiteY5" fmla="*/ 0 h 3081885"/>
              <a:gd name="connsiteX6" fmla="*/ 2605184 w 2689524"/>
              <a:gd name="connsiteY6" fmla="*/ 1098288 h 3081885"/>
              <a:gd name="connsiteX7" fmla="*/ 2689475 w 2689524"/>
              <a:gd name="connsiteY7" fmla="*/ 1812439 h 3081885"/>
              <a:gd name="connsiteX8" fmla="*/ 2383203 w 2689524"/>
              <a:gd name="connsiteY8" fmla="*/ 2685945 h 3081885"/>
              <a:gd name="connsiteX9" fmla="*/ 1721722 w 2689524"/>
              <a:gd name="connsiteY9" fmla="*/ 3048970 h 3081885"/>
              <a:gd name="connsiteX0" fmla="*/ 1721722 w 2689524"/>
              <a:gd name="connsiteY0" fmla="*/ 3048970 h 3081885"/>
              <a:gd name="connsiteX1" fmla="*/ 692798 w 2689524"/>
              <a:gd name="connsiteY1" fmla="*/ 2940519 h 3081885"/>
              <a:gd name="connsiteX2" fmla="*/ 196763 w 2689524"/>
              <a:gd name="connsiteY2" fmla="*/ 1950140 h 3081885"/>
              <a:gd name="connsiteX3" fmla="*/ 0 w 2689524"/>
              <a:gd name="connsiteY3" fmla="*/ 452685 h 3081885"/>
              <a:gd name="connsiteX4" fmla="*/ 1434392 w 2689524"/>
              <a:gd name="connsiteY4" fmla="*/ 1601965 h 3081885"/>
              <a:gd name="connsiteX5" fmla="*/ 2300667 w 2689524"/>
              <a:gd name="connsiteY5" fmla="*/ 0 h 3081885"/>
              <a:gd name="connsiteX6" fmla="*/ 2605184 w 2689524"/>
              <a:gd name="connsiteY6" fmla="*/ 1098288 h 3081885"/>
              <a:gd name="connsiteX7" fmla="*/ 2689475 w 2689524"/>
              <a:gd name="connsiteY7" fmla="*/ 1812439 h 3081885"/>
              <a:gd name="connsiteX8" fmla="*/ 2383203 w 2689524"/>
              <a:gd name="connsiteY8" fmla="*/ 2685945 h 3081885"/>
              <a:gd name="connsiteX9" fmla="*/ 1721722 w 2689524"/>
              <a:gd name="connsiteY9" fmla="*/ 3048970 h 3081885"/>
              <a:gd name="connsiteX0" fmla="*/ 1721722 w 2689524"/>
              <a:gd name="connsiteY0" fmla="*/ 3048970 h 3081885"/>
              <a:gd name="connsiteX1" fmla="*/ 692798 w 2689524"/>
              <a:gd name="connsiteY1" fmla="*/ 2940519 h 3081885"/>
              <a:gd name="connsiteX2" fmla="*/ 196763 w 2689524"/>
              <a:gd name="connsiteY2" fmla="*/ 1950140 h 3081885"/>
              <a:gd name="connsiteX3" fmla="*/ 0 w 2689524"/>
              <a:gd name="connsiteY3" fmla="*/ 452685 h 3081885"/>
              <a:gd name="connsiteX4" fmla="*/ 1434392 w 2689524"/>
              <a:gd name="connsiteY4" fmla="*/ 1601965 h 3081885"/>
              <a:gd name="connsiteX5" fmla="*/ 2300667 w 2689524"/>
              <a:gd name="connsiteY5" fmla="*/ 0 h 3081885"/>
              <a:gd name="connsiteX6" fmla="*/ 2605184 w 2689524"/>
              <a:gd name="connsiteY6" fmla="*/ 1098288 h 3081885"/>
              <a:gd name="connsiteX7" fmla="*/ 2689475 w 2689524"/>
              <a:gd name="connsiteY7" fmla="*/ 1812439 h 3081885"/>
              <a:gd name="connsiteX8" fmla="*/ 2383203 w 2689524"/>
              <a:gd name="connsiteY8" fmla="*/ 2685945 h 3081885"/>
              <a:gd name="connsiteX9" fmla="*/ 1721722 w 2689524"/>
              <a:gd name="connsiteY9" fmla="*/ 3048970 h 3081885"/>
              <a:gd name="connsiteX0" fmla="*/ 1721722 w 2689524"/>
              <a:gd name="connsiteY0" fmla="*/ 3048970 h 3081885"/>
              <a:gd name="connsiteX1" fmla="*/ 692798 w 2689524"/>
              <a:gd name="connsiteY1" fmla="*/ 2940519 h 3081885"/>
              <a:gd name="connsiteX2" fmla="*/ 196763 w 2689524"/>
              <a:gd name="connsiteY2" fmla="*/ 1950140 h 3081885"/>
              <a:gd name="connsiteX3" fmla="*/ 0 w 2689524"/>
              <a:gd name="connsiteY3" fmla="*/ 452685 h 3081885"/>
              <a:gd name="connsiteX4" fmla="*/ 1434392 w 2689524"/>
              <a:gd name="connsiteY4" fmla="*/ 1601965 h 3081885"/>
              <a:gd name="connsiteX5" fmla="*/ 2300667 w 2689524"/>
              <a:gd name="connsiteY5" fmla="*/ 0 h 3081885"/>
              <a:gd name="connsiteX6" fmla="*/ 2605184 w 2689524"/>
              <a:gd name="connsiteY6" fmla="*/ 1098288 h 3081885"/>
              <a:gd name="connsiteX7" fmla="*/ 2689475 w 2689524"/>
              <a:gd name="connsiteY7" fmla="*/ 1812439 h 3081885"/>
              <a:gd name="connsiteX8" fmla="*/ 2383203 w 2689524"/>
              <a:gd name="connsiteY8" fmla="*/ 2685945 h 3081885"/>
              <a:gd name="connsiteX9" fmla="*/ 1721722 w 2689524"/>
              <a:gd name="connsiteY9" fmla="*/ 3048970 h 3081885"/>
              <a:gd name="connsiteX0" fmla="*/ 1721722 w 2689524"/>
              <a:gd name="connsiteY0" fmla="*/ 3048970 h 3105307"/>
              <a:gd name="connsiteX1" fmla="*/ 633527 w 2689524"/>
              <a:gd name="connsiteY1" fmla="*/ 2986647 h 3105307"/>
              <a:gd name="connsiteX2" fmla="*/ 196763 w 2689524"/>
              <a:gd name="connsiteY2" fmla="*/ 1950140 h 3105307"/>
              <a:gd name="connsiteX3" fmla="*/ 0 w 2689524"/>
              <a:gd name="connsiteY3" fmla="*/ 452685 h 3105307"/>
              <a:gd name="connsiteX4" fmla="*/ 1434392 w 2689524"/>
              <a:gd name="connsiteY4" fmla="*/ 1601965 h 3105307"/>
              <a:gd name="connsiteX5" fmla="*/ 2300667 w 2689524"/>
              <a:gd name="connsiteY5" fmla="*/ 0 h 3105307"/>
              <a:gd name="connsiteX6" fmla="*/ 2605184 w 2689524"/>
              <a:gd name="connsiteY6" fmla="*/ 1098288 h 3105307"/>
              <a:gd name="connsiteX7" fmla="*/ 2689475 w 2689524"/>
              <a:gd name="connsiteY7" fmla="*/ 1812439 h 3105307"/>
              <a:gd name="connsiteX8" fmla="*/ 2383203 w 2689524"/>
              <a:gd name="connsiteY8" fmla="*/ 2685945 h 3105307"/>
              <a:gd name="connsiteX9" fmla="*/ 1721722 w 2689524"/>
              <a:gd name="connsiteY9" fmla="*/ 3048970 h 3105307"/>
              <a:gd name="connsiteX0" fmla="*/ 1721722 w 2753276"/>
              <a:gd name="connsiteY0" fmla="*/ 3048970 h 3105307"/>
              <a:gd name="connsiteX1" fmla="*/ 633527 w 2753276"/>
              <a:gd name="connsiteY1" fmla="*/ 2986647 h 3105307"/>
              <a:gd name="connsiteX2" fmla="*/ 196763 w 2753276"/>
              <a:gd name="connsiteY2" fmla="*/ 1950140 h 3105307"/>
              <a:gd name="connsiteX3" fmla="*/ 0 w 2753276"/>
              <a:gd name="connsiteY3" fmla="*/ 452685 h 3105307"/>
              <a:gd name="connsiteX4" fmla="*/ 1434392 w 2753276"/>
              <a:gd name="connsiteY4" fmla="*/ 1601965 h 3105307"/>
              <a:gd name="connsiteX5" fmla="*/ 2300667 w 2753276"/>
              <a:gd name="connsiteY5" fmla="*/ 0 h 3105307"/>
              <a:gd name="connsiteX6" fmla="*/ 2605184 w 2753276"/>
              <a:gd name="connsiteY6" fmla="*/ 1098288 h 3105307"/>
              <a:gd name="connsiteX7" fmla="*/ 2753251 w 2753276"/>
              <a:gd name="connsiteY7" fmla="*/ 1836106 h 3105307"/>
              <a:gd name="connsiteX8" fmla="*/ 2383203 w 2753276"/>
              <a:gd name="connsiteY8" fmla="*/ 2685945 h 3105307"/>
              <a:gd name="connsiteX9" fmla="*/ 1721722 w 2753276"/>
              <a:gd name="connsiteY9" fmla="*/ 3048970 h 3105307"/>
              <a:gd name="connsiteX0" fmla="*/ 1721722 w 2753276"/>
              <a:gd name="connsiteY0" fmla="*/ 3048970 h 3105307"/>
              <a:gd name="connsiteX1" fmla="*/ 633527 w 2753276"/>
              <a:gd name="connsiteY1" fmla="*/ 2986647 h 3105307"/>
              <a:gd name="connsiteX2" fmla="*/ 196763 w 2753276"/>
              <a:gd name="connsiteY2" fmla="*/ 1950140 h 3105307"/>
              <a:gd name="connsiteX3" fmla="*/ 0 w 2753276"/>
              <a:gd name="connsiteY3" fmla="*/ 452685 h 3105307"/>
              <a:gd name="connsiteX4" fmla="*/ 1434392 w 2753276"/>
              <a:gd name="connsiteY4" fmla="*/ 1601965 h 3105307"/>
              <a:gd name="connsiteX5" fmla="*/ 2300667 w 2753276"/>
              <a:gd name="connsiteY5" fmla="*/ 0 h 3105307"/>
              <a:gd name="connsiteX6" fmla="*/ 2681366 w 2753276"/>
              <a:gd name="connsiteY6" fmla="*/ 1170525 h 3105307"/>
              <a:gd name="connsiteX7" fmla="*/ 2753251 w 2753276"/>
              <a:gd name="connsiteY7" fmla="*/ 1836106 h 3105307"/>
              <a:gd name="connsiteX8" fmla="*/ 2383203 w 2753276"/>
              <a:gd name="connsiteY8" fmla="*/ 2685945 h 3105307"/>
              <a:gd name="connsiteX9" fmla="*/ 1721722 w 2753276"/>
              <a:gd name="connsiteY9" fmla="*/ 3048970 h 3105307"/>
              <a:gd name="connsiteX0" fmla="*/ 1721722 w 2753276"/>
              <a:gd name="connsiteY0" fmla="*/ 3048970 h 3105307"/>
              <a:gd name="connsiteX1" fmla="*/ 633527 w 2753276"/>
              <a:gd name="connsiteY1" fmla="*/ 2986647 h 3105307"/>
              <a:gd name="connsiteX2" fmla="*/ 196763 w 2753276"/>
              <a:gd name="connsiteY2" fmla="*/ 1950140 h 3105307"/>
              <a:gd name="connsiteX3" fmla="*/ 0 w 2753276"/>
              <a:gd name="connsiteY3" fmla="*/ 452685 h 3105307"/>
              <a:gd name="connsiteX4" fmla="*/ 1434392 w 2753276"/>
              <a:gd name="connsiteY4" fmla="*/ 1601965 h 3105307"/>
              <a:gd name="connsiteX5" fmla="*/ 2300667 w 2753276"/>
              <a:gd name="connsiteY5" fmla="*/ 0 h 3105307"/>
              <a:gd name="connsiteX6" fmla="*/ 2681366 w 2753276"/>
              <a:gd name="connsiteY6" fmla="*/ 1170525 h 3105307"/>
              <a:gd name="connsiteX7" fmla="*/ 2753251 w 2753276"/>
              <a:gd name="connsiteY7" fmla="*/ 1836106 h 3105307"/>
              <a:gd name="connsiteX8" fmla="*/ 2383203 w 2753276"/>
              <a:gd name="connsiteY8" fmla="*/ 2685945 h 3105307"/>
              <a:gd name="connsiteX9" fmla="*/ 1721722 w 2753276"/>
              <a:gd name="connsiteY9" fmla="*/ 3048970 h 3105307"/>
              <a:gd name="connsiteX0" fmla="*/ 1721722 w 2753288"/>
              <a:gd name="connsiteY0" fmla="*/ 3048970 h 3104766"/>
              <a:gd name="connsiteX1" fmla="*/ 633527 w 2753288"/>
              <a:gd name="connsiteY1" fmla="*/ 2986647 h 3104766"/>
              <a:gd name="connsiteX2" fmla="*/ 196763 w 2753288"/>
              <a:gd name="connsiteY2" fmla="*/ 1950140 h 3104766"/>
              <a:gd name="connsiteX3" fmla="*/ 0 w 2753288"/>
              <a:gd name="connsiteY3" fmla="*/ 452685 h 3104766"/>
              <a:gd name="connsiteX4" fmla="*/ 1434392 w 2753288"/>
              <a:gd name="connsiteY4" fmla="*/ 1601965 h 3104766"/>
              <a:gd name="connsiteX5" fmla="*/ 2300667 w 2753288"/>
              <a:gd name="connsiteY5" fmla="*/ 0 h 3104766"/>
              <a:gd name="connsiteX6" fmla="*/ 2681366 w 2753288"/>
              <a:gd name="connsiteY6" fmla="*/ 1170525 h 3104766"/>
              <a:gd name="connsiteX7" fmla="*/ 2753251 w 2753288"/>
              <a:gd name="connsiteY7" fmla="*/ 1836106 h 3104766"/>
              <a:gd name="connsiteX8" fmla="*/ 2423950 w 2753288"/>
              <a:gd name="connsiteY8" fmla="*/ 2694786 h 3104766"/>
              <a:gd name="connsiteX9" fmla="*/ 1721722 w 2753288"/>
              <a:gd name="connsiteY9" fmla="*/ 3048970 h 3104766"/>
              <a:gd name="connsiteX0" fmla="*/ 1721722 w 2753288"/>
              <a:gd name="connsiteY0" fmla="*/ 3048970 h 3104764"/>
              <a:gd name="connsiteX1" fmla="*/ 633527 w 2753288"/>
              <a:gd name="connsiteY1" fmla="*/ 2986647 h 3104764"/>
              <a:gd name="connsiteX2" fmla="*/ 196763 w 2753288"/>
              <a:gd name="connsiteY2" fmla="*/ 1950140 h 3104764"/>
              <a:gd name="connsiteX3" fmla="*/ 0 w 2753288"/>
              <a:gd name="connsiteY3" fmla="*/ 452685 h 3104764"/>
              <a:gd name="connsiteX4" fmla="*/ 1434392 w 2753288"/>
              <a:gd name="connsiteY4" fmla="*/ 1601965 h 3104764"/>
              <a:gd name="connsiteX5" fmla="*/ 2300667 w 2753288"/>
              <a:gd name="connsiteY5" fmla="*/ 0 h 3104764"/>
              <a:gd name="connsiteX6" fmla="*/ 2681366 w 2753288"/>
              <a:gd name="connsiteY6" fmla="*/ 1170525 h 3104764"/>
              <a:gd name="connsiteX7" fmla="*/ 2753251 w 2753288"/>
              <a:gd name="connsiteY7" fmla="*/ 1836106 h 3104764"/>
              <a:gd name="connsiteX8" fmla="*/ 2423950 w 2753288"/>
              <a:gd name="connsiteY8" fmla="*/ 2694786 h 3104764"/>
              <a:gd name="connsiteX9" fmla="*/ 1721722 w 2753288"/>
              <a:gd name="connsiteY9" fmla="*/ 3048970 h 3104764"/>
              <a:gd name="connsiteX0" fmla="*/ 1832144 w 2863710"/>
              <a:gd name="connsiteY0" fmla="*/ 3048970 h 3104766"/>
              <a:gd name="connsiteX1" fmla="*/ 743949 w 2863710"/>
              <a:gd name="connsiteY1" fmla="*/ 2986647 h 3104766"/>
              <a:gd name="connsiteX2" fmla="*/ 307185 w 2863710"/>
              <a:gd name="connsiteY2" fmla="*/ 1950140 h 3104766"/>
              <a:gd name="connsiteX3" fmla="*/ 121564 w 2863710"/>
              <a:gd name="connsiteY3" fmla="*/ 662147 h 3104766"/>
              <a:gd name="connsiteX4" fmla="*/ 110422 w 2863710"/>
              <a:gd name="connsiteY4" fmla="*/ 452685 h 3104766"/>
              <a:gd name="connsiteX5" fmla="*/ 1544814 w 2863710"/>
              <a:gd name="connsiteY5" fmla="*/ 1601965 h 3104766"/>
              <a:gd name="connsiteX6" fmla="*/ 2411089 w 2863710"/>
              <a:gd name="connsiteY6" fmla="*/ 0 h 3104766"/>
              <a:gd name="connsiteX7" fmla="*/ 2791788 w 2863710"/>
              <a:gd name="connsiteY7" fmla="*/ 1170525 h 3104766"/>
              <a:gd name="connsiteX8" fmla="*/ 2863673 w 2863710"/>
              <a:gd name="connsiteY8" fmla="*/ 1836106 h 3104766"/>
              <a:gd name="connsiteX9" fmla="*/ 2534372 w 2863710"/>
              <a:gd name="connsiteY9" fmla="*/ 2694786 h 3104766"/>
              <a:gd name="connsiteX10" fmla="*/ 1832144 w 2863710"/>
              <a:gd name="connsiteY10" fmla="*/ 3048970 h 3104766"/>
              <a:gd name="connsiteX0" fmla="*/ 1723370 w 2754936"/>
              <a:gd name="connsiteY0" fmla="*/ 3048970 h 3104764"/>
              <a:gd name="connsiteX1" fmla="*/ 635175 w 2754936"/>
              <a:gd name="connsiteY1" fmla="*/ 2986647 h 3104764"/>
              <a:gd name="connsiteX2" fmla="*/ 198411 w 2754936"/>
              <a:gd name="connsiteY2" fmla="*/ 1950140 h 3104764"/>
              <a:gd name="connsiteX3" fmla="*/ 12790 w 2754936"/>
              <a:gd name="connsiteY3" fmla="*/ 662147 h 3104764"/>
              <a:gd name="connsiteX4" fmla="*/ 234272 w 2754936"/>
              <a:gd name="connsiteY4" fmla="*/ 575239 h 3104764"/>
              <a:gd name="connsiteX5" fmla="*/ 1436040 w 2754936"/>
              <a:gd name="connsiteY5" fmla="*/ 1601965 h 3104764"/>
              <a:gd name="connsiteX6" fmla="*/ 2302315 w 2754936"/>
              <a:gd name="connsiteY6" fmla="*/ 0 h 3104764"/>
              <a:gd name="connsiteX7" fmla="*/ 2683014 w 2754936"/>
              <a:gd name="connsiteY7" fmla="*/ 1170525 h 3104764"/>
              <a:gd name="connsiteX8" fmla="*/ 2754899 w 2754936"/>
              <a:gd name="connsiteY8" fmla="*/ 1836106 h 3104764"/>
              <a:gd name="connsiteX9" fmla="*/ 2425598 w 2754936"/>
              <a:gd name="connsiteY9" fmla="*/ 2694786 h 3104764"/>
              <a:gd name="connsiteX10" fmla="*/ 1723370 w 2754936"/>
              <a:gd name="connsiteY10" fmla="*/ 3048970 h 3104764"/>
              <a:gd name="connsiteX0" fmla="*/ 1723813 w 2755379"/>
              <a:gd name="connsiteY0" fmla="*/ 3048970 h 3104766"/>
              <a:gd name="connsiteX1" fmla="*/ 635618 w 2755379"/>
              <a:gd name="connsiteY1" fmla="*/ 2986647 h 3104766"/>
              <a:gd name="connsiteX2" fmla="*/ 198854 w 2755379"/>
              <a:gd name="connsiteY2" fmla="*/ 1950140 h 3104766"/>
              <a:gd name="connsiteX3" fmla="*/ 13233 w 2755379"/>
              <a:gd name="connsiteY3" fmla="*/ 662147 h 3104766"/>
              <a:gd name="connsiteX4" fmla="*/ 234715 w 2755379"/>
              <a:gd name="connsiteY4" fmla="*/ 575239 h 3104766"/>
              <a:gd name="connsiteX5" fmla="*/ 1436483 w 2755379"/>
              <a:gd name="connsiteY5" fmla="*/ 1601965 h 3104766"/>
              <a:gd name="connsiteX6" fmla="*/ 2302758 w 2755379"/>
              <a:gd name="connsiteY6" fmla="*/ 0 h 3104766"/>
              <a:gd name="connsiteX7" fmla="*/ 2683457 w 2755379"/>
              <a:gd name="connsiteY7" fmla="*/ 1170525 h 3104766"/>
              <a:gd name="connsiteX8" fmla="*/ 2755342 w 2755379"/>
              <a:gd name="connsiteY8" fmla="*/ 1836106 h 3104766"/>
              <a:gd name="connsiteX9" fmla="*/ 2426041 w 2755379"/>
              <a:gd name="connsiteY9" fmla="*/ 2694786 h 3104766"/>
              <a:gd name="connsiteX10" fmla="*/ 1723813 w 2755379"/>
              <a:gd name="connsiteY10" fmla="*/ 3048970 h 3104766"/>
              <a:gd name="connsiteX0" fmla="*/ 1723813 w 2755379"/>
              <a:gd name="connsiteY0" fmla="*/ 3048970 h 3104764"/>
              <a:gd name="connsiteX1" fmla="*/ 635618 w 2755379"/>
              <a:gd name="connsiteY1" fmla="*/ 2986647 h 3104764"/>
              <a:gd name="connsiteX2" fmla="*/ 198854 w 2755379"/>
              <a:gd name="connsiteY2" fmla="*/ 1950140 h 3104764"/>
              <a:gd name="connsiteX3" fmla="*/ 13233 w 2755379"/>
              <a:gd name="connsiteY3" fmla="*/ 662147 h 3104764"/>
              <a:gd name="connsiteX4" fmla="*/ 234715 w 2755379"/>
              <a:gd name="connsiteY4" fmla="*/ 575239 h 3104764"/>
              <a:gd name="connsiteX5" fmla="*/ 1436483 w 2755379"/>
              <a:gd name="connsiteY5" fmla="*/ 1601965 h 3104764"/>
              <a:gd name="connsiteX6" fmla="*/ 2302758 w 2755379"/>
              <a:gd name="connsiteY6" fmla="*/ 0 h 3104764"/>
              <a:gd name="connsiteX7" fmla="*/ 2683457 w 2755379"/>
              <a:gd name="connsiteY7" fmla="*/ 1170525 h 3104764"/>
              <a:gd name="connsiteX8" fmla="*/ 2755342 w 2755379"/>
              <a:gd name="connsiteY8" fmla="*/ 1836106 h 3104764"/>
              <a:gd name="connsiteX9" fmla="*/ 2426041 w 2755379"/>
              <a:gd name="connsiteY9" fmla="*/ 2694786 h 3104764"/>
              <a:gd name="connsiteX10" fmla="*/ 1723813 w 2755379"/>
              <a:gd name="connsiteY10" fmla="*/ 3048970 h 3104764"/>
              <a:gd name="connsiteX0" fmla="*/ 1733901 w 2765467"/>
              <a:gd name="connsiteY0" fmla="*/ 3048970 h 3104766"/>
              <a:gd name="connsiteX1" fmla="*/ 645706 w 2765467"/>
              <a:gd name="connsiteY1" fmla="*/ 2986647 h 3104766"/>
              <a:gd name="connsiteX2" fmla="*/ 208942 w 2765467"/>
              <a:gd name="connsiteY2" fmla="*/ 1950140 h 3104766"/>
              <a:gd name="connsiteX3" fmla="*/ 23321 w 2765467"/>
              <a:gd name="connsiteY3" fmla="*/ 662147 h 3104766"/>
              <a:gd name="connsiteX4" fmla="*/ 197107 w 2765467"/>
              <a:gd name="connsiteY4" fmla="*/ 568171 h 3104766"/>
              <a:gd name="connsiteX5" fmla="*/ 1446571 w 2765467"/>
              <a:gd name="connsiteY5" fmla="*/ 1601965 h 3104766"/>
              <a:gd name="connsiteX6" fmla="*/ 2312846 w 2765467"/>
              <a:gd name="connsiteY6" fmla="*/ 0 h 3104766"/>
              <a:gd name="connsiteX7" fmla="*/ 2693545 w 2765467"/>
              <a:gd name="connsiteY7" fmla="*/ 1170525 h 3104766"/>
              <a:gd name="connsiteX8" fmla="*/ 2765430 w 2765467"/>
              <a:gd name="connsiteY8" fmla="*/ 1836106 h 3104766"/>
              <a:gd name="connsiteX9" fmla="*/ 2436129 w 2765467"/>
              <a:gd name="connsiteY9" fmla="*/ 2694786 h 3104766"/>
              <a:gd name="connsiteX10" fmla="*/ 1733901 w 2765467"/>
              <a:gd name="connsiteY10" fmla="*/ 3048970 h 3104766"/>
              <a:gd name="connsiteX0" fmla="*/ 1724485 w 2756051"/>
              <a:gd name="connsiteY0" fmla="*/ 3048970 h 3104764"/>
              <a:gd name="connsiteX1" fmla="*/ 636290 w 2756051"/>
              <a:gd name="connsiteY1" fmla="*/ 2986647 h 3104764"/>
              <a:gd name="connsiteX2" fmla="*/ 199526 w 2756051"/>
              <a:gd name="connsiteY2" fmla="*/ 1950140 h 3104764"/>
              <a:gd name="connsiteX3" fmla="*/ 13905 w 2756051"/>
              <a:gd name="connsiteY3" fmla="*/ 662147 h 3104764"/>
              <a:gd name="connsiteX4" fmla="*/ 187691 w 2756051"/>
              <a:gd name="connsiteY4" fmla="*/ 568171 h 3104764"/>
              <a:gd name="connsiteX5" fmla="*/ 1437155 w 2756051"/>
              <a:gd name="connsiteY5" fmla="*/ 1601965 h 3104764"/>
              <a:gd name="connsiteX6" fmla="*/ 2303430 w 2756051"/>
              <a:gd name="connsiteY6" fmla="*/ 0 h 3104764"/>
              <a:gd name="connsiteX7" fmla="*/ 2684129 w 2756051"/>
              <a:gd name="connsiteY7" fmla="*/ 1170525 h 3104764"/>
              <a:gd name="connsiteX8" fmla="*/ 2756014 w 2756051"/>
              <a:gd name="connsiteY8" fmla="*/ 1836106 h 3104764"/>
              <a:gd name="connsiteX9" fmla="*/ 2426713 w 2756051"/>
              <a:gd name="connsiteY9" fmla="*/ 2694786 h 3104764"/>
              <a:gd name="connsiteX10" fmla="*/ 1724485 w 2756051"/>
              <a:gd name="connsiteY10" fmla="*/ 3048970 h 3104764"/>
              <a:gd name="connsiteX0" fmla="*/ 1724485 w 2756051"/>
              <a:gd name="connsiteY0" fmla="*/ 3048970 h 3104764"/>
              <a:gd name="connsiteX1" fmla="*/ 636290 w 2756051"/>
              <a:gd name="connsiteY1" fmla="*/ 2986647 h 3104764"/>
              <a:gd name="connsiteX2" fmla="*/ 199526 w 2756051"/>
              <a:gd name="connsiteY2" fmla="*/ 1950140 h 3104764"/>
              <a:gd name="connsiteX3" fmla="*/ 13905 w 2756051"/>
              <a:gd name="connsiteY3" fmla="*/ 662147 h 3104764"/>
              <a:gd name="connsiteX4" fmla="*/ 187691 w 2756051"/>
              <a:gd name="connsiteY4" fmla="*/ 568171 h 3104764"/>
              <a:gd name="connsiteX5" fmla="*/ 1466857 w 2756051"/>
              <a:gd name="connsiteY5" fmla="*/ 1895688 h 3104764"/>
              <a:gd name="connsiteX6" fmla="*/ 2303430 w 2756051"/>
              <a:gd name="connsiteY6" fmla="*/ 0 h 3104764"/>
              <a:gd name="connsiteX7" fmla="*/ 2684129 w 2756051"/>
              <a:gd name="connsiteY7" fmla="*/ 1170525 h 3104764"/>
              <a:gd name="connsiteX8" fmla="*/ 2756014 w 2756051"/>
              <a:gd name="connsiteY8" fmla="*/ 1836106 h 3104764"/>
              <a:gd name="connsiteX9" fmla="*/ 2426713 w 2756051"/>
              <a:gd name="connsiteY9" fmla="*/ 2694786 h 3104764"/>
              <a:gd name="connsiteX10" fmla="*/ 1724485 w 2756051"/>
              <a:gd name="connsiteY10" fmla="*/ 3048970 h 3104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56051" h="3104764">
                <a:moveTo>
                  <a:pt x="1724485" y="3048970"/>
                </a:moveTo>
                <a:cubicBezTo>
                  <a:pt x="1426081" y="3097614"/>
                  <a:pt x="890450" y="3169785"/>
                  <a:pt x="636290" y="2986647"/>
                </a:cubicBezTo>
                <a:cubicBezTo>
                  <a:pt x="382130" y="2803509"/>
                  <a:pt x="304348" y="2347624"/>
                  <a:pt x="199526" y="1950140"/>
                </a:cubicBezTo>
                <a:cubicBezTo>
                  <a:pt x="94704" y="1552656"/>
                  <a:pt x="46699" y="911723"/>
                  <a:pt x="13905" y="662147"/>
                </a:cubicBezTo>
                <a:cubicBezTo>
                  <a:pt x="-18889" y="412571"/>
                  <a:pt x="-5767" y="466901"/>
                  <a:pt x="187691" y="568171"/>
                </a:cubicBezTo>
                <a:cubicBezTo>
                  <a:pt x="426385" y="718543"/>
                  <a:pt x="966028" y="1274493"/>
                  <a:pt x="1466857" y="1895688"/>
                </a:cubicBezTo>
                <a:cubicBezTo>
                  <a:pt x="1695003" y="1589952"/>
                  <a:pt x="2238101" y="85449"/>
                  <a:pt x="2303430" y="0"/>
                </a:cubicBezTo>
                <a:cubicBezTo>
                  <a:pt x="2464274" y="367081"/>
                  <a:pt x="2638530" y="907149"/>
                  <a:pt x="2684129" y="1170525"/>
                </a:cubicBezTo>
                <a:lnTo>
                  <a:pt x="2756014" y="1836106"/>
                </a:lnTo>
                <a:cubicBezTo>
                  <a:pt x="2758138" y="2311745"/>
                  <a:pt x="2669555" y="2417589"/>
                  <a:pt x="2426713" y="2694786"/>
                </a:cubicBezTo>
                <a:cubicBezTo>
                  <a:pt x="2254164" y="2847789"/>
                  <a:pt x="2022889" y="3000327"/>
                  <a:pt x="1724485" y="3048970"/>
                </a:cubicBezTo>
                <a:close/>
              </a:path>
            </a:pathLst>
          </a:custGeom>
          <a:solidFill>
            <a:schemeClr val="accent3">
              <a:lumMod val="20000"/>
              <a:lumOff val="80000"/>
              <a:alpha val="3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3" name="Freeform: Shape 22">
            <a:extLst>
              <a:ext uri="{FF2B5EF4-FFF2-40B4-BE49-F238E27FC236}">
                <a16:creationId xmlns:a16="http://schemas.microsoft.com/office/drawing/2014/main" id="{65EA55DA-978E-CF15-1103-467BC1F478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478977">
            <a:off x="11214870" y="5925276"/>
            <a:ext cx="351312" cy="354664"/>
          </a:xfrm>
          <a:custGeom>
            <a:avLst/>
            <a:gdLst>
              <a:gd name="connsiteX0" fmla="*/ 2531073 w 4828010"/>
              <a:gd name="connsiteY0" fmla="*/ 0 h 4873559"/>
              <a:gd name="connsiteX1" fmla="*/ 3937963 w 4828010"/>
              <a:gd name="connsiteY1" fmla="*/ 437433 h 4873559"/>
              <a:gd name="connsiteX2" fmla="*/ 4806231 w 4828010"/>
              <a:gd name="connsiteY2" fmla="*/ 1773180 h 4873559"/>
              <a:gd name="connsiteX3" fmla="*/ 4448644 w 4828010"/>
              <a:gd name="connsiteY3" fmla="*/ 3933235 h 4873559"/>
              <a:gd name="connsiteX4" fmla="*/ 3192542 w 4828010"/>
              <a:gd name="connsiteY4" fmla="*/ 4716168 h 4873559"/>
              <a:gd name="connsiteX5" fmla="*/ 937448 w 4828010"/>
              <a:gd name="connsiteY5" fmla="*/ 4547691 h 4873559"/>
              <a:gd name="connsiteX6" fmla="*/ 12348 w 4828010"/>
              <a:gd name="connsiteY6" fmla="*/ 3026750 h 4873559"/>
              <a:gd name="connsiteX7" fmla="*/ 553508 w 4828010"/>
              <a:gd name="connsiteY7" fmla="*/ 740383 h 4873559"/>
              <a:gd name="connsiteX8" fmla="*/ 2531073 w 4828010"/>
              <a:gd name="connsiteY8" fmla="*/ 0 h 4873559"/>
              <a:gd name="connsiteX0" fmla="*/ 2531073 w 4828010"/>
              <a:gd name="connsiteY0" fmla="*/ 0 h 4853896"/>
              <a:gd name="connsiteX1" fmla="*/ 3937963 w 4828010"/>
              <a:gd name="connsiteY1" fmla="*/ 437433 h 4853896"/>
              <a:gd name="connsiteX2" fmla="*/ 4806231 w 4828010"/>
              <a:gd name="connsiteY2" fmla="*/ 1773180 h 4853896"/>
              <a:gd name="connsiteX3" fmla="*/ 4448644 w 4828010"/>
              <a:gd name="connsiteY3" fmla="*/ 3933235 h 4853896"/>
              <a:gd name="connsiteX4" fmla="*/ 3192542 w 4828010"/>
              <a:gd name="connsiteY4" fmla="*/ 4716168 h 4853896"/>
              <a:gd name="connsiteX5" fmla="*/ 1075671 w 4828010"/>
              <a:gd name="connsiteY5" fmla="*/ 4473263 h 4853896"/>
              <a:gd name="connsiteX6" fmla="*/ 12348 w 4828010"/>
              <a:gd name="connsiteY6" fmla="*/ 3026750 h 4853896"/>
              <a:gd name="connsiteX7" fmla="*/ 553508 w 4828010"/>
              <a:gd name="connsiteY7" fmla="*/ 740383 h 4853896"/>
              <a:gd name="connsiteX8" fmla="*/ 2531073 w 4828010"/>
              <a:gd name="connsiteY8" fmla="*/ 0 h 4853896"/>
              <a:gd name="connsiteX0" fmla="*/ 2531073 w 4828010"/>
              <a:gd name="connsiteY0" fmla="*/ 0 h 4852652"/>
              <a:gd name="connsiteX1" fmla="*/ 3937963 w 4828010"/>
              <a:gd name="connsiteY1" fmla="*/ 437433 h 4852652"/>
              <a:gd name="connsiteX2" fmla="*/ 4806231 w 4828010"/>
              <a:gd name="connsiteY2" fmla="*/ 1773180 h 4852652"/>
              <a:gd name="connsiteX3" fmla="*/ 4448644 w 4828010"/>
              <a:gd name="connsiteY3" fmla="*/ 3933235 h 4852652"/>
              <a:gd name="connsiteX4" fmla="*/ 3192542 w 4828010"/>
              <a:gd name="connsiteY4" fmla="*/ 4716168 h 4852652"/>
              <a:gd name="connsiteX5" fmla="*/ 1160732 w 4828010"/>
              <a:gd name="connsiteY5" fmla="*/ 4467947 h 4852652"/>
              <a:gd name="connsiteX6" fmla="*/ 12348 w 4828010"/>
              <a:gd name="connsiteY6" fmla="*/ 3026750 h 4852652"/>
              <a:gd name="connsiteX7" fmla="*/ 553508 w 4828010"/>
              <a:gd name="connsiteY7" fmla="*/ 740383 h 4852652"/>
              <a:gd name="connsiteX8" fmla="*/ 2531073 w 4828010"/>
              <a:gd name="connsiteY8" fmla="*/ 0 h 4852652"/>
              <a:gd name="connsiteX0" fmla="*/ 2531073 w 4828010"/>
              <a:gd name="connsiteY0" fmla="*/ 0 h 4852652"/>
              <a:gd name="connsiteX1" fmla="*/ 3937963 w 4828010"/>
              <a:gd name="connsiteY1" fmla="*/ 437433 h 4852652"/>
              <a:gd name="connsiteX2" fmla="*/ 4806231 w 4828010"/>
              <a:gd name="connsiteY2" fmla="*/ 1773180 h 4852652"/>
              <a:gd name="connsiteX3" fmla="*/ 4448644 w 4828010"/>
              <a:gd name="connsiteY3" fmla="*/ 3933235 h 4852652"/>
              <a:gd name="connsiteX4" fmla="*/ 3192542 w 4828010"/>
              <a:gd name="connsiteY4" fmla="*/ 4716168 h 4852652"/>
              <a:gd name="connsiteX5" fmla="*/ 1160732 w 4828010"/>
              <a:gd name="connsiteY5" fmla="*/ 4467947 h 4852652"/>
              <a:gd name="connsiteX6" fmla="*/ 12348 w 4828010"/>
              <a:gd name="connsiteY6" fmla="*/ 3026750 h 4852652"/>
              <a:gd name="connsiteX7" fmla="*/ 553508 w 4828010"/>
              <a:gd name="connsiteY7" fmla="*/ 740383 h 4852652"/>
              <a:gd name="connsiteX8" fmla="*/ 2531073 w 4828010"/>
              <a:gd name="connsiteY8" fmla="*/ 0 h 4852652"/>
              <a:gd name="connsiteX0" fmla="*/ 2460239 w 4757176"/>
              <a:gd name="connsiteY0" fmla="*/ 0 h 4850182"/>
              <a:gd name="connsiteX1" fmla="*/ 3867129 w 4757176"/>
              <a:gd name="connsiteY1" fmla="*/ 437433 h 4850182"/>
              <a:gd name="connsiteX2" fmla="*/ 4735397 w 4757176"/>
              <a:gd name="connsiteY2" fmla="*/ 1773180 h 4850182"/>
              <a:gd name="connsiteX3" fmla="*/ 4377810 w 4757176"/>
              <a:gd name="connsiteY3" fmla="*/ 3933235 h 4850182"/>
              <a:gd name="connsiteX4" fmla="*/ 3121708 w 4757176"/>
              <a:gd name="connsiteY4" fmla="*/ 4716168 h 4850182"/>
              <a:gd name="connsiteX5" fmla="*/ 1089898 w 4757176"/>
              <a:gd name="connsiteY5" fmla="*/ 4467947 h 4850182"/>
              <a:gd name="connsiteX6" fmla="*/ 15942 w 4757176"/>
              <a:gd name="connsiteY6" fmla="*/ 3101178 h 4850182"/>
              <a:gd name="connsiteX7" fmla="*/ 482674 w 4757176"/>
              <a:gd name="connsiteY7" fmla="*/ 740383 h 4850182"/>
              <a:gd name="connsiteX8" fmla="*/ 2460239 w 4757176"/>
              <a:gd name="connsiteY8" fmla="*/ 0 h 4850182"/>
              <a:gd name="connsiteX0" fmla="*/ 2460239 w 4757176"/>
              <a:gd name="connsiteY0" fmla="*/ 0 h 4850182"/>
              <a:gd name="connsiteX1" fmla="*/ 3867129 w 4757176"/>
              <a:gd name="connsiteY1" fmla="*/ 437433 h 4850182"/>
              <a:gd name="connsiteX2" fmla="*/ 4735397 w 4757176"/>
              <a:gd name="connsiteY2" fmla="*/ 1773180 h 4850182"/>
              <a:gd name="connsiteX3" fmla="*/ 4377810 w 4757176"/>
              <a:gd name="connsiteY3" fmla="*/ 3933235 h 4850182"/>
              <a:gd name="connsiteX4" fmla="*/ 3121708 w 4757176"/>
              <a:gd name="connsiteY4" fmla="*/ 4716168 h 4850182"/>
              <a:gd name="connsiteX5" fmla="*/ 1089898 w 4757176"/>
              <a:gd name="connsiteY5" fmla="*/ 4467947 h 4850182"/>
              <a:gd name="connsiteX6" fmla="*/ 15942 w 4757176"/>
              <a:gd name="connsiteY6" fmla="*/ 3101178 h 4850182"/>
              <a:gd name="connsiteX7" fmla="*/ 482674 w 4757176"/>
              <a:gd name="connsiteY7" fmla="*/ 740383 h 4850182"/>
              <a:gd name="connsiteX8" fmla="*/ 2460239 w 4757176"/>
              <a:gd name="connsiteY8" fmla="*/ 0 h 4850182"/>
              <a:gd name="connsiteX0" fmla="*/ 2484014 w 4780951"/>
              <a:gd name="connsiteY0" fmla="*/ 0 h 4850182"/>
              <a:gd name="connsiteX1" fmla="*/ 3890904 w 4780951"/>
              <a:gd name="connsiteY1" fmla="*/ 437433 h 4850182"/>
              <a:gd name="connsiteX2" fmla="*/ 4759172 w 4780951"/>
              <a:gd name="connsiteY2" fmla="*/ 1773180 h 4850182"/>
              <a:gd name="connsiteX3" fmla="*/ 4401585 w 4780951"/>
              <a:gd name="connsiteY3" fmla="*/ 3933235 h 4850182"/>
              <a:gd name="connsiteX4" fmla="*/ 3145483 w 4780951"/>
              <a:gd name="connsiteY4" fmla="*/ 4716168 h 4850182"/>
              <a:gd name="connsiteX5" fmla="*/ 1113673 w 4780951"/>
              <a:gd name="connsiteY5" fmla="*/ 4467947 h 4850182"/>
              <a:gd name="connsiteX6" fmla="*/ 39717 w 4780951"/>
              <a:gd name="connsiteY6" fmla="*/ 3101178 h 4850182"/>
              <a:gd name="connsiteX7" fmla="*/ 506449 w 4780951"/>
              <a:gd name="connsiteY7" fmla="*/ 740383 h 4850182"/>
              <a:gd name="connsiteX8" fmla="*/ 2484014 w 4780951"/>
              <a:gd name="connsiteY8" fmla="*/ 0 h 4850182"/>
              <a:gd name="connsiteX0" fmla="*/ 2484014 w 4780127"/>
              <a:gd name="connsiteY0" fmla="*/ 0 h 4850182"/>
              <a:gd name="connsiteX1" fmla="*/ 3890904 w 4780127"/>
              <a:gd name="connsiteY1" fmla="*/ 437433 h 4850182"/>
              <a:gd name="connsiteX2" fmla="*/ 4759172 w 4780127"/>
              <a:gd name="connsiteY2" fmla="*/ 1773180 h 4850182"/>
              <a:gd name="connsiteX3" fmla="*/ 4390953 w 4780127"/>
              <a:gd name="connsiteY3" fmla="*/ 3805644 h 4850182"/>
              <a:gd name="connsiteX4" fmla="*/ 3145483 w 4780127"/>
              <a:gd name="connsiteY4" fmla="*/ 4716168 h 4850182"/>
              <a:gd name="connsiteX5" fmla="*/ 1113673 w 4780127"/>
              <a:gd name="connsiteY5" fmla="*/ 4467947 h 4850182"/>
              <a:gd name="connsiteX6" fmla="*/ 39717 w 4780127"/>
              <a:gd name="connsiteY6" fmla="*/ 3101178 h 4850182"/>
              <a:gd name="connsiteX7" fmla="*/ 506449 w 4780127"/>
              <a:gd name="connsiteY7" fmla="*/ 740383 h 4850182"/>
              <a:gd name="connsiteX8" fmla="*/ 2484014 w 4780127"/>
              <a:gd name="connsiteY8" fmla="*/ 0 h 4850182"/>
              <a:gd name="connsiteX0" fmla="*/ 2484014 w 4778010"/>
              <a:gd name="connsiteY0" fmla="*/ 0 h 4846926"/>
              <a:gd name="connsiteX1" fmla="*/ 3890904 w 4778010"/>
              <a:gd name="connsiteY1" fmla="*/ 437433 h 4846926"/>
              <a:gd name="connsiteX2" fmla="*/ 4759172 w 4778010"/>
              <a:gd name="connsiteY2" fmla="*/ 1773180 h 4846926"/>
              <a:gd name="connsiteX3" fmla="*/ 4390953 w 4778010"/>
              <a:gd name="connsiteY3" fmla="*/ 3805644 h 4846926"/>
              <a:gd name="connsiteX4" fmla="*/ 3343914 w 4778010"/>
              <a:gd name="connsiteY4" fmla="*/ 4712128 h 4846926"/>
              <a:gd name="connsiteX5" fmla="*/ 1113673 w 4778010"/>
              <a:gd name="connsiteY5" fmla="*/ 4467947 h 4846926"/>
              <a:gd name="connsiteX6" fmla="*/ 39717 w 4778010"/>
              <a:gd name="connsiteY6" fmla="*/ 3101178 h 4846926"/>
              <a:gd name="connsiteX7" fmla="*/ 506449 w 4778010"/>
              <a:gd name="connsiteY7" fmla="*/ 740383 h 4846926"/>
              <a:gd name="connsiteX8" fmla="*/ 2484014 w 4778010"/>
              <a:gd name="connsiteY8" fmla="*/ 0 h 4846926"/>
              <a:gd name="connsiteX0" fmla="*/ 2484014 w 4782503"/>
              <a:gd name="connsiteY0" fmla="*/ 0 h 4846926"/>
              <a:gd name="connsiteX1" fmla="*/ 3890904 w 4782503"/>
              <a:gd name="connsiteY1" fmla="*/ 437433 h 4846926"/>
              <a:gd name="connsiteX2" fmla="*/ 4759172 w 4782503"/>
              <a:gd name="connsiteY2" fmla="*/ 1773180 h 4846926"/>
              <a:gd name="connsiteX3" fmla="*/ 4450482 w 4782503"/>
              <a:gd name="connsiteY3" fmla="*/ 3688481 h 4846926"/>
              <a:gd name="connsiteX4" fmla="*/ 3343914 w 4782503"/>
              <a:gd name="connsiteY4" fmla="*/ 4712128 h 4846926"/>
              <a:gd name="connsiteX5" fmla="*/ 1113673 w 4782503"/>
              <a:gd name="connsiteY5" fmla="*/ 4467947 h 4846926"/>
              <a:gd name="connsiteX6" fmla="*/ 39717 w 4782503"/>
              <a:gd name="connsiteY6" fmla="*/ 3101178 h 4846926"/>
              <a:gd name="connsiteX7" fmla="*/ 506449 w 4782503"/>
              <a:gd name="connsiteY7" fmla="*/ 740383 h 4846926"/>
              <a:gd name="connsiteX8" fmla="*/ 2484014 w 4782503"/>
              <a:gd name="connsiteY8" fmla="*/ 0 h 4846926"/>
              <a:gd name="connsiteX0" fmla="*/ 2484014 w 4784889"/>
              <a:gd name="connsiteY0" fmla="*/ 0 h 4846926"/>
              <a:gd name="connsiteX1" fmla="*/ 3890904 w 4784889"/>
              <a:gd name="connsiteY1" fmla="*/ 437433 h 4846926"/>
              <a:gd name="connsiteX2" fmla="*/ 4759172 w 4784889"/>
              <a:gd name="connsiteY2" fmla="*/ 1773180 h 4846926"/>
              <a:gd name="connsiteX3" fmla="*/ 4474294 w 4784889"/>
              <a:gd name="connsiteY3" fmla="*/ 3676361 h 4846926"/>
              <a:gd name="connsiteX4" fmla="*/ 3343914 w 4784889"/>
              <a:gd name="connsiteY4" fmla="*/ 4712128 h 4846926"/>
              <a:gd name="connsiteX5" fmla="*/ 1113673 w 4784889"/>
              <a:gd name="connsiteY5" fmla="*/ 4467947 h 4846926"/>
              <a:gd name="connsiteX6" fmla="*/ 39717 w 4784889"/>
              <a:gd name="connsiteY6" fmla="*/ 3101178 h 4846926"/>
              <a:gd name="connsiteX7" fmla="*/ 506449 w 4784889"/>
              <a:gd name="connsiteY7" fmla="*/ 740383 h 4846926"/>
              <a:gd name="connsiteX8" fmla="*/ 2484014 w 4784889"/>
              <a:gd name="connsiteY8" fmla="*/ 0 h 4846926"/>
              <a:gd name="connsiteX0" fmla="*/ 2484014 w 4784889"/>
              <a:gd name="connsiteY0" fmla="*/ 0 h 4860980"/>
              <a:gd name="connsiteX1" fmla="*/ 3890904 w 4784889"/>
              <a:gd name="connsiteY1" fmla="*/ 437433 h 4860980"/>
              <a:gd name="connsiteX2" fmla="*/ 4759172 w 4784889"/>
              <a:gd name="connsiteY2" fmla="*/ 1773180 h 4860980"/>
              <a:gd name="connsiteX3" fmla="*/ 4474294 w 4784889"/>
              <a:gd name="connsiteY3" fmla="*/ 3676361 h 4860980"/>
              <a:gd name="connsiteX4" fmla="*/ 3343914 w 4784889"/>
              <a:gd name="connsiteY4" fmla="*/ 4712128 h 4860980"/>
              <a:gd name="connsiteX5" fmla="*/ 1097799 w 4784889"/>
              <a:gd name="connsiteY5" fmla="*/ 4524510 h 4860980"/>
              <a:gd name="connsiteX6" fmla="*/ 39717 w 4784889"/>
              <a:gd name="connsiteY6" fmla="*/ 3101178 h 4860980"/>
              <a:gd name="connsiteX7" fmla="*/ 506449 w 4784889"/>
              <a:gd name="connsiteY7" fmla="*/ 740383 h 4860980"/>
              <a:gd name="connsiteX8" fmla="*/ 2484014 w 4784889"/>
              <a:gd name="connsiteY8" fmla="*/ 0 h 4860980"/>
              <a:gd name="connsiteX0" fmla="*/ 2484014 w 4783308"/>
              <a:gd name="connsiteY0" fmla="*/ 0 h 4860981"/>
              <a:gd name="connsiteX1" fmla="*/ 3890904 w 4783308"/>
              <a:gd name="connsiteY1" fmla="*/ 437433 h 4860981"/>
              <a:gd name="connsiteX2" fmla="*/ 4759172 w 4783308"/>
              <a:gd name="connsiteY2" fmla="*/ 1773180 h 4860981"/>
              <a:gd name="connsiteX3" fmla="*/ 4474294 w 4783308"/>
              <a:gd name="connsiteY3" fmla="*/ 3676361 h 4860981"/>
              <a:gd name="connsiteX4" fmla="*/ 3443129 w 4783308"/>
              <a:gd name="connsiteY4" fmla="*/ 4712129 h 4860981"/>
              <a:gd name="connsiteX5" fmla="*/ 1097799 w 4783308"/>
              <a:gd name="connsiteY5" fmla="*/ 4524510 h 4860981"/>
              <a:gd name="connsiteX6" fmla="*/ 39717 w 4783308"/>
              <a:gd name="connsiteY6" fmla="*/ 3101178 h 4860981"/>
              <a:gd name="connsiteX7" fmla="*/ 506449 w 4783308"/>
              <a:gd name="connsiteY7" fmla="*/ 740383 h 4860981"/>
              <a:gd name="connsiteX8" fmla="*/ 2484014 w 4783308"/>
              <a:gd name="connsiteY8" fmla="*/ 0 h 4860981"/>
              <a:gd name="connsiteX0" fmla="*/ 2484014 w 4783308"/>
              <a:gd name="connsiteY0" fmla="*/ 0 h 4821502"/>
              <a:gd name="connsiteX1" fmla="*/ 3890904 w 4783308"/>
              <a:gd name="connsiteY1" fmla="*/ 437433 h 4821502"/>
              <a:gd name="connsiteX2" fmla="*/ 4759172 w 4783308"/>
              <a:gd name="connsiteY2" fmla="*/ 1773180 h 4821502"/>
              <a:gd name="connsiteX3" fmla="*/ 4474294 w 4783308"/>
              <a:gd name="connsiteY3" fmla="*/ 3676361 h 4821502"/>
              <a:gd name="connsiteX4" fmla="*/ 3443129 w 4783308"/>
              <a:gd name="connsiteY4" fmla="*/ 4712129 h 4821502"/>
              <a:gd name="connsiteX5" fmla="*/ 1097799 w 4783308"/>
              <a:gd name="connsiteY5" fmla="*/ 4524510 h 4821502"/>
              <a:gd name="connsiteX6" fmla="*/ 39717 w 4783308"/>
              <a:gd name="connsiteY6" fmla="*/ 3101178 h 4821502"/>
              <a:gd name="connsiteX7" fmla="*/ 506449 w 4783308"/>
              <a:gd name="connsiteY7" fmla="*/ 740383 h 4821502"/>
              <a:gd name="connsiteX8" fmla="*/ 2484014 w 4783308"/>
              <a:gd name="connsiteY8" fmla="*/ 0 h 4821502"/>
              <a:gd name="connsiteX0" fmla="*/ 2484014 w 4783308"/>
              <a:gd name="connsiteY0" fmla="*/ 0 h 4821502"/>
              <a:gd name="connsiteX1" fmla="*/ 3890904 w 4783308"/>
              <a:gd name="connsiteY1" fmla="*/ 437433 h 4821502"/>
              <a:gd name="connsiteX2" fmla="*/ 4759172 w 4783308"/>
              <a:gd name="connsiteY2" fmla="*/ 1773180 h 4821502"/>
              <a:gd name="connsiteX3" fmla="*/ 4474294 w 4783308"/>
              <a:gd name="connsiteY3" fmla="*/ 3676361 h 4821502"/>
              <a:gd name="connsiteX4" fmla="*/ 3443129 w 4783308"/>
              <a:gd name="connsiteY4" fmla="*/ 4712129 h 4821502"/>
              <a:gd name="connsiteX5" fmla="*/ 1097799 w 4783308"/>
              <a:gd name="connsiteY5" fmla="*/ 4524510 h 4821502"/>
              <a:gd name="connsiteX6" fmla="*/ 39717 w 4783308"/>
              <a:gd name="connsiteY6" fmla="*/ 3101178 h 4821502"/>
              <a:gd name="connsiteX7" fmla="*/ 506449 w 4783308"/>
              <a:gd name="connsiteY7" fmla="*/ 740383 h 4821502"/>
              <a:gd name="connsiteX8" fmla="*/ 2484014 w 4783308"/>
              <a:gd name="connsiteY8" fmla="*/ 0 h 4821502"/>
              <a:gd name="connsiteX0" fmla="*/ 2532073 w 4784141"/>
              <a:gd name="connsiteY0" fmla="*/ 0 h 4773425"/>
              <a:gd name="connsiteX1" fmla="*/ 3891737 w 4784141"/>
              <a:gd name="connsiteY1" fmla="*/ 389356 h 4773425"/>
              <a:gd name="connsiteX2" fmla="*/ 4760005 w 4784141"/>
              <a:gd name="connsiteY2" fmla="*/ 1725103 h 4773425"/>
              <a:gd name="connsiteX3" fmla="*/ 4475127 w 4784141"/>
              <a:gd name="connsiteY3" fmla="*/ 3628284 h 4773425"/>
              <a:gd name="connsiteX4" fmla="*/ 3443962 w 4784141"/>
              <a:gd name="connsiteY4" fmla="*/ 4664052 h 4773425"/>
              <a:gd name="connsiteX5" fmla="*/ 1098632 w 4784141"/>
              <a:gd name="connsiteY5" fmla="*/ 4476433 h 4773425"/>
              <a:gd name="connsiteX6" fmla="*/ 40550 w 4784141"/>
              <a:gd name="connsiteY6" fmla="*/ 3053101 h 4773425"/>
              <a:gd name="connsiteX7" fmla="*/ 507282 w 4784141"/>
              <a:gd name="connsiteY7" fmla="*/ 692306 h 4773425"/>
              <a:gd name="connsiteX8" fmla="*/ 2532073 w 4784141"/>
              <a:gd name="connsiteY8" fmla="*/ 0 h 4773425"/>
              <a:gd name="connsiteX0" fmla="*/ 2532073 w 4784141"/>
              <a:gd name="connsiteY0" fmla="*/ 491 h 4773916"/>
              <a:gd name="connsiteX1" fmla="*/ 3891737 w 4784141"/>
              <a:gd name="connsiteY1" fmla="*/ 389847 h 4773916"/>
              <a:gd name="connsiteX2" fmla="*/ 4760005 w 4784141"/>
              <a:gd name="connsiteY2" fmla="*/ 1725594 h 4773916"/>
              <a:gd name="connsiteX3" fmla="*/ 4475127 w 4784141"/>
              <a:gd name="connsiteY3" fmla="*/ 3628775 h 4773916"/>
              <a:gd name="connsiteX4" fmla="*/ 3443962 w 4784141"/>
              <a:gd name="connsiteY4" fmla="*/ 4664543 h 4773916"/>
              <a:gd name="connsiteX5" fmla="*/ 1098632 w 4784141"/>
              <a:gd name="connsiteY5" fmla="*/ 4476924 h 4773916"/>
              <a:gd name="connsiteX6" fmla="*/ 40550 w 4784141"/>
              <a:gd name="connsiteY6" fmla="*/ 3053592 h 4773916"/>
              <a:gd name="connsiteX7" fmla="*/ 507282 w 4784141"/>
              <a:gd name="connsiteY7" fmla="*/ 692797 h 4773916"/>
              <a:gd name="connsiteX8" fmla="*/ 2532073 w 4784141"/>
              <a:gd name="connsiteY8" fmla="*/ 491 h 4773916"/>
              <a:gd name="connsiteX0" fmla="*/ 2532073 w 4784141"/>
              <a:gd name="connsiteY0" fmla="*/ 491 h 4773916"/>
              <a:gd name="connsiteX1" fmla="*/ 3891737 w 4784141"/>
              <a:gd name="connsiteY1" fmla="*/ 389847 h 4773916"/>
              <a:gd name="connsiteX2" fmla="*/ 4760005 w 4784141"/>
              <a:gd name="connsiteY2" fmla="*/ 1725594 h 4773916"/>
              <a:gd name="connsiteX3" fmla="*/ 4475127 w 4784141"/>
              <a:gd name="connsiteY3" fmla="*/ 3628775 h 4773916"/>
              <a:gd name="connsiteX4" fmla="*/ 3443962 w 4784141"/>
              <a:gd name="connsiteY4" fmla="*/ 4664543 h 4773916"/>
              <a:gd name="connsiteX5" fmla="*/ 1098632 w 4784141"/>
              <a:gd name="connsiteY5" fmla="*/ 4476924 h 4773916"/>
              <a:gd name="connsiteX6" fmla="*/ 40550 w 4784141"/>
              <a:gd name="connsiteY6" fmla="*/ 3053592 h 4773916"/>
              <a:gd name="connsiteX7" fmla="*/ 507282 w 4784141"/>
              <a:gd name="connsiteY7" fmla="*/ 692797 h 4773916"/>
              <a:gd name="connsiteX8" fmla="*/ 2532073 w 4784141"/>
              <a:gd name="connsiteY8" fmla="*/ 491 h 4773916"/>
              <a:gd name="connsiteX0" fmla="*/ 2558783 w 4784614"/>
              <a:gd name="connsiteY0" fmla="*/ 525 h 4757924"/>
              <a:gd name="connsiteX1" fmla="*/ 3892210 w 4784614"/>
              <a:gd name="connsiteY1" fmla="*/ 373855 h 4757924"/>
              <a:gd name="connsiteX2" fmla="*/ 4760478 w 4784614"/>
              <a:gd name="connsiteY2" fmla="*/ 1709602 h 4757924"/>
              <a:gd name="connsiteX3" fmla="*/ 4475600 w 4784614"/>
              <a:gd name="connsiteY3" fmla="*/ 3612783 h 4757924"/>
              <a:gd name="connsiteX4" fmla="*/ 3444435 w 4784614"/>
              <a:gd name="connsiteY4" fmla="*/ 4648551 h 4757924"/>
              <a:gd name="connsiteX5" fmla="*/ 1099105 w 4784614"/>
              <a:gd name="connsiteY5" fmla="*/ 4460932 h 4757924"/>
              <a:gd name="connsiteX6" fmla="*/ 41023 w 4784614"/>
              <a:gd name="connsiteY6" fmla="*/ 3037600 h 4757924"/>
              <a:gd name="connsiteX7" fmla="*/ 507755 w 4784614"/>
              <a:gd name="connsiteY7" fmla="*/ 676805 h 4757924"/>
              <a:gd name="connsiteX8" fmla="*/ 2558783 w 4784614"/>
              <a:gd name="connsiteY8" fmla="*/ 525 h 4757924"/>
              <a:gd name="connsiteX0" fmla="*/ 2558783 w 4784614"/>
              <a:gd name="connsiteY0" fmla="*/ 408 h 4757807"/>
              <a:gd name="connsiteX1" fmla="*/ 3907953 w 4784614"/>
              <a:gd name="connsiteY1" fmla="*/ 443183 h 4757807"/>
              <a:gd name="connsiteX2" fmla="*/ 4760478 w 4784614"/>
              <a:gd name="connsiteY2" fmla="*/ 1709485 h 4757807"/>
              <a:gd name="connsiteX3" fmla="*/ 4475600 w 4784614"/>
              <a:gd name="connsiteY3" fmla="*/ 3612666 h 4757807"/>
              <a:gd name="connsiteX4" fmla="*/ 3444435 w 4784614"/>
              <a:gd name="connsiteY4" fmla="*/ 4648434 h 4757807"/>
              <a:gd name="connsiteX5" fmla="*/ 1099105 w 4784614"/>
              <a:gd name="connsiteY5" fmla="*/ 4460815 h 4757807"/>
              <a:gd name="connsiteX6" fmla="*/ 41023 w 4784614"/>
              <a:gd name="connsiteY6" fmla="*/ 3037483 h 4757807"/>
              <a:gd name="connsiteX7" fmla="*/ 507755 w 4784614"/>
              <a:gd name="connsiteY7" fmla="*/ 676688 h 4757807"/>
              <a:gd name="connsiteX8" fmla="*/ 2558783 w 4784614"/>
              <a:gd name="connsiteY8" fmla="*/ 408 h 4757807"/>
              <a:gd name="connsiteX0" fmla="*/ 2675744 w 4786788"/>
              <a:gd name="connsiteY0" fmla="*/ 250 h 4954478"/>
              <a:gd name="connsiteX1" fmla="*/ 3910127 w 4786788"/>
              <a:gd name="connsiteY1" fmla="*/ 639854 h 4954478"/>
              <a:gd name="connsiteX2" fmla="*/ 4762652 w 4786788"/>
              <a:gd name="connsiteY2" fmla="*/ 1906156 h 4954478"/>
              <a:gd name="connsiteX3" fmla="*/ 4477774 w 4786788"/>
              <a:gd name="connsiteY3" fmla="*/ 3809337 h 4954478"/>
              <a:gd name="connsiteX4" fmla="*/ 3446609 w 4786788"/>
              <a:gd name="connsiteY4" fmla="*/ 4845105 h 4954478"/>
              <a:gd name="connsiteX5" fmla="*/ 1101279 w 4786788"/>
              <a:gd name="connsiteY5" fmla="*/ 4657486 h 4954478"/>
              <a:gd name="connsiteX6" fmla="*/ 43197 w 4786788"/>
              <a:gd name="connsiteY6" fmla="*/ 3234154 h 4954478"/>
              <a:gd name="connsiteX7" fmla="*/ 509929 w 4786788"/>
              <a:gd name="connsiteY7" fmla="*/ 873359 h 4954478"/>
              <a:gd name="connsiteX8" fmla="*/ 2675744 w 4786788"/>
              <a:gd name="connsiteY8" fmla="*/ 250 h 4954478"/>
              <a:gd name="connsiteX0" fmla="*/ 2675744 w 4786788"/>
              <a:gd name="connsiteY0" fmla="*/ 250 h 4954478"/>
              <a:gd name="connsiteX1" fmla="*/ 3910127 w 4786788"/>
              <a:gd name="connsiteY1" fmla="*/ 639854 h 4954478"/>
              <a:gd name="connsiteX2" fmla="*/ 4762652 w 4786788"/>
              <a:gd name="connsiteY2" fmla="*/ 1906156 h 4954478"/>
              <a:gd name="connsiteX3" fmla="*/ 4477774 w 4786788"/>
              <a:gd name="connsiteY3" fmla="*/ 3809337 h 4954478"/>
              <a:gd name="connsiteX4" fmla="*/ 3446609 w 4786788"/>
              <a:gd name="connsiteY4" fmla="*/ 4845105 h 4954478"/>
              <a:gd name="connsiteX5" fmla="*/ 1101279 w 4786788"/>
              <a:gd name="connsiteY5" fmla="*/ 4657486 h 4954478"/>
              <a:gd name="connsiteX6" fmla="*/ 43197 w 4786788"/>
              <a:gd name="connsiteY6" fmla="*/ 3234154 h 4954478"/>
              <a:gd name="connsiteX7" fmla="*/ 509929 w 4786788"/>
              <a:gd name="connsiteY7" fmla="*/ 873359 h 4954478"/>
              <a:gd name="connsiteX8" fmla="*/ 2675744 w 4786788"/>
              <a:gd name="connsiteY8" fmla="*/ 250 h 4954478"/>
              <a:gd name="connsiteX0" fmla="*/ 2675744 w 4786788"/>
              <a:gd name="connsiteY0" fmla="*/ 290 h 4954518"/>
              <a:gd name="connsiteX1" fmla="*/ 3910127 w 4786788"/>
              <a:gd name="connsiteY1" fmla="*/ 639894 h 4954518"/>
              <a:gd name="connsiteX2" fmla="*/ 4762652 w 4786788"/>
              <a:gd name="connsiteY2" fmla="*/ 1906196 h 4954518"/>
              <a:gd name="connsiteX3" fmla="*/ 4477774 w 4786788"/>
              <a:gd name="connsiteY3" fmla="*/ 3809377 h 4954518"/>
              <a:gd name="connsiteX4" fmla="*/ 3446609 w 4786788"/>
              <a:gd name="connsiteY4" fmla="*/ 4845145 h 4954518"/>
              <a:gd name="connsiteX5" fmla="*/ 1101279 w 4786788"/>
              <a:gd name="connsiteY5" fmla="*/ 4657526 h 4954518"/>
              <a:gd name="connsiteX6" fmla="*/ 43197 w 4786788"/>
              <a:gd name="connsiteY6" fmla="*/ 3234194 h 4954518"/>
              <a:gd name="connsiteX7" fmla="*/ 509929 w 4786788"/>
              <a:gd name="connsiteY7" fmla="*/ 873399 h 4954518"/>
              <a:gd name="connsiteX8" fmla="*/ 2675744 w 4786788"/>
              <a:gd name="connsiteY8" fmla="*/ 290 h 4954518"/>
              <a:gd name="connsiteX0" fmla="*/ 2675744 w 4786788"/>
              <a:gd name="connsiteY0" fmla="*/ 326 h 4954554"/>
              <a:gd name="connsiteX1" fmla="*/ 3990884 w 4786788"/>
              <a:gd name="connsiteY1" fmla="*/ 591130 h 4954554"/>
              <a:gd name="connsiteX2" fmla="*/ 4762652 w 4786788"/>
              <a:gd name="connsiteY2" fmla="*/ 1906232 h 4954554"/>
              <a:gd name="connsiteX3" fmla="*/ 4477774 w 4786788"/>
              <a:gd name="connsiteY3" fmla="*/ 3809413 h 4954554"/>
              <a:gd name="connsiteX4" fmla="*/ 3446609 w 4786788"/>
              <a:gd name="connsiteY4" fmla="*/ 4845181 h 4954554"/>
              <a:gd name="connsiteX5" fmla="*/ 1101279 w 4786788"/>
              <a:gd name="connsiteY5" fmla="*/ 4657562 h 4954554"/>
              <a:gd name="connsiteX6" fmla="*/ 43197 w 4786788"/>
              <a:gd name="connsiteY6" fmla="*/ 3234230 h 4954554"/>
              <a:gd name="connsiteX7" fmla="*/ 509929 w 4786788"/>
              <a:gd name="connsiteY7" fmla="*/ 873435 h 4954554"/>
              <a:gd name="connsiteX8" fmla="*/ 2675744 w 4786788"/>
              <a:gd name="connsiteY8" fmla="*/ 326 h 4954554"/>
              <a:gd name="connsiteX0" fmla="*/ 2662196 w 4773240"/>
              <a:gd name="connsiteY0" fmla="*/ 326 h 4954554"/>
              <a:gd name="connsiteX1" fmla="*/ 3977336 w 4773240"/>
              <a:gd name="connsiteY1" fmla="*/ 591130 h 4954554"/>
              <a:gd name="connsiteX2" fmla="*/ 4749104 w 4773240"/>
              <a:gd name="connsiteY2" fmla="*/ 1906232 h 4954554"/>
              <a:gd name="connsiteX3" fmla="*/ 4464226 w 4773240"/>
              <a:gd name="connsiteY3" fmla="*/ 3809413 h 4954554"/>
              <a:gd name="connsiteX4" fmla="*/ 3433061 w 4773240"/>
              <a:gd name="connsiteY4" fmla="*/ 4845181 h 4954554"/>
              <a:gd name="connsiteX5" fmla="*/ 1087731 w 4773240"/>
              <a:gd name="connsiteY5" fmla="*/ 4657562 h 4954554"/>
              <a:gd name="connsiteX6" fmla="*/ 29649 w 4773240"/>
              <a:gd name="connsiteY6" fmla="*/ 3234230 h 4954554"/>
              <a:gd name="connsiteX7" fmla="*/ 640977 w 4773240"/>
              <a:gd name="connsiteY7" fmla="*/ 730117 h 4954554"/>
              <a:gd name="connsiteX8" fmla="*/ 2662196 w 4773240"/>
              <a:gd name="connsiteY8" fmla="*/ 326 h 4954554"/>
              <a:gd name="connsiteX0" fmla="*/ 2664762 w 4775806"/>
              <a:gd name="connsiteY0" fmla="*/ 326 h 4954554"/>
              <a:gd name="connsiteX1" fmla="*/ 3979902 w 4775806"/>
              <a:gd name="connsiteY1" fmla="*/ 591130 h 4954554"/>
              <a:gd name="connsiteX2" fmla="*/ 4751670 w 4775806"/>
              <a:gd name="connsiteY2" fmla="*/ 1906232 h 4954554"/>
              <a:gd name="connsiteX3" fmla="*/ 4466792 w 4775806"/>
              <a:gd name="connsiteY3" fmla="*/ 3809413 h 4954554"/>
              <a:gd name="connsiteX4" fmla="*/ 3435627 w 4775806"/>
              <a:gd name="connsiteY4" fmla="*/ 4845181 h 4954554"/>
              <a:gd name="connsiteX5" fmla="*/ 1090297 w 4775806"/>
              <a:gd name="connsiteY5" fmla="*/ 4657562 h 4954554"/>
              <a:gd name="connsiteX6" fmla="*/ 32215 w 4775806"/>
              <a:gd name="connsiteY6" fmla="*/ 3234230 h 4954554"/>
              <a:gd name="connsiteX7" fmla="*/ 607899 w 4775806"/>
              <a:gd name="connsiteY7" fmla="*/ 806182 h 4954554"/>
              <a:gd name="connsiteX8" fmla="*/ 2664762 w 4775806"/>
              <a:gd name="connsiteY8" fmla="*/ 326 h 4954554"/>
              <a:gd name="connsiteX0" fmla="*/ 2673549 w 4784593"/>
              <a:gd name="connsiteY0" fmla="*/ 326 h 4954554"/>
              <a:gd name="connsiteX1" fmla="*/ 3988689 w 4784593"/>
              <a:gd name="connsiteY1" fmla="*/ 591130 h 4954554"/>
              <a:gd name="connsiteX2" fmla="*/ 4760457 w 4784593"/>
              <a:gd name="connsiteY2" fmla="*/ 1906232 h 4954554"/>
              <a:gd name="connsiteX3" fmla="*/ 4475579 w 4784593"/>
              <a:gd name="connsiteY3" fmla="*/ 3809413 h 4954554"/>
              <a:gd name="connsiteX4" fmla="*/ 3444414 w 4784593"/>
              <a:gd name="connsiteY4" fmla="*/ 4845181 h 4954554"/>
              <a:gd name="connsiteX5" fmla="*/ 1099084 w 4784593"/>
              <a:gd name="connsiteY5" fmla="*/ 4657562 h 4954554"/>
              <a:gd name="connsiteX6" fmla="*/ 41002 w 4784593"/>
              <a:gd name="connsiteY6" fmla="*/ 3234230 h 4954554"/>
              <a:gd name="connsiteX7" fmla="*/ 616686 w 4784593"/>
              <a:gd name="connsiteY7" fmla="*/ 806182 h 4954554"/>
              <a:gd name="connsiteX8" fmla="*/ 2673549 w 4784593"/>
              <a:gd name="connsiteY8" fmla="*/ 326 h 4954554"/>
              <a:gd name="connsiteX0" fmla="*/ 2649000 w 4760044"/>
              <a:gd name="connsiteY0" fmla="*/ 326 h 4964273"/>
              <a:gd name="connsiteX1" fmla="*/ 3964140 w 4760044"/>
              <a:gd name="connsiteY1" fmla="*/ 591130 h 4964273"/>
              <a:gd name="connsiteX2" fmla="*/ 4735908 w 4760044"/>
              <a:gd name="connsiteY2" fmla="*/ 1906232 h 4964273"/>
              <a:gd name="connsiteX3" fmla="*/ 4451030 w 4760044"/>
              <a:gd name="connsiteY3" fmla="*/ 3809413 h 4964273"/>
              <a:gd name="connsiteX4" fmla="*/ 3419865 w 4760044"/>
              <a:gd name="connsiteY4" fmla="*/ 4845181 h 4964273"/>
              <a:gd name="connsiteX5" fmla="*/ 1074535 w 4760044"/>
              <a:gd name="connsiteY5" fmla="*/ 4657562 h 4964273"/>
              <a:gd name="connsiteX6" fmla="*/ 33359 w 4760044"/>
              <a:gd name="connsiteY6" fmla="*/ 2995991 h 4964273"/>
              <a:gd name="connsiteX7" fmla="*/ 592137 w 4760044"/>
              <a:gd name="connsiteY7" fmla="*/ 806182 h 4964273"/>
              <a:gd name="connsiteX8" fmla="*/ 2649000 w 4760044"/>
              <a:gd name="connsiteY8" fmla="*/ 326 h 4964273"/>
              <a:gd name="connsiteX0" fmla="*/ 2649000 w 4760044"/>
              <a:gd name="connsiteY0" fmla="*/ 300 h 4964247"/>
              <a:gd name="connsiteX1" fmla="*/ 3813909 w 4760044"/>
              <a:gd name="connsiteY1" fmla="*/ 619239 h 4964247"/>
              <a:gd name="connsiteX2" fmla="*/ 4735908 w 4760044"/>
              <a:gd name="connsiteY2" fmla="*/ 1906206 h 4964247"/>
              <a:gd name="connsiteX3" fmla="*/ 4451030 w 4760044"/>
              <a:gd name="connsiteY3" fmla="*/ 3809387 h 4964247"/>
              <a:gd name="connsiteX4" fmla="*/ 3419865 w 4760044"/>
              <a:gd name="connsiteY4" fmla="*/ 4845155 h 4964247"/>
              <a:gd name="connsiteX5" fmla="*/ 1074535 w 4760044"/>
              <a:gd name="connsiteY5" fmla="*/ 4657536 h 4964247"/>
              <a:gd name="connsiteX6" fmla="*/ 33359 w 4760044"/>
              <a:gd name="connsiteY6" fmla="*/ 2995965 h 4964247"/>
              <a:gd name="connsiteX7" fmla="*/ 592137 w 4760044"/>
              <a:gd name="connsiteY7" fmla="*/ 806156 h 4964247"/>
              <a:gd name="connsiteX8" fmla="*/ 2649000 w 4760044"/>
              <a:gd name="connsiteY8" fmla="*/ 300 h 4964247"/>
              <a:gd name="connsiteX0" fmla="*/ 2649000 w 4849477"/>
              <a:gd name="connsiteY0" fmla="*/ -2 h 4963945"/>
              <a:gd name="connsiteX1" fmla="*/ 4735908 w 4849477"/>
              <a:gd name="connsiteY1" fmla="*/ 1905904 h 4963945"/>
              <a:gd name="connsiteX2" fmla="*/ 4451030 w 4849477"/>
              <a:gd name="connsiteY2" fmla="*/ 3809085 h 4963945"/>
              <a:gd name="connsiteX3" fmla="*/ 3419865 w 4849477"/>
              <a:gd name="connsiteY3" fmla="*/ 4844853 h 4963945"/>
              <a:gd name="connsiteX4" fmla="*/ 1074535 w 4849477"/>
              <a:gd name="connsiteY4" fmla="*/ 4657234 h 4963945"/>
              <a:gd name="connsiteX5" fmla="*/ 33359 w 4849477"/>
              <a:gd name="connsiteY5" fmla="*/ 2995663 h 4963945"/>
              <a:gd name="connsiteX6" fmla="*/ 592137 w 4849477"/>
              <a:gd name="connsiteY6" fmla="*/ 805854 h 4963945"/>
              <a:gd name="connsiteX7" fmla="*/ 2649000 w 4849477"/>
              <a:gd name="connsiteY7" fmla="*/ -2 h 4963945"/>
              <a:gd name="connsiteX0" fmla="*/ 2649000 w 4859466"/>
              <a:gd name="connsiteY0" fmla="*/ -2 h 5536260"/>
              <a:gd name="connsiteX1" fmla="*/ 4735908 w 4859466"/>
              <a:gd name="connsiteY1" fmla="*/ 1905904 h 5536260"/>
              <a:gd name="connsiteX2" fmla="*/ 4451030 w 4859466"/>
              <a:gd name="connsiteY2" fmla="*/ 3809085 h 5536260"/>
              <a:gd name="connsiteX3" fmla="*/ 3067466 w 4859466"/>
              <a:gd name="connsiteY3" fmla="*/ 5491001 h 5536260"/>
              <a:gd name="connsiteX4" fmla="*/ 1074535 w 4859466"/>
              <a:gd name="connsiteY4" fmla="*/ 4657234 h 5536260"/>
              <a:gd name="connsiteX5" fmla="*/ 33359 w 4859466"/>
              <a:gd name="connsiteY5" fmla="*/ 2995663 h 5536260"/>
              <a:gd name="connsiteX6" fmla="*/ 592137 w 4859466"/>
              <a:gd name="connsiteY6" fmla="*/ 805854 h 5536260"/>
              <a:gd name="connsiteX7" fmla="*/ 2649000 w 4859466"/>
              <a:gd name="connsiteY7" fmla="*/ -2 h 5536260"/>
              <a:gd name="connsiteX0" fmla="*/ 2780481 w 4861205"/>
              <a:gd name="connsiteY0" fmla="*/ -2 h 5864449"/>
              <a:gd name="connsiteX1" fmla="*/ 4737647 w 4861205"/>
              <a:gd name="connsiteY1" fmla="*/ 2234093 h 5864449"/>
              <a:gd name="connsiteX2" fmla="*/ 4452769 w 4861205"/>
              <a:gd name="connsiteY2" fmla="*/ 4137274 h 5864449"/>
              <a:gd name="connsiteX3" fmla="*/ 3069205 w 4861205"/>
              <a:gd name="connsiteY3" fmla="*/ 5819190 h 5864449"/>
              <a:gd name="connsiteX4" fmla="*/ 1076274 w 4861205"/>
              <a:gd name="connsiteY4" fmla="*/ 4985423 h 5864449"/>
              <a:gd name="connsiteX5" fmla="*/ 35098 w 4861205"/>
              <a:gd name="connsiteY5" fmla="*/ 3323852 h 5864449"/>
              <a:gd name="connsiteX6" fmla="*/ 593876 w 4861205"/>
              <a:gd name="connsiteY6" fmla="*/ 1134043 h 5864449"/>
              <a:gd name="connsiteX7" fmla="*/ 2780481 w 4861205"/>
              <a:gd name="connsiteY7" fmla="*/ -2 h 5864449"/>
              <a:gd name="connsiteX0" fmla="*/ 2289077 w 4369801"/>
              <a:gd name="connsiteY0" fmla="*/ -2 h 5893101"/>
              <a:gd name="connsiteX1" fmla="*/ 4246243 w 4369801"/>
              <a:gd name="connsiteY1" fmla="*/ 2234093 h 5893101"/>
              <a:gd name="connsiteX2" fmla="*/ 3961365 w 4369801"/>
              <a:gd name="connsiteY2" fmla="*/ 4137274 h 5893101"/>
              <a:gd name="connsiteX3" fmla="*/ 2577801 w 4369801"/>
              <a:gd name="connsiteY3" fmla="*/ 5819190 h 5893101"/>
              <a:gd name="connsiteX4" fmla="*/ 584870 w 4369801"/>
              <a:gd name="connsiteY4" fmla="*/ 4985423 h 5893101"/>
              <a:gd name="connsiteX5" fmla="*/ 102472 w 4369801"/>
              <a:gd name="connsiteY5" fmla="*/ 1134043 h 5893101"/>
              <a:gd name="connsiteX6" fmla="*/ 2289077 w 4369801"/>
              <a:gd name="connsiteY6" fmla="*/ -2 h 5893101"/>
              <a:gd name="connsiteX0" fmla="*/ 2352777 w 4433501"/>
              <a:gd name="connsiteY0" fmla="*/ -2 h 5854124"/>
              <a:gd name="connsiteX1" fmla="*/ 4309943 w 4433501"/>
              <a:gd name="connsiteY1" fmla="*/ 2234093 h 5854124"/>
              <a:gd name="connsiteX2" fmla="*/ 4025065 w 4433501"/>
              <a:gd name="connsiteY2" fmla="*/ 4137274 h 5854124"/>
              <a:gd name="connsiteX3" fmla="*/ 2641501 w 4433501"/>
              <a:gd name="connsiteY3" fmla="*/ 5819190 h 5854124"/>
              <a:gd name="connsiteX4" fmla="*/ 430809 w 4433501"/>
              <a:gd name="connsiteY4" fmla="*/ 4389642 h 5854124"/>
              <a:gd name="connsiteX5" fmla="*/ 166172 w 4433501"/>
              <a:gd name="connsiteY5" fmla="*/ 1134043 h 5854124"/>
              <a:gd name="connsiteX6" fmla="*/ 2352777 w 4433501"/>
              <a:gd name="connsiteY6" fmla="*/ -2 h 5854124"/>
              <a:gd name="connsiteX0" fmla="*/ 2193618 w 4274342"/>
              <a:gd name="connsiteY0" fmla="*/ -2 h 5850779"/>
              <a:gd name="connsiteX1" fmla="*/ 4150784 w 4274342"/>
              <a:gd name="connsiteY1" fmla="*/ 2234093 h 5850779"/>
              <a:gd name="connsiteX2" fmla="*/ 3865906 w 4274342"/>
              <a:gd name="connsiteY2" fmla="*/ 4137274 h 5850779"/>
              <a:gd name="connsiteX3" fmla="*/ 2482342 w 4274342"/>
              <a:gd name="connsiteY3" fmla="*/ 5819190 h 5850779"/>
              <a:gd name="connsiteX4" fmla="*/ 271650 w 4274342"/>
              <a:gd name="connsiteY4" fmla="*/ 4389642 h 5850779"/>
              <a:gd name="connsiteX5" fmla="*/ 247914 w 4274342"/>
              <a:gd name="connsiteY5" fmla="*/ 1846756 h 5850779"/>
              <a:gd name="connsiteX6" fmla="*/ 2193618 w 4274342"/>
              <a:gd name="connsiteY6" fmla="*/ -2 h 5850779"/>
              <a:gd name="connsiteX0" fmla="*/ 1967294 w 4267345"/>
              <a:gd name="connsiteY0" fmla="*/ -3 h 5416782"/>
              <a:gd name="connsiteX1" fmla="*/ 4137681 w 4267345"/>
              <a:gd name="connsiteY1" fmla="*/ 1800096 h 5416782"/>
              <a:gd name="connsiteX2" fmla="*/ 3852803 w 4267345"/>
              <a:gd name="connsiteY2" fmla="*/ 3703277 h 5416782"/>
              <a:gd name="connsiteX3" fmla="*/ 2469239 w 4267345"/>
              <a:gd name="connsiteY3" fmla="*/ 5385193 h 5416782"/>
              <a:gd name="connsiteX4" fmla="*/ 258547 w 4267345"/>
              <a:gd name="connsiteY4" fmla="*/ 3955645 h 5416782"/>
              <a:gd name="connsiteX5" fmla="*/ 234811 w 4267345"/>
              <a:gd name="connsiteY5" fmla="*/ 1412759 h 5416782"/>
              <a:gd name="connsiteX6" fmla="*/ 1967294 w 4267345"/>
              <a:gd name="connsiteY6" fmla="*/ -3 h 5416782"/>
              <a:gd name="connsiteX0" fmla="*/ 1967294 w 3964997"/>
              <a:gd name="connsiteY0" fmla="*/ -3 h 5416782"/>
              <a:gd name="connsiteX1" fmla="*/ 3668011 w 3964997"/>
              <a:gd name="connsiteY1" fmla="*/ 1478862 h 5416782"/>
              <a:gd name="connsiteX2" fmla="*/ 3852803 w 3964997"/>
              <a:gd name="connsiteY2" fmla="*/ 3703277 h 5416782"/>
              <a:gd name="connsiteX3" fmla="*/ 2469239 w 3964997"/>
              <a:gd name="connsiteY3" fmla="*/ 5385193 h 5416782"/>
              <a:gd name="connsiteX4" fmla="*/ 258547 w 3964997"/>
              <a:gd name="connsiteY4" fmla="*/ 3955645 h 5416782"/>
              <a:gd name="connsiteX5" fmla="*/ 234811 w 3964997"/>
              <a:gd name="connsiteY5" fmla="*/ 1412759 h 5416782"/>
              <a:gd name="connsiteX6" fmla="*/ 1967294 w 3964997"/>
              <a:gd name="connsiteY6" fmla="*/ -3 h 5416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64997" h="5416782">
                <a:moveTo>
                  <a:pt x="1967294" y="-3"/>
                </a:moveTo>
                <a:cubicBezTo>
                  <a:pt x="2657922" y="183339"/>
                  <a:pt x="3353760" y="861649"/>
                  <a:pt x="3668011" y="1478862"/>
                </a:cubicBezTo>
                <a:cubicBezTo>
                  <a:pt x="3982262" y="2096075"/>
                  <a:pt x="4052598" y="3052222"/>
                  <a:pt x="3852803" y="3703277"/>
                </a:cubicBezTo>
                <a:cubicBezTo>
                  <a:pt x="3653008" y="4354332"/>
                  <a:pt x="2782065" y="5270224"/>
                  <a:pt x="2469239" y="5385193"/>
                </a:cubicBezTo>
                <a:cubicBezTo>
                  <a:pt x="1758393" y="5606258"/>
                  <a:pt x="630952" y="4617717"/>
                  <a:pt x="258547" y="3955645"/>
                </a:cubicBezTo>
                <a:cubicBezTo>
                  <a:pt x="-113858" y="3293573"/>
                  <a:pt x="-49980" y="2072034"/>
                  <a:pt x="234811" y="1412759"/>
                </a:cubicBezTo>
                <a:cubicBezTo>
                  <a:pt x="519602" y="753484"/>
                  <a:pt x="1314621" y="30745"/>
                  <a:pt x="1967294" y="-3"/>
                </a:cubicBezTo>
                <a:close/>
              </a:path>
            </a:pathLst>
          </a:cu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91093815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6" name="Rectangle 45">
            <a:extLst>
              <a:ext uri="{FF2B5EF4-FFF2-40B4-BE49-F238E27FC236}">
                <a16:creationId xmlns:a16="http://schemas.microsoft.com/office/drawing/2014/main" id="{9F79630B-0F0B-446E-A637-38FA8F61D1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ectangle 47">
            <a:extLst>
              <a:ext uri="{FF2B5EF4-FFF2-40B4-BE49-F238E27FC236}">
                <a16:creationId xmlns:a16="http://schemas.microsoft.com/office/drawing/2014/main" id="{B3437C99-FC8E-4311-B48A-F0C4C329B15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028" y="-1"/>
            <a:ext cx="12192000" cy="6857999"/>
          </a:xfrm>
          <a:prstGeom prst="rect">
            <a:avLst/>
          </a:prstGeom>
          <a:solidFill>
            <a:srgbClr val="82766A">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8"/>
          <p:cNvSpPr txBox="1"/>
          <p:nvPr/>
        </p:nvSpPr>
        <p:spPr>
          <a:xfrm>
            <a:off x="1137035" y="609600"/>
            <a:ext cx="3595678" cy="1330839"/>
          </a:xfrm>
          <a:prstGeom prst="rect">
            <a:avLst/>
          </a:prstGeom>
        </p:spPr>
        <p:txBody>
          <a:bodyPr vert="horz" lIns="91440" tIns="45720" rIns="91440" bIns="45720" rtlCol="0" anchor="ctr">
            <a:normAutofit/>
          </a:bodyPr>
          <a:lstStyle/>
          <a:p>
            <a:pPr>
              <a:lnSpc>
                <a:spcPct val="90000"/>
              </a:lnSpc>
              <a:spcBef>
                <a:spcPct val="0"/>
              </a:spcBef>
              <a:spcAft>
                <a:spcPts val="600"/>
              </a:spcAft>
            </a:pPr>
            <a:r>
              <a:rPr lang="en-US" sz="4400" spc="-367">
                <a:latin typeface="+mj-lt"/>
                <a:ea typeface="+mj-ea"/>
                <a:cs typeface="+mj-cs"/>
              </a:rPr>
              <a:t>Personal Reflection</a:t>
            </a:r>
            <a:endParaRPr lang="en-US" sz="4400">
              <a:latin typeface="+mj-lt"/>
              <a:ea typeface="+mj-ea"/>
              <a:cs typeface="+mj-cs"/>
            </a:endParaRPr>
          </a:p>
        </p:txBody>
      </p:sp>
      <p:sp>
        <p:nvSpPr>
          <p:cNvPr id="7" name="Text Placeholder 10">
            <a:extLst>
              <a:ext uri="{FF2B5EF4-FFF2-40B4-BE49-F238E27FC236}">
                <a16:creationId xmlns:a16="http://schemas.microsoft.com/office/drawing/2014/main" id="{9BC6C23F-F4BF-5A0C-AE8B-E07F91CFF82C}"/>
              </a:ext>
            </a:extLst>
          </p:cNvPr>
          <p:cNvSpPr txBox="1">
            <a:spLocks/>
          </p:cNvSpPr>
          <p:nvPr/>
        </p:nvSpPr>
        <p:spPr>
          <a:xfrm>
            <a:off x="1137034" y="2194102"/>
            <a:ext cx="3072477" cy="3908586"/>
          </a:xfrm>
          <a:prstGeom prst="rect">
            <a:avLst/>
          </a:prstGeom>
        </p:spPr>
        <p:txBody>
          <a:bodyPr vert="horz" lIns="91440" tIns="45720" rIns="91440" bIns="45720" rtlCol="0" anchor="t">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indent="-228600">
              <a:lnSpc>
                <a:spcPct val="90000"/>
              </a:lnSpc>
              <a:spcAft>
                <a:spcPts val="600"/>
              </a:spcAft>
              <a:buFont typeface="Arial" panose="020B0604020202020204" pitchFamily="34" charset="0"/>
              <a:buChar char="•"/>
            </a:pPr>
            <a:r>
              <a:rPr lang="en-US" sz="2400" dirty="0">
                <a:solidFill>
                  <a:schemeClr val="tx1"/>
                </a:solidFill>
                <a:latin typeface="+mn-lt"/>
                <a:ea typeface="+mn-ea"/>
                <a:cs typeface="+mn-cs"/>
              </a:rPr>
              <a:t>Reflect on what you've discussed in the breakout</a:t>
            </a:r>
            <a:endParaRPr lang="en-US" sz="2400" dirty="0">
              <a:solidFill>
                <a:schemeClr val="tx1"/>
              </a:solidFill>
              <a:latin typeface="+mn-lt"/>
              <a:ea typeface="Calibri"/>
              <a:cs typeface="Calibri"/>
            </a:endParaRPr>
          </a:p>
          <a:p>
            <a:pPr indent="-228600">
              <a:lnSpc>
                <a:spcPct val="90000"/>
              </a:lnSpc>
              <a:spcAft>
                <a:spcPts val="600"/>
              </a:spcAft>
              <a:buFont typeface="Arial" panose="020B0604020202020204" pitchFamily="34" charset="0"/>
              <a:buChar char="•"/>
            </a:pPr>
            <a:r>
              <a:rPr lang="en-US" sz="2400" dirty="0">
                <a:solidFill>
                  <a:schemeClr val="tx1"/>
                </a:solidFill>
                <a:latin typeface="+mn-lt"/>
                <a:ea typeface="+mn-ea"/>
                <a:cs typeface="+mn-cs"/>
              </a:rPr>
              <a:t>Write down one action item for tomorrow to improve patient, family and/or community engagement for equitable care</a:t>
            </a:r>
            <a:endParaRPr lang="en-US" sz="2400" dirty="0">
              <a:solidFill>
                <a:schemeClr val="tx1"/>
              </a:solidFill>
              <a:latin typeface="+mn-lt"/>
              <a:ea typeface="Calibri"/>
              <a:cs typeface="Calibri"/>
            </a:endParaRPr>
          </a:p>
          <a:p>
            <a:pPr indent="-228600">
              <a:lnSpc>
                <a:spcPct val="90000"/>
              </a:lnSpc>
              <a:spcAft>
                <a:spcPts val="600"/>
              </a:spcAft>
              <a:buFont typeface="Arial" panose="020B0604020202020204" pitchFamily="34" charset="0"/>
              <a:buChar char="•"/>
            </a:pPr>
            <a:endParaRPr lang="en-US" sz="2000">
              <a:solidFill>
                <a:schemeClr val="tx1"/>
              </a:solidFill>
              <a:latin typeface="+mn-lt"/>
              <a:ea typeface="+mn-ea"/>
              <a:cs typeface="+mn-cs"/>
            </a:endParaRPr>
          </a:p>
        </p:txBody>
      </p:sp>
    </p:spTree>
    <p:extLst>
      <p:ext uri="{BB962C8B-B14F-4D97-AF65-F5344CB8AC3E}">
        <p14:creationId xmlns:p14="http://schemas.microsoft.com/office/powerpoint/2010/main" val="35835726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Picture 6" descr="Thank you note with a cup of coffee - ID: 107004">
            <a:extLst>
              <a:ext uri="{FF2B5EF4-FFF2-40B4-BE49-F238E27FC236}">
                <a16:creationId xmlns:a16="http://schemas.microsoft.com/office/drawing/2014/main" id="{21843B6A-1BD6-63DD-2D2F-94757F0C11B1}"/>
              </a:ext>
            </a:extLst>
          </p:cNvPr>
          <p:cNvPicPr>
            <a:picLocks noChangeAspect="1"/>
          </p:cNvPicPr>
          <p:nvPr/>
        </p:nvPicPr>
        <p:blipFill rotWithShape="1">
          <a:blip r:embed="rId2"/>
          <a:srcRect b="2609"/>
          <a:stretch/>
        </p:blipFill>
        <p:spPr>
          <a:xfrm>
            <a:off x="20" y="10"/>
            <a:ext cx="12191980" cy="3710603"/>
          </a:xfrm>
          <a:custGeom>
            <a:avLst/>
            <a:gdLst/>
            <a:ahLst/>
            <a:cxnLst/>
            <a:rect l="l" t="t" r="r" b="b"/>
            <a:pathLst>
              <a:path w="12192000" h="3692092">
                <a:moveTo>
                  <a:pt x="0" y="0"/>
                </a:moveTo>
                <a:lnTo>
                  <a:pt x="12192000" y="0"/>
                </a:lnTo>
                <a:lnTo>
                  <a:pt x="12192000" y="3504824"/>
                </a:lnTo>
                <a:lnTo>
                  <a:pt x="12024691" y="3517794"/>
                </a:lnTo>
                <a:cubicBezTo>
                  <a:pt x="8077523" y="3783195"/>
                  <a:pt x="4094678" y="3026959"/>
                  <a:pt x="160485" y="3663863"/>
                </a:cubicBezTo>
                <a:lnTo>
                  <a:pt x="0" y="3692092"/>
                </a:lnTo>
                <a:close/>
              </a:path>
            </a:pathLst>
          </a:custGeom>
        </p:spPr>
      </p:pic>
      <p:sp>
        <p:nvSpPr>
          <p:cNvPr id="3" name="Content Placeholder 2">
            <a:extLst>
              <a:ext uri="{FF2B5EF4-FFF2-40B4-BE49-F238E27FC236}">
                <a16:creationId xmlns:a16="http://schemas.microsoft.com/office/drawing/2014/main" id="{1E0FB995-5DD8-5081-A69E-96B5869B0012}"/>
              </a:ext>
            </a:extLst>
          </p:cNvPr>
          <p:cNvSpPr>
            <a:spLocks noGrp="1"/>
          </p:cNvSpPr>
          <p:nvPr>
            <p:ph idx="1"/>
          </p:nvPr>
        </p:nvSpPr>
        <p:spPr>
          <a:xfrm>
            <a:off x="747358" y="3967163"/>
            <a:ext cx="10962037" cy="2476499"/>
          </a:xfrm>
        </p:spPr>
        <p:txBody>
          <a:bodyPr vert="horz" lIns="91440" tIns="45720" rIns="91440" bIns="45720" rtlCol="0" anchor="ctr">
            <a:normAutofit/>
          </a:bodyPr>
          <a:lstStyle/>
          <a:p>
            <a:pPr marL="0" indent="0" algn="ctr">
              <a:buNone/>
            </a:pPr>
            <a:r>
              <a:rPr lang="en-US" sz="3200" b="1">
                <a:solidFill>
                  <a:schemeClr val="accent1"/>
                </a:solidFill>
                <a:ea typeface="Lato"/>
                <a:cs typeface="Calibri"/>
              </a:rPr>
              <a:t>We look forward to continuing this great work together in 2024 and thank you for your continued support and dedication to make Illinois the best place to give birth and be born! </a:t>
            </a:r>
            <a:endParaRPr lang="en-US" sz="3200" b="1">
              <a:solidFill>
                <a:schemeClr val="accent1"/>
              </a:solidFill>
              <a:ea typeface="Lato"/>
              <a:cs typeface="+mn-lt"/>
            </a:endParaRPr>
          </a:p>
          <a:p>
            <a:pPr marL="0" indent="0">
              <a:buNone/>
            </a:pPr>
            <a:endParaRPr lang="en-US" sz="1800"/>
          </a:p>
        </p:txBody>
      </p:sp>
      <p:sp>
        <p:nvSpPr>
          <p:cNvPr id="5" name="Footer Placeholder 4">
            <a:extLst>
              <a:ext uri="{FF2B5EF4-FFF2-40B4-BE49-F238E27FC236}">
                <a16:creationId xmlns:a16="http://schemas.microsoft.com/office/drawing/2014/main" id="{38CD5E16-C217-E2C5-E58E-C7C2C28FA242}"/>
              </a:ext>
            </a:extLst>
          </p:cNvPr>
          <p:cNvSpPr>
            <a:spLocks noGrp="1"/>
          </p:cNvSpPr>
          <p:nvPr>
            <p:ph type="ftr" sz="quarter" idx="11"/>
          </p:nvPr>
        </p:nvSpPr>
        <p:spPr>
          <a:xfrm>
            <a:off x="4038600" y="6356350"/>
            <a:ext cx="4114800" cy="365125"/>
          </a:xfrm>
        </p:spPr>
        <p:txBody>
          <a:bodyPr>
            <a:normAutofit/>
          </a:bodyPr>
          <a:lstStyle/>
          <a:p>
            <a:pPr>
              <a:spcAft>
                <a:spcPts val="600"/>
              </a:spcAft>
            </a:pPr>
            <a:r>
              <a:rPr lang="en-US">
                <a:solidFill>
                  <a:schemeClr val="tx1">
                    <a:lumMod val="75000"/>
                    <a:lumOff val="25000"/>
                  </a:schemeClr>
                </a:solidFill>
              </a:rPr>
              <a:t>Illinois Perinatal Quality Collaborative</a:t>
            </a:r>
          </a:p>
        </p:txBody>
      </p:sp>
      <p:sp>
        <p:nvSpPr>
          <p:cNvPr id="4" name="Slide Number Placeholder 3">
            <a:extLst>
              <a:ext uri="{FF2B5EF4-FFF2-40B4-BE49-F238E27FC236}">
                <a16:creationId xmlns:a16="http://schemas.microsoft.com/office/drawing/2014/main" id="{97BA95EB-6423-FFF2-5F25-1FA3A8D2E08A}"/>
              </a:ext>
            </a:extLst>
          </p:cNvPr>
          <p:cNvSpPr>
            <a:spLocks noGrp="1"/>
          </p:cNvSpPr>
          <p:nvPr>
            <p:ph type="sldNum" sz="quarter" idx="10"/>
          </p:nvPr>
        </p:nvSpPr>
        <p:spPr>
          <a:xfrm>
            <a:off x="8864600" y="6356350"/>
            <a:ext cx="2743200" cy="365125"/>
          </a:xfrm>
        </p:spPr>
        <p:txBody>
          <a:bodyPr>
            <a:normAutofit/>
          </a:bodyPr>
          <a:lstStyle/>
          <a:p>
            <a:pPr>
              <a:spcAft>
                <a:spcPts val="600"/>
              </a:spcAft>
            </a:pPr>
            <a:fld id="{97033E4B-E3EB-3D46-B2D8-3159663620FA}" type="slidenum">
              <a:rPr lang="en-US" dirty="0">
                <a:solidFill>
                  <a:schemeClr val="tx1">
                    <a:lumMod val="75000"/>
                    <a:lumOff val="25000"/>
                  </a:schemeClr>
                </a:solidFill>
              </a:rPr>
              <a:pPr>
                <a:spcAft>
                  <a:spcPts val="600"/>
                </a:spcAft>
              </a:pPr>
              <a:t>35</a:t>
            </a:fld>
            <a:endParaRPr lang="en-US" dirty="0">
              <a:solidFill>
                <a:schemeClr val="tx1">
                  <a:lumMod val="75000"/>
                  <a:lumOff val="25000"/>
                </a:schemeClr>
              </a:solidFill>
            </a:endParaRPr>
          </a:p>
        </p:txBody>
      </p:sp>
    </p:spTree>
    <p:extLst>
      <p:ext uri="{BB962C8B-B14F-4D97-AF65-F5344CB8AC3E}">
        <p14:creationId xmlns:p14="http://schemas.microsoft.com/office/powerpoint/2010/main" val="38323748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F2F5FF"/>
        </a:solidFill>
        <a:effectLst/>
      </p:bgPr>
    </p:bg>
    <p:spTree>
      <p:nvGrpSpPr>
        <p:cNvPr id="1" name=""/>
        <p:cNvGrpSpPr/>
        <p:nvPr/>
      </p:nvGrpSpPr>
      <p:grpSpPr>
        <a:xfrm>
          <a:off x="0" y="0"/>
          <a:ext cx="0" cy="0"/>
          <a:chOff x="0" y="0"/>
          <a:chExt cx="0" cy="0"/>
        </a:xfrm>
      </p:grpSpPr>
      <p:sp>
        <p:nvSpPr>
          <p:cNvPr id="2" name="Freeform 2"/>
          <p:cNvSpPr/>
          <p:nvPr/>
        </p:nvSpPr>
        <p:spPr>
          <a:xfrm>
            <a:off x="1336674" y="1550229"/>
            <a:ext cx="3027790" cy="1416510"/>
          </a:xfrm>
          <a:custGeom>
            <a:avLst/>
            <a:gdLst/>
            <a:ahLst/>
            <a:cxnLst/>
            <a:rect l="l" t="t" r="r" b="b"/>
            <a:pathLst>
              <a:path w="4541685" h="2124765">
                <a:moveTo>
                  <a:pt x="0" y="0"/>
                </a:moveTo>
                <a:lnTo>
                  <a:pt x="4541685" y="0"/>
                </a:lnTo>
                <a:lnTo>
                  <a:pt x="4541685" y="2124765"/>
                </a:lnTo>
                <a:lnTo>
                  <a:pt x="0" y="2124765"/>
                </a:lnTo>
                <a:lnTo>
                  <a:pt x="0" y="0"/>
                </a:lnTo>
                <a:close/>
              </a:path>
            </a:pathLst>
          </a:custGeom>
          <a:blipFill>
            <a:blip r:embed="rId2"/>
            <a:stretch>
              <a:fillRect/>
            </a:stretch>
          </a:blipFill>
        </p:spPr>
      </p:sp>
      <p:grpSp>
        <p:nvGrpSpPr>
          <p:cNvPr id="3" name="Group 3"/>
          <p:cNvGrpSpPr/>
          <p:nvPr/>
        </p:nvGrpSpPr>
        <p:grpSpPr>
          <a:xfrm>
            <a:off x="238317" y="3188989"/>
            <a:ext cx="5883121" cy="2700867"/>
            <a:chOff x="0" y="0"/>
            <a:chExt cx="2324196" cy="1067009"/>
          </a:xfrm>
        </p:grpSpPr>
        <p:sp>
          <p:nvSpPr>
            <p:cNvPr id="4" name="Freeform 4"/>
            <p:cNvSpPr/>
            <p:nvPr/>
          </p:nvSpPr>
          <p:spPr>
            <a:xfrm>
              <a:off x="0" y="0"/>
              <a:ext cx="2324196" cy="1067009"/>
            </a:xfrm>
            <a:custGeom>
              <a:avLst/>
              <a:gdLst/>
              <a:ahLst/>
              <a:cxnLst/>
              <a:rect l="l" t="t" r="r" b="b"/>
              <a:pathLst>
                <a:path w="2324196" h="1067009">
                  <a:moveTo>
                    <a:pt x="44742" y="0"/>
                  </a:moveTo>
                  <a:lnTo>
                    <a:pt x="2279454" y="0"/>
                  </a:lnTo>
                  <a:cubicBezTo>
                    <a:pt x="2304164" y="0"/>
                    <a:pt x="2324196" y="20032"/>
                    <a:pt x="2324196" y="44742"/>
                  </a:cubicBezTo>
                  <a:lnTo>
                    <a:pt x="2324196" y="1022267"/>
                  </a:lnTo>
                  <a:cubicBezTo>
                    <a:pt x="2324196" y="1046977"/>
                    <a:pt x="2304164" y="1067009"/>
                    <a:pt x="2279454" y="1067009"/>
                  </a:cubicBezTo>
                  <a:lnTo>
                    <a:pt x="44742" y="1067009"/>
                  </a:lnTo>
                  <a:cubicBezTo>
                    <a:pt x="20032" y="1067009"/>
                    <a:pt x="0" y="1046977"/>
                    <a:pt x="0" y="1022267"/>
                  </a:cubicBezTo>
                  <a:lnTo>
                    <a:pt x="0" y="44742"/>
                  </a:lnTo>
                  <a:cubicBezTo>
                    <a:pt x="0" y="20032"/>
                    <a:pt x="20032" y="0"/>
                    <a:pt x="44742" y="0"/>
                  </a:cubicBezTo>
                  <a:close/>
                </a:path>
              </a:pathLst>
            </a:custGeom>
            <a:solidFill>
              <a:srgbClr val="000000">
                <a:alpha val="0"/>
              </a:srgbClr>
            </a:solidFill>
            <a:ln w="133350" cap="rnd">
              <a:solidFill>
                <a:srgbClr val="144B90"/>
              </a:solidFill>
              <a:prstDash val="solid"/>
              <a:round/>
            </a:ln>
          </p:spPr>
        </p:sp>
        <p:sp>
          <p:nvSpPr>
            <p:cNvPr id="5" name="TextBox 5"/>
            <p:cNvSpPr txBox="1"/>
            <p:nvPr/>
          </p:nvSpPr>
          <p:spPr>
            <a:xfrm>
              <a:off x="0" y="-38100"/>
              <a:ext cx="2324196" cy="1105109"/>
            </a:xfrm>
            <a:prstGeom prst="rect">
              <a:avLst/>
            </a:prstGeom>
          </p:spPr>
          <p:txBody>
            <a:bodyPr lIns="33867" tIns="33867" rIns="33867" bIns="33867" rtlCol="0" anchor="ctr"/>
            <a:lstStyle/>
            <a:p>
              <a:pPr algn="ctr">
                <a:lnSpc>
                  <a:spcPts val="1773"/>
                </a:lnSpc>
              </a:pPr>
              <a:endParaRPr sz="800"/>
            </a:p>
          </p:txBody>
        </p:sp>
      </p:grpSp>
      <p:sp>
        <p:nvSpPr>
          <p:cNvPr id="6" name="Freeform 6"/>
          <p:cNvSpPr/>
          <p:nvPr/>
        </p:nvSpPr>
        <p:spPr>
          <a:xfrm flipH="1">
            <a:off x="6500845" y="3539704"/>
            <a:ext cx="5435579" cy="1983986"/>
          </a:xfrm>
          <a:custGeom>
            <a:avLst/>
            <a:gdLst/>
            <a:ahLst/>
            <a:cxnLst/>
            <a:rect l="l" t="t" r="r" b="b"/>
            <a:pathLst>
              <a:path w="8153368" h="2975979">
                <a:moveTo>
                  <a:pt x="8153368" y="0"/>
                </a:moveTo>
                <a:lnTo>
                  <a:pt x="0" y="0"/>
                </a:lnTo>
                <a:lnTo>
                  <a:pt x="0" y="2975979"/>
                </a:lnTo>
                <a:lnTo>
                  <a:pt x="8153368" y="2975979"/>
                </a:lnTo>
                <a:lnTo>
                  <a:pt x="8153368"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7" name="TextBox 7"/>
          <p:cNvSpPr txBox="1"/>
          <p:nvPr/>
        </p:nvSpPr>
        <p:spPr>
          <a:xfrm>
            <a:off x="4372039" y="1760750"/>
            <a:ext cx="7955264" cy="1103828"/>
          </a:xfrm>
          <a:prstGeom prst="rect">
            <a:avLst/>
          </a:prstGeom>
        </p:spPr>
        <p:txBody>
          <a:bodyPr lIns="0" tIns="0" rIns="0" bIns="0" rtlCol="0" anchor="t">
            <a:spAutoFit/>
          </a:bodyPr>
          <a:lstStyle/>
          <a:p>
            <a:pPr>
              <a:lnSpc>
                <a:spcPts val="4192"/>
              </a:lnSpc>
            </a:pPr>
            <a:r>
              <a:rPr lang="en-US" sz="4192" b="1" spc="318">
                <a:solidFill>
                  <a:srgbClr val="F3866A"/>
                </a:solidFill>
                <a:latin typeface="Prompt Bold"/>
              </a:rPr>
              <a:t>2024 OB &amp; Neonatal </a:t>
            </a:r>
          </a:p>
          <a:p>
            <a:pPr>
              <a:lnSpc>
                <a:spcPts val="4192"/>
              </a:lnSpc>
            </a:pPr>
            <a:r>
              <a:rPr lang="en-US" sz="4192" b="1" spc="318">
                <a:solidFill>
                  <a:srgbClr val="F3866A"/>
                </a:solidFill>
                <a:latin typeface="Prompt Bold"/>
              </a:rPr>
              <a:t>Face-to-Face Meetings</a:t>
            </a:r>
          </a:p>
        </p:txBody>
      </p:sp>
      <p:sp>
        <p:nvSpPr>
          <p:cNvPr id="8" name="TextBox 8"/>
          <p:cNvSpPr txBox="1"/>
          <p:nvPr/>
        </p:nvSpPr>
        <p:spPr>
          <a:xfrm>
            <a:off x="1336674" y="649404"/>
            <a:ext cx="9245237" cy="1143518"/>
          </a:xfrm>
          <a:prstGeom prst="rect">
            <a:avLst/>
          </a:prstGeom>
        </p:spPr>
        <p:txBody>
          <a:bodyPr lIns="0" tIns="0" rIns="0" bIns="0" rtlCol="0" anchor="t">
            <a:spAutoFit/>
          </a:bodyPr>
          <a:lstStyle/>
          <a:p>
            <a:pPr algn="ctr">
              <a:lnSpc>
                <a:spcPts val="8092"/>
              </a:lnSpc>
            </a:pPr>
            <a:r>
              <a:rPr lang="en-US" sz="9868" spc="957">
                <a:solidFill>
                  <a:srgbClr val="144B90"/>
                </a:solidFill>
                <a:latin typeface="Staatliches"/>
              </a:rPr>
              <a:t>save the date</a:t>
            </a:r>
          </a:p>
        </p:txBody>
      </p:sp>
      <p:sp>
        <p:nvSpPr>
          <p:cNvPr id="9" name="TextBox 9"/>
          <p:cNvSpPr txBox="1"/>
          <p:nvPr/>
        </p:nvSpPr>
        <p:spPr>
          <a:xfrm>
            <a:off x="765565" y="6080356"/>
            <a:ext cx="10660871" cy="349519"/>
          </a:xfrm>
          <a:prstGeom prst="rect">
            <a:avLst/>
          </a:prstGeom>
        </p:spPr>
        <p:txBody>
          <a:bodyPr lIns="0" tIns="0" rIns="0" bIns="0" rtlCol="0" anchor="t">
            <a:spAutoFit/>
          </a:bodyPr>
          <a:lstStyle/>
          <a:p>
            <a:pPr algn="ctr">
              <a:lnSpc>
                <a:spcPts val="2918"/>
              </a:lnSpc>
            </a:pPr>
            <a:r>
              <a:rPr lang="en-US" sz="2085" i="1">
                <a:solidFill>
                  <a:srgbClr val="144B90"/>
                </a:solidFill>
                <a:latin typeface="Prompt Italics"/>
              </a:rPr>
              <a:t>Join us for an interactive day of collaborative learning with the ILPQC initiative!</a:t>
            </a:r>
          </a:p>
        </p:txBody>
      </p:sp>
      <p:sp>
        <p:nvSpPr>
          <p:cNvPr id="10" name="TextBox 10"/>
          <p:cNvSpPr txBox="1"/>
          <p:nvPr/>
        </p:nvSpPr>
        <p:spPr>
          <a:xfrm>
            <a:off x="575189" y="3864626"/>
            <a:ext cx="2720421" cy="360163"/>
          </a:xfrm>
          <a:prstGeom prst="rect">
            <a:avLst/>
          </a:prstGeom>
        </p:spPr>
        <p:txBody>
          <a:bodyPr lIns="0" tIns="0" rIns="0" bIns="0" rtlCol="0" anchor="t">
            <a:spAutoFit/>
          </a:bodyPr>
          <a:lstStyle/>
          <a:p>
            <a:pPr>
              <a:lnSpc>
                <a:spcPts val="2879"/>
              </a:lnSpc>
            </a:pPr>
            <a:r>
              <a:rPr lang="en-US" sz="2399">
                <a:solidFill>
                  <a:srgbClr val="6C94CD"/>
                </a:solidFill>
                <a:latin typeface="Cambria"/>
                <a:ea typeface="Cambria"/>
              </a:rPr>
              <a:t>MAY 22ND, 2024</a:t>
            </a:r>
          </a:p>
        </p:txBody>
      </p:sp>
      <p:sp>
        <p:nvSpPr>
          <p:cNvPr id="11" name="TextBox 11"/>
          <p:cNvSpPr txBox="1"/>
          <p:nvPr/>
        </p:nvSpPr>
        <p:spPr>
          <a:xfrm>
            <a:off x="555911" y="3539704"/>
            <a:ext cx="2108092" cy="360163"/>
          </a:xfrm>
          <a:prstGeom prst="rect">
            <a:avLst/>
          </a:prstGeom>
        </p:spPr>
        <p:txBody>
          <a:bodyPr lIns="0" tIns="0" rIns="0" bIns="0" rtlCol="0" anchor="t">
            <a:spAutoFit/>
          </a:bodyPr>
          <a:lstStyle/>
          <a:p>
            <a:pPr>
              <a:lnSpc>
                <a:spcPts val="2879"/>
              </a:lnSpc>
            </a:pPr>
            <a:r>
              <a:rPr lang="en-US" sz="2350" b="1" dirty="0">
                <a:solidFill>
                  <a:srgbClr val="144B90"/>
                </a:solidFill>
                <a:latin typeface="Cambria"/>
                <a:ea typeface="Cambria"/>
              </a:rPr>
              <a:t>OB TEAMS:</a:t>
            </a:r>
          </a:p>
        </p:txBody>
      </p:sp>
      <p:sp>
        <p:nvSpPr>
          <p:cNvPr id="12" name="TextBox 12"/>
          <p:cNvSpPr txBox="1"/>
          <p:nvPr/>
        </p:nvSpPr>
        <p:spPr>
          <a:xfrm>
            <a:off x="555912" y="5174923"/>
            <a:ext cx="2449487" cy="360163"/>
          </a:xfrm>
          <a:prstGeom prst="rect">
            <a:avLst/>
          </a:prstGeom>
        </p:spPr>
        <p:txBody>
          <a:bodyPr lIns="0" tIns="0" rIns="0" bIns="0" rtlCol="0" anchor="t">
            <a:spAutoFit/>
          </a:bodyPr>
          <a:lstStyle/>
          <a:p>
            <a:pPr>
              <a:lnSpc>
                <a:spcPts val="2879"/>
              </a:lnSpc>
            </a:pPr>
            <a:r>
              <a:rPr lang="en-US" sz="2399">
                <a:solidFill>
                  <a:srgbClr val="6C94CD"/>
                </a:solidFill>
                <a:latin typeface="Cambria"/>
                <a:ea typeface="Cambria"/>
              </a:rPr>
              <a:t>MAY 23RD, 2024</a:t>
            </a:r>
          </a:p>
        </p:txBody>
      </p:sp>
      <p:sp>
        <p:nvSpPr>
          <p:cNvPr id="13" name="TextBox 13"/>
          <p:cNvSpPr txBox="1"/>
          <p:nvPr/>
        </p:nvSpPr>
        <p:spPr>
          <a:xfrm>
            <a:off x="575189" y="4451023"/>
            <a:ext cx="3468303" cy="732060"/>
          </a:xfrm>
          <a:prstGeom prst="rect">
            <a:avLst/>
          </a:prstGeom>
        </p:spPr>
        <p:txBody>
          <a:bodyPr lIns="0" tIns="0" rIns="0" bIns="0" rtlCol="0" anchor="t">
            <a:spAutoFit/>
          </a:bodyPr>
          <a:lstStyle/>
          <a:p>
            <a:pPr>
              <a:lnSpc>
                <a:spcPts val="2879"/>
              </a:lnSpc>
            </a:pPr>
            <a:r>
              <a:rPr lang="en-US" sz="2399" b="1">
                <a:solidFill>
                  <a:srgbClr val="144B90"/>
                </a:solidFill>
                <a:latin typeface="Cambria"/>
                <a:ea typeface="Cambria"/>
              </a:rPr>
              <a:t>NEONATAL </a:t>
            </a:r>
          </a:p>
          <a:p>
            <a:pPr>
              <a:lnSpc>
                <a:spcPts val="2879"/>
              </a:lnSpc>
            </a:pPr>
            <a:r>
              <a:rPr lang="en-US" sz="2399" b="1">
                <a:solidFill>
                  <a:srgbClr val="144B90"/>
                </a:solidFill>
                <a:latin typeface="Cambria"/>
                <a:ea typeface="Cambria"/>
              </a:rPr>
              <a:t>TEAMS:</a:t>
            </a:r>
          </a:p>
        </p:txBody>
      </p:sp>
      <p:sp>
        <p:nvSpPr>
          <p:cNvPr id="14" name="TextBox 14"/>
          <p:cNvSpPr txBox="1"/>
          <p:nvPr/>
        </p:nvSpPr>
        <p:spPr>
          <a:xfrm>
            <a:off x="3257602" y="3824546"/>
            <a:ext cx="2701691" cy="1565621"/>
          </a:xfrm>
          <a:prstGeom prst="rect">
            <a:avLst/>
          </a:prstGeom>
        </p:spPr>
        <p:txBody>
          <a:bodyPr lIns="0" tIns="0" rIns="0" bIns="0" rtlCol="0" anchor="t">
            <a:spAutoFit/>
          </a:bodyPr>
          <a:lstStyle/>
          <a:p>
            <a:pPr>
              <a:lnSpc>
                <a:spcPts val="3095"/>
              </a:lnSpc>
            </a:pPr>
            <a:r>
              <a:rPr lang="en-US" sz="2210">
                <a:solidFill>
                  <a:srgbClr val="6C94CD"/>
                </a:solidFill>
                <a:latin typeface="Cambria"/>
                <a:ea typeface="Cambria"/>
              </a:rPr>
              <a:t>at the</a:t>
            </a:r>
            <a:r>
              <a:rPr lang="en-US" sz="2210">
                <a:solidFill>
                  <a:srgbClr val="144B90"/>
                </a:solidFill>
                <a:latin typeface="Cambria"/>
                <a:ea typeface="Cambria"/>
              </a:rPr>
              <a:t> President Abraham Lincoln Doubletree Hotel </a:t>
            </a:r>
          </a:p>
          <a:p>
            <a:pPr>
              <a:lnSpc>
                <a:spcPts val="3095"/>
              </a:lnSpc>
            </a:pPr>
            <a:r>
              <a:rPr lang="en-US" sz="2210">
                <a:solidFill>
                  <a:srgbClr val="6C94CD"/>
                </a:solidFill>
                <a:latin typeface="Cambria"/>
                <a:ea typeface="Cambria"/>
              </a:rPr>
              <a:t>in</a:t>
            </a:r>
            <a:r>
              <a:rPr lang="en-US" sz="2210">
                <a:solidFill>
                  <a:srgbClr val="144B90"/>
                </a:solidFill>
                <a:latin typeface="Cambria"/>
                <a:ea typeface="Cambria"/>
              </a:rPr>
              <a:t> Springfield, IL </a:t>
            </a:r>
          </a:p>
        </p:txBody>
      </p:sp>
      <p:sp>
        <p:nvSpPr>
          <p:cNvPr id="15" name="TextBox 15"/>
          <p:cNvSpPr txBox="1"/>
          <p:nvPr/>
        </p:nvSpPr>
        <p:spPr>
          <a:xfrm>
            <a:off x="6704996" y="3812489"/>
            <a:ext cx="4702289" cy="1405641"/>
          </a:xfrm>
          <a:prstGeom prst="rect">
            <a:avLst/>
          </a:prstGeom>
        </p:spPr>
        <p:txBody>
          <a:bodyPr lIns="0" tIns="0" rIns="0" bIns="0" rtlCol="0" anchor="t">
            <a:spAutoFit/>
          </a:bodyPr>
          <a:lstStyle/>
          <a:p>
            <a:pPr algn="ctr">
              <a:lnSpc>
                <a:spcPts val="3667"/>
              </a:lnSpc>
            </a:pPr>
            <a:r>
              <a:rPr lang="en-US" sz="2619" b="1">
                <a:solidFill>
                  <a:srgbClr val="144B90"/>
                </a:solidFill>
                <a:latin typeface="Prompt"/>
              </a:rPr>
              <a:t>Calling ALL Perinatal Leaders, Providers, Nurses, Advocates, &amp; Friends!</a:t>
            </a:r>
          </a:p>
        </p:txBody>
      </p:sp>
    </p:spTree>
    <p:extLst>
      <p:ext uri="{BB962C8B-B14F-4D97-AF65-F5344CB8AC3E}">
        <p14:creationId xmlns:p14="http://schemas.microsoft.com/office/powerpoint/2010/main" val="32348072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E6EE7F-C16B-4045-C3DC-E4EF868A7F37}"/>
              </a:ext>
            </a:extLst>
          </p:cNvPr>
          <p:cNvSpPr>
            <a:spLocks noGrp="1"/>
          </p:cNvSpPr>
          <p:nvPr>
            <p:ph type="title"/>
          </p:nvPr>
        </p:nvSpPr>
        <p:spPr/>
        <p:txBody>
          <a:bodyPr/>
          <a:lstStyle/>
          <a:p>
            <a:r>
              <a:rPr lang="en-US">
                <a:ea typeface="Lato Medium"/>
                <a:cs typeface="Lato Medium"/>
              </a:rPr>
              <a:t>Engaging patients, families and communities through ILPQC</a:t>
            </a:r>
            <a:endParaRPr lang="en-US"/>
          </a:p>
        </p:txBody>
      </p:sp>
      <p:sp>
        <p:nvSpPr>
          <p:cNvPr id="3" name="Subtitle 2">
            <a:extLst>
              <a:ext uri="{FF2B5EF4-FFF2-40B4-BE49-F238E27FC236}">
                <a16:creationId xmlns:a16="http://schemas.microsoft.com/office/drawing/2014/main" id="{5BA491EF-4ED0-06C8-11F1-59D448DFDA97}"/>
              </a:ext>
            </a:extLst>
          </p:cNvPr>
          <p:cNvSpPr>
            <a:spLocks noGrp="1"/>
          </p:cNvSpPr>
          <p:nvPr>
            <p:ph type="subTitle" idx="1"/>
          </p:nvPr>
        </p:nvSpPr>
        <p:spPr/>
        <p:txBody>
          <a:bodyPr vert="horz" lIns="91440" tIns="45720" rIns="91440" bIns="45720" rtlCol="0" anchor="t">
            <a:noAutofit/>
          </a:bodyPr>
          <a:lstStyle/>
          <a:p>
            <a:pPr>
              <a:spcAft>
                <a:spcPts val="0"/>
              </a:spcAft>
            </a:pPr>
            <a:r>
              <a:rPr lang="en-US" b="1">
                <a:ea typeface="Lato"/>
                <a:cs typeface="Lato"/>
              </a:rPr>
              <a:t>Patti Lee King, PhD, MSW</a:t>
            </a:r>
            <a:endParaRPr lang="en-US" b="1"/>
          </a:p>
          <a:p>
            <a:pPr>
              <a:spcAft>
                <a:spcPts val="0"/>
              </a:spcAft>
            </a:pPr>
            <a:r>
              <a:rPr lang="en-US">
                <a:ea typeface="Lato"/>
                <a:cs typeface="Lato"/>
              </a:rPr>
              <a:t>State Project Director and Quality Lead, ILPQC</a:t>
            </a:r>
            <a:endParaRPr lang="en-US"/>
          </a:p>
        </p:txBody>
      </p:sp>
    </p:spTree>
    <p:extLst>
      <p:ext uri="{BB962C8B-B14F-4D97-AF65-F5344CB8AC3E}">
        <p14:creationId xmlns:p14="http://schemas.microsoft.com/office/powerpoint/2010/main" val="21347329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4" name="Rectangle 13">
            <a:extLst>
              <a:ext uri="{FF2B5EF4-FFF2-40B4-BE49-F238E27FC236}">
                <a16:creationId xmlns:a16="http://schemas.microsoft.com/office/drawing/2014/main" id="{2E442304-DDBD-4F7B-8017-36BCC863FB4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07F7E2A-A18F-72E9-B14F-34C1DE89593D}"/>
              </a:ext>
            </a:extLst>
          </p:cNvPr>
          <p:cNvSpPr>
            <a:spLocks noGrp="1"/>
          </p:cNvSpPr>
          <p:nvPr>
            <p:ph type="title"/>
          </p:nvPr>
        </p:nvSpPr>
        <p:spPr>
          <a:xfrm>
            <a:off x="635000" y="640823"/>
            <a:ext cx="3418659" cy="5583148"/>
          </a:xfrm>
        </p:spPr>
        <p:txBody>
          <a:bodyPr anchor="ctr">
            <a:normAutofit/>
          </a:bodyPr>
          <a:lstStyle/>
          <a:p>
            <a:pPr>
              <a:lnSpc>
                <a:spcPct val="90000"/>
              </a:lnSpc>
            </a:pPr>
            <a:r>
              <a:rPr lang="en-US" sz="4600" dirty="0">
                <a:ea typeface="Lato Medium"/>
                <a:cs typeface="Lato Medium"/>
              </a:rPr>
              <a:t>Together, we are ILPQC! Patient, family &amp; community engagement focus in 2023</a:t>
            </a:r>
            <a:endParaRPr lang="en-US" sz="4600" dirty="0"/>
          </a:p>
        </p:txBody>
      </p:sp>
      <p:sp>
        <p:nvSpPr>
          <p:cNvPr id="16" name="sketch line">
            <a:extLst>
              <a:ext uri="{FF2B5EF4-FFF2-40B4-BE49-F238E27FC236}">
                <a16:creationId xmlns:a16="http://schemas.microsoft.com/office/drawing/2014/main" id="{5E107275-3853-46FD-A241-DE4355A4267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1627450" y="3462719"/>
            <a:ext cx="5410200" cy="18288"/>
          </a:xfrm>
          <a:custGeom>
            <a:avLst/>
            <a:gdLst>
              <a:gd name="connsiteX0" fmla="*/ 0 w 5410200"/>
              <a:gd name="connsiteY0" fmla="*/ 0 h 18288"/>
              <a:gd name="connsiteX1" fmla="*/ 568071 w 5410200"/>
              <a:gd name="connsiteY1" fmla="*/ 0 h 18288"/>
              <a:gd name="connsiteX2" fmla="*/ 1298448 w 5410200"/>
              <a:gd name="connsiteY2" fmla="*/ 0 h 18288"/>
              <a:gd name="connsiteX3" fmla="*/ 1920621 w 5410200"/>
              <a:gd name="connsiteY3" fmla="*/ 0 h 18288"/>
              <a:gd name="connsiteX4" fmla="*/ 2488692 w 5410200"/>
              <a:gd name="connsiteY4" fmla="*/ 0 h 18288"/>
              <a:gd name="connsiteX5" fmla="*/ 3219069 w 5410200"/>
              <a:gd name="connsiteY5" fmla="*/ 0 h 18288"/>
              <a:gd name="connsiteX6" fmla="*/ 3895344 w 5410200"/>
              <a:gd name="connsiteY6" fmla="*/ 0 h 18288"/>
              <a:gd name="connsiteX7" fmla="*/ 4571619 w 5410200"/>
              <a:gd name="connsiteY7" fmla="*/ 0 h 18288"/>
              <a:gd name="connsiteX8" fmla="*/ 5410200 w 5410200"/>
              <a:gd name="connsiteY8" fmla="*/ 0 h 18288"/>
              <a:gd name="connsiteX9" fmla="*/ 5410200 w 5410200"/>
              <a:gd name="connsiteY9" fmla="*/ 18288 h 18288"/>
              <a:gd name="connsiteX10" fmla="*/ 4842129 w 5410200"/>
              <a:gd name="connsiteY10" fmla="*/ 18288 h 18288"/>
              <a:gd name="connsiteX11" fmla="*/ 4328160 w 5410200"/>
              <a:gd name="connsiteY11" fmla="*/ 18288 h 18288"/>
              <a:gd name="connsiteX12" fmla="*/ 3597783 w 5410200"/>
              <a:gd name="connsiteY12" fmla="*/ 18288 h 18288"/>
              <a:gd name="connsiteX13" fmla="*/ 3029712 w 5410200"/>
              <a:gd name="connsiteY13" fmla="*/ 18288 h 18288"/>
              <a:gd name="connsiteX14" fmla="*/ 2299335 w 5410200"/>
              <a:gd name="connsiteY14" fmla="*/ 18288 h 18288"/>
              <a:gd name="connsiteX15" fmla="*/ 1514856 w 5410200"/>
              <a:gd name="connsiteY15" fmla="*/ 18288 h 18288"/>
              <a:gd name="connsiteX16" fmla="*/ 892683 w 5410200"/>
              <a:gd name="connsiteY16" fmla="*/ 18288 h 18288"/>
              <a:gd name="connsiteX17" fmla="*/ 0 w 5410200"/>
              <a:gd name="connsiteY17" fmla="*/ 18288 h 18288"/>
              <a:gd name="connsiteX18" fmla="*/ 0 w 5410200"/>
              <a:gd name="connsiteY18"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410200" h="18288" fill="none" extrusionOk="0">
                <a:moveTo>
                  <a:pt x="0" y="0"/>
                </a:moveTo>
                <a:cubicBezTo>
                  <a:pt x="163050" y="-18707"/>
                  <a:pt x="319321" y="-16364"/>
                  <a:pt x="568071" y="0"/>
                </a:cubicBezTo>
                <a:cubicBezTo>
                  <a:pt x="816821" y="16364"/>
                  <a:pt x="1013224" y="-7268"/>
                  <a:pt x="1298448" y="0"/>
                </a:cubicBezTo>
                <a:cubicBezTo>
                  <a:pt x="1583672" y="7268"/>
                  <a:pt x="1631711" y="-3367"/>
                  <a:pt x="1920621" y="0"/>
                </a:cubicBezTo>
                <a:cubicBezTo>
                  <a:pt x="2209531" y="3367"/>
                  <a:pt x="2364420" y="-19184"/>
                  <a:pt x="2488692" y="0"/>
                </a:cubicBezTo>
                <a:cubicBezTo>
                  <a:pt x="2612964" y="19184"/>
                  <a:pt x="3023298" y="-34627"/>
                  <a:pt x="3219069" y="0"/>
                </a:cubicBezTo>
                <a:cubicBezTo>
                  <a:pt x="3414840" y="34627"/>
                  <a:pt x="3656810" y="24043"/>
                  <a:pt x="3895344" y="0"/>
                </a:cubicBezTo>
                <a:cubicBezTo>
                  <a:pt x="4133879" y="-24043"/>
                  <a:pt x="4393984" y="-19577"/>
                  <a:pt x="4571619" y="0"/>
                </a:cubicBezTo>
                <a:cubicBezTo>
                  <a:pt x="4749255" y="19577"/>
                  <a:pt x="5179928" y="-6281"/>
                  <a:pt x="5410200" y="0"/>
                </a:cubicBezTo>
                <a:cubicBezTo>
                  <a:pt x="5410730" y="6954"/>
                  <a:pt x="5410934" y="12839"/>
                  <a:pt x="5410200" y="18288"/>
                </a:cubicBezTo>
                <a:cubicBezTo>
                  <a:pt x="5139060" y="6751"/>
                  <a:pt x="5121593" y="31035"/>
                  <a:pt x="4842129" y="18288"/>
                </a:cubicBezTo>
                <a:cubicBezTo>
                  <a:pt x="4562665" y="5541"/>
                  <a:pt x="4448273" y="9487"/>
                  <a:pt x="4328160" y="18288"/>
                </a:cubicBezTo>
                <a:cubicBezTo>
                  <a:pt x="4208047" y="27089"/>
                  <a:pt x="3760936" y="22567"/>
                  <a:pt x="3597783" y="18288"/>
                </a:cubicBezTo>
                <a:cubicBezTo>
                  <a:pt x="3434630" y="14009"/>
                  <a:pt x="3299718" y="33213"/>
                  <a:pt x="3029712" y="18288"/>
                </a:cubicBezTo>
                <a:cubicBezTo>
                  <a:pt x="2759706" y="3363"/>
                  <a:pt x="2640159" y="27394"/>
                  <a:pt x="2299335" y="18288"/>
                </a:cubicBezTo>
                <a:cubicBezTo>
                  <a:pt x="1958511" y="9182"/>
                  <a:pt x="1801186" y="28985"/>
                  <a:pt x="1514856" y="18288"/>
                </a:cubicBezTo>
                <a:cubicBezTo>
                  <a:pt x="1228526" y="7591"/>
                  <a:pt x="1063509" y="-5305"/>
                  <a:pt x="892683" y="18288"/>
                </a:cubicBezTo>
                <a:cubicBezTo>
                  <a:pt x="721857" y="41881"/>
                  <a:pt x="186945" y="-20897"/>
                  <a:pt x="0" y="18288"/>
                </a:cubicBezTo>
                <a:cubicBezTo>
                  <a:pt x="-570" y="9279"/>
                  <a:pt x="132" y="5100"/>
                  <a:pt x="0" y="0"/>
                </a:cubicBezTo>
                <a:close/>
              </a:path>
              <a:path w="5410200" h="18288" stroke="0" extrusionOk="0">
                <a:moveTo>
                  <a:pt x="0" y="0"/>
                </a:moveTo>
                <a:cubicBezTo>
                  <a:pt x="285096" y="-4925"/>
                  <a:pt x="376456" y="22268"/>
                  <a:pt x="622173" y="0"/>
                </a:cubicBezTo>
                <a:cubicBezTo>
                  <a:pt x="867890" y="-22268"/>
                  <a:pt x="1031392" y="7228"/>
                  <a:pt x="1136142" y="0"/>
                </a:cubicBezTo>
                <a:cubicBezTo>
                  <a:pt x="1240892" y="-7228"/>
                  <a:pt x="1561853" y="9877"/>
                  <a:pt x="1920621" y="0"/>
                </a:cubicBezTo>
                <a:cubicBezTo>
                  <a:pt x="2279389" y="-9877"/>
                  <a:pt x="2367255" y="19546"/>
                  <a:pt x="2542794" y="0"/>
                </a:cubicBezTo>
                <a:cubicBezTo>
                  <a:pt x="2718333" y="-19546"/>
                  <a:pt x="2866732" y="-22226"/>
                  <a:pt x="3164967" y="0"/>
                </a:cubicBezTo>
                <a:cubicBezTo>
                  <a:pt x="3463202" y="22226"/>
                  <a:pt x="3568055" y="-2765"/>
                  <a:pt x="3949446" y="0"/>
                </a:cubicBezTo>
                <a:cubicBezTo>
                  <a:pt x="4330837" y="2765"/>
                  <a:pt x="4287895" y="10557"/>
                  <a:pt x="4517517" y="0"/>
                </a:cubicBezTo>
                <a:cubicBezTo>
                  <a:pt x="4747139" y="-10557"/>
                  <a:pt x="5149588" y="8716"/>
                  <a:pt x="5410200" y="0"/>
                </a:cubicBezTo>
                <a:cubicBezTo>
                  <a:pt x="5409517" y="5414"/>
                  <a:pt x="5409480" y="12510"/>
                  <a:pt x="5410200" y="18288"/>
                </a:cubicBezTo>
                <a:cubicBezTo>
                  <a:pt x="5163327" y="41494"/>
                  <a:pt x="5008749" y="10693"/>
                  <a:pt x="4842129" y="18288"/>
                </a:cubicBezTo>
                <a:cubicBezTo>
                  <a:pt x="4675509" y="25883"/>
                  <a:pt x="4433401" y="-615"/>
                  <a:pt x="4165854" y="18288"/>
                </a:cubicBezTo>
                <a:cubicBezTo>
                  <a:pt x="3898308" y="37191"/>
                  <a:pt x="3809032" y="-8710"/>
                  <a:pt x="3543681" y="18288"/>
                </a:cubicBezTo>
                <a:cubicBezTo>
                  <a:pt x="3278330" y="45286"/>
                  <a:pt x="3073876" y="-15917"/>
                  <a:pt x="2759202" y="18288"/>
                </a:cubicBezTo>
                <a:cubicBezTo>
                  <a:pt x="2444528" y="52493"/>
                  <a:pt x="2204144" y="3372"/>
                  <a:pt x="1974723" y="18288"/>
                </a:cubicBezTo>
                <a:cubicBezTo>
                  <a:pt x="1745302" y="33204"/>
                  <a:pt x="1602335" y="31490"/>
                  <a:pt x="1406652" y="18288"/>
                </a:cubicBezTo>
                <a:cubicBezTo>
                  <a:pt x="1210969" y="5086"/>
                  <a:pt x="923948" y="3161"/>
                  <a:pt x="730377" y="18288"/>
                </a:cubicBezTo>
                <a:cubicBezTo>
                  <a:pt x="536806" y="33415"/>
                  <a:pt x="336496" y="-141"/>
                  <a:pt x="0" y="18288"/>
                </a:cubicBezTo>
                <a:cubicBezTo>
                  <a:pt x="-306" y="11061"/>
                  <a:pt x="-655" y="7751"/>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Content Placeholder 3">
            <a:extLst>
              <a:ext uri="{FF2B5EF4-FFF2-40B4-BE49-F238E27FC236}">
                <a16:creationId xmlns:a16="http://schemas.microsoft.com/office/drawing/2014/main" id="{89B53106-8C8D-3C66-2069-3A50A5A0F2E4}"/>
              </a:ext>
            </a:extLst>
          </p:cNvPr>
          <p:cNvGraphicFramePr>
            <a:graphicFrameLocks noGrp="1"/>
          </p:cNvGraphicFramePr>
          <p:nvPr>
            <p:ph idx="1"/>
            <p:extLst>
              <p:ext uri="{D42A27DB-BD31-4B8C-83A1-F6EECF244321}">
                <p14:modId xmlns:p14="http://schemas.microsoft.com/office/powerpoint/2010/main" val="2275352843"/>
              </p:ext>
            </p:extLst>
          </p:nvPr>
        </p:nvGraphicFramePr>
        <p:xfrm>
          <a:off x="4648018" y="640822"/>
          <a:ext cx="6900512" cy="553614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3426217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E5F17139-31EE-46AC-B04F-DBBD852DD6C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454D9D2-FD51-4B03-BD7A-F1350B0E301B}"/>
              </a:ext>
            </a:extLst>
          </p:cNvPr>
          <p:cNvSpPr>
            <a:spLocks noGrp="1"/>
          </p:cNvSpPr>
          <p:nvPr>
            <p:ph type="title"/>
          </p:nvPr>
        </p:nvSpPr>
        <p:spPr>
          <a:xfrm>
            <a:off x="1331088" y="565739"/>
            <a:ext cx="9745883" cy="1124949"/>
          </a:xfrm>
        </p:spPr>
        <p:txBody>
          <a:bodyPr>
            <a:normAutofit/>
          </a:bodyPr>
          <a:lstStyle/>
          <a:p>
            <a:r>
              <a:rPr lang="en-US">
                <a:solidFill>
                  <a:schemeClr val="bg1"/>
                </a:solidFill>
                <a:ea typeface="Lato Medium"/>
                <a:cs typeface="Calibri"/>
              </a:rPr>
              <a:t>ILPQC 2023 Obstetric Community Advisory Board</a:t>
            </a:r>
            <a:endParaRPr lang="en-US" b="0">
              <a:solidFill>
                <a:schemeClr val="bg1"/>
              </a:solidFill>
              <a:ea typeface="Lato Medium"/>
              <a:cs typeface="+mj-lt"/>
            </a:endParaRPr>
          </a:p>
        </p:txBody>
      </p:sp>
      <p:sp>
        <p:nvSpPr>
          <p:cNvPr id="28" name="Freeform: Shape 27">
            <a:extLst>
              <a:ext uri="{FF2B5EF4-FFF2-40B4-BE49-F238E27FC236}">
                <a16:creationId xmlns:a16="http://schemas.microsoft.com/office/drawing/2014/main" id="{AAD42DD4-86F6-4FD2-869F-32D35E310CF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81037"/>
            <a:ext cx="1170294" cy="274629"/>
          </a:xfrm>
          <a:custGeom>
            <a:avLst/>
            <a:gdLst>
              <a:gd name="connsiteX0" fmla="*/ 453342 w 1170294"/>
              <a:gd name="connsiteY0" fmla="*/ 0 h 274629"/>
              <a:gd name="connsiteX1" fmla="*/ 689085 w 1170294"/>
              <a:gd name="connsiteY1" fmla="*/ 235744 h 274629"/>
              <a:gd name="connsiteX2" fmla="*/ 924829 w 1170294"/>
              <a:gd name="connsiteY2" fmla="*/ 0 h 274629"/>
              <a:gd name="connsiteX3" fmla="*/ 1170294 w 1170294"/>
              <a:gd name="connsiteY3" fmla="*/ 245465 h 274629"/>
              <a:gd name="connsiteX4" fmla="*/ 1153282 w 1170294"/>
              <a:gd name="connsiteY4" fmla="*/ 264908 h 274629"/>
              <a:gd name="connsiteX5" fmla="*/ 924829 w 1170294"/>
              <a:gd name="connsiteY5" fmla="*/ 38885 h 274629"/>
              <a:gd name="connsiteX6" fmla="*/ 689085 w 1170294"/>
              <a:gd name="connsiteY6" fmla="*/ 274629 h 274629"/>
              <a:gd name="connsiteX7" fmla="*/ 453342 w 1170294"/>
              <a:gd name="connsiteY7" fmla="*/ 38885 h 274629"/>
              <a:gd name="connsiteX8" fmla="*/ 215168 w 1170294"/>
              <a:gd name="connsiteY8" fmla="*/ 274629 h 274629"/>
              <a:gd name="connsiteX9" fmla="*/ 0 w 1170294"/>
              <a:gd name="connsiteY9" fmla="*/ 59462 h 274629"/>
              <a:gd name="connsiteX10" fmla="*/ 0 w 1170294"/>
              <a:gd name="connsiteY10" fmla="*/ 20577 h 274629"/>
              <a:gd name="connsiteX11" fmla="*/ 215168 w 1170294"/>
              <a:gd name="connsiteY11" fmla="*/ 235744 h 274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70294" h="274629">
                <a:moveTo>
                  <a:pt x="453342" y="0"/>
                </a:moveTo>
                <a:lnTo>
                  <a:pt x="689085" y="235744"/>
                </a:lnTo>
                <a:lnTo>
                  <a:pt x="924829" y="0"/>
                </a:lnTo>
                <a:lnTo>
                  <a:pt x="1170294" y="245465"/>
                </a:lnTo>
                <a:lnTo>
                  <a:pt x="1153282" y="264908"/>
                </a:lnTo>
                <a:lnTo>
                  <a:pt x="924829" y="38885"/>
                </a:lnTo>
                <a:lnTo>
                  <a:pt x="689085" y="274629"/>
                </a:lnTo>
                <a:lnTo>
                  <a:pt x="453342" y="38885"/>
                </a:lnTo>
                <a:lnTo>
                  <a:pt x="215168" y="274629"/>
                </a:lnTo>
                <a:lnTo>
                  <a:pt x="0" y="59462"/>
                </a:lnTo>
                <a:lnTo>
                  <a:pt x="0" y="20577"/>
                </a:lnTo>
                <a:lnTo>
                  <a:pt x="215168" y="235744"/>
                </a:lnTo>
                <a:close/>
              </a:path>
            </a:pathLst>
          </a:cu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sp>
        <p:nvSpPr>
          <p:cNvPr id="30" name="Freeform: Shape 29">
            <a:extLst>
              <a:ext uri="{FF2B5EF4-FFF2-40B4-BE49-F238E27FC236}">
                <a16:creationId xmlns:a16="http://schemas.microsoft.com/office/drawing/2014/main" id="{4C36B8C5-0DEB-41B5-911D-572E2E835E3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116069"/>
            <a:ext cx="1170294" cy="274629"/>
          </a:xfrm>
          <a:custGeom>
            <a:avLst/>
            <a:gdLst>
              <a:gd name="connsiteX0" fmla="*/ 453342 w 1170294"/>
              <a:gd name="connsiteY0" fmla="*/ 0 h 274629"/>
              <a:gd name="connsiteX1" fmla="*/ 689085 w 1170294"/>
              <a:gd name="connsiteY1" fmla="*/ 238174 h 274629"/>
              <a:gd name="connsiteX2" fmla="*/ 924829 w 1170294"/>
              <a:gd name="connsiteY2" fmla="*/ 0 h 274629"/>
              <a:gd name="connsiteX3" fmla="*/ 1170294 w 1170294"/>
              <a:gd name="connsiteY3" fmla="*/ 247895 h 274629"/>
              <a:gd name="connsiteX4" fmla="*/ 1153282 w 1170294"/>
              <a:gd name="connsiteY4" fmla="*/ 264908 h 274629"/>
              <a:gd name="connsiteX5" fmla="*/ 924829 w 1170294"/>
              <a:gd name="connsiteY5" fmla="*/ 38885 h 274629"/>
              <a:gd name="connsiteX6" fmla="*/ 689085 w 1170294"/>
              <a:gd name="connsiteY6" fmla="*/ 274629 h 274629"/>
              <a:gd name="connsiteX7" fmla="*/ 453342 w 1170294"/>
              <a:gd name="connsiteY7" fmla="*/ 38885 h 274629"/>
              <a:gd name="connsiteX8" fmla="*/ 215168 w 1170294"/>
              <a:gd name="connsiteY8" fmla="*/ 274629 h 274629"/>
              <a:gd name="connsiteX9" fmla="*/ 0 w 1170294"/>
              <a:gd name="connsiteY9" fmla="*/ 59462 h 274629"/>
              <a:gd name="connsiteX10" fmla="*/ 0 w 1170294"/>
              <a:gd name="connsiteY10" fmla="*/ 20789 h 274629"/>
              <a:gd name="connsiteX11" fmla="*/ 215168 w 1170294"/>
              <a:gd name="connsiteY11" fmla="*/ 238174 h 274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70294" h="274629">
                <a:moveTo>
                  <a:pt x="453342" y="0"/>
                </a:moveTo>
                <a:lnTo>
                  <a:pt x="689085" y="238174"/>
                </a:lnTo>
                <a:lnTo>
                  <a:pt x="924829" y="0"/>
                </a:lnTo>
                <a:lnTo>
                  <a:pt x="1170294" y="247895"/>
                </a:lnTo>
                <a:lnTo>
                  <a:pt x="1153282" y="264908"/>
                </a:lnTo>
                <a:lnTo>
                  <a:pt x="924829" y="38885"/>
                </a:lnTo>
                <a:lnTo>
                  <a:pt x="689085" y="274629"/>
                </a:lnTo>
                <a:lnTo>
                  <a:pt x="453342" y="38885"/>
                </a:lnTo>
                <a:lnTo>
                  <a:pt x="215168" y="274629"/>
                </a:lnTo>
                <a:lnTo>
                  <a:pt x="0" y="59462"/>
                </a:lnTo>
                <a:lnTo>
                  <a:pt x="0" y="20789"/>
                </a:lnTo>
                <a:lnTo>
                  <a:pt x="215168" y="23817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B5DC987A-A8C7-4C23-9BF5-33E9F6F21DC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36766" y="2256427"/>
            <a:ext cx="10855283" cy="3963398"/>
          </a:xfrm>
          <a:prstGeom prst="rect">
            <a:avLst/>
          </a:prstGeom>
          <a:solidFill>
            <a:srgbClr val="FFFF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F213F2CF-C6DF-4CE1-A6F0-E3B1BFBB0B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38200" y="2256427"/>
            <a:ext cx="10853849" cy="3955009"/>
          </a:xfrm>
          <a:prstGeom prst="rect">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84325C15-4820-4911-B66E-A5F917CFAE5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35106" y="2125615"/>
            <a:ext cx="10855283" cy="3974760"/>
          </a:xfrm>
          <a:prstGeom prst="rect">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C4CEE450-F382-85B8-1007-AE56BB298F32}"/>
              </a:ext>
            </a:extLst>
          </p:cNvPr>
          <p:cNvSpPr>
            <a:spLocks noGrp="1"/>
          </p:cNvSpPr>
          <p:nvPr>
            <p:ph type="sldNum" sz="quarter" idx="10"/>
          </p:nvPr>
        </p:nvSpPr>
        <p:spPr>
          <a:xfrm>
            <a:off x="8083864" y="5546586"/>
            <a:ext cx="1882692" cy="250590"/>
          </a:xfrm>
        </p:spPr>
        <p:txBody>
          <a:bodyPr/>
          <a:lstStyle/>
          <a:p>
            <a:pPr defTabSz="621792">
              <a:spcAft>
                <a:spcPts val="600"/>
              </a:spcAft>
            </a:pPr>
            <a:fld id="{97033E4B-E3EB-3D46-B2D8-3159663620FA}" type="slidenum">
              <a:rPr lang="en-US" sz="816" kern="1200">
                <a:solidFill>
                  <a:schemeClr val="tx2">
                    <a:lumMod val="60000"/>
                    <a:lumOff val="40000"/>
                  </a:schemeClr>
                </a:solidFill>
                <a:latin typeface="+mn-lt"/>
                <a:ea typeface="+mn-ea"/>
                <a:cs typeface="+mn-cs"/>
              </a:rPr>
              <a:pPr defTabSz="621792">
                <a:spcAft>
                  <a:spcPts val="600"/>
                </a:spcAft>
              </a:pPr>
              <a:t>6</a:t>
            </a:fld>
            <a:endParaRPr lang="en-US"/>
          </a:p>
        </p:txBody>
      </p:sp>
      <p:sp>
        <p:nvSpPr>
          <p:cNvPr id="5" name="Footer Placeholder 4">
            <a:extLst>
              <a:ext uri="{FF2B5EF4-FFF2-40B4-BE49-F238E27FC236}">
                <a16:creationId xmlns:a16="http://schemas.microsoft.com/office/drawing/2014/main" id="{D78FCC0D-964B-6184-D355-259732ED254B}"/>
              </a:ext>
            </a:extLst>
          </p:cNvPr>
          <p:cNvSpPr>
            <a:spLocks noGrp="1"/>
          </p:cNvSpPr>
          <p:nvPr>
            <p:ph type="ftr" sz="quarter" idx="11"/>
          </p:nvPr>
        </p:nvSpPr>
        <p:spPr>
          <a:xfrm>
            <a:off x="737616" y="5796957"/>
            <a:ext cx="2824039" cy="250590"/>
          </a:xfrm>
        </p:spPr>
        <p:txBody>
          <a:bodyPr/>
          <a:lstStyle/>
          <a:p>
            <a:pPr algn="l" defTabSz="621792">
              <a:spcAft>
                <a:spcPts val="600"/>
              </a:spcAft>
            </a:pPr>
            <a:r>
              <a:rPr lang="en-US" sz="816" kern="1200">
                <a:solidFill>
                  <a:schemeClr val="tx1">
                    <a:tint val="75000"/>
                  </a:schemeClr>
                </a:solidFill>
                <a:latin typeface="+mn-lt"/>
                <a:ea typeface="+mn-ea"/>
                <a:cs typeface="+mn-cs"/>
              </a:rPr>
              <a:t>Illinois Perinatal Quality Collaborative</a:t>
            </a:r>
            <a:endParaRPr lang="en-US"/>
          </a:p>
        </p:txBody>
      </p:sp>
      <p:sp>
        <p:nvSpPr>
          <p:cNvPr id="21" name="Content Placeholder 20">
            <a:extLst>
              <a:ext uri="{FF2B5EF4-FFF2-40B4-BE49-F238E27FC236}">
                <a16:creationId xmlns:a16="http://schemas.microsoft.com/office/drawing/2014/main" id="{46A9C70C-276E-351C-C598-87624FCAEA39}"/>
              </a:ext>
            </a:extLst>
          </p:cNvPr>
          <p:cNvSpPr>
            <a:spLocks noGrp="1"/>
          </p:cNvSpPr>
          <p:nvPr>
            <p:ph idx="1"/>
          </p:nvPr>
        </p:nvSpPr>
        <p:spPr>
          <a:xfrm>
            <a:off x="2370473" y="2382906"/>
            <a:ext cx="3725729" cy="2975251"/>
          </a:xfrm>
        </p:spPr>
        <p:txBody>
          <a:bodyPr vert="horz" lIns="91440" tIns="45720" rIns="91440" bIns="45720" rtlCol="0" anchor="t">
            <a:noAutofit/>
          </a:bodyPr>
          <a:lstStyle/>
          <a:p>
            <a:pPr marL="154940" indent="-154940" defTabSz="621792">
              <a:spcBef>
                <a:spcPts val="680"/>
              </a:spcBef>
              <a:spcAft>
                <a:spcPts val="680"/>
              </a:spcAft>
            </a:pPr>
            <a:r>
              <a:rPr lang="en-US" sz="1600" b="1" i="0" kern="1200" dirty="0">
                <a:latin typeface="+mn-lt"/>
                <a:ea typeface="+mn-lt"/>
                <a:cs typeface="+mn-lt"/>
              </a:rPr>
              <a:t>Brittney Autry</a:t>
            </a:r>
            <a:r>
              <a:rPr lang="en-US" sz="1600" dirty="0">
                <a:ea typeface="+mn-lt"/>
                <a:cs typeface="+mn-lt"/>
              </a:rPr>
              <a:t> – MCH Patient Partner</a:t>
            </a:r>
            <a:endParaRPr lang="en-US" sz="1600" dirty="0"/>
          </a:p>
          <a:p>
            <a:pPr marL="154940" indent="-154940" defTabSz="621792">
              <a:spcBef>
                <a:spcPts val="680"/>
              </a:spcBef>
              <a:spcAft>
                <a:spcPts val="680"/>
              </a:spcAft>
            </a:pPr>
            <a:r>
              <a:rPr lang="en-US" sz="1600" b="1" i="0" kern="1200" dirty="0">
                <a:latin typeface="+mn-lt"/>
                <a:ea typeface="+mn-lt"/>
                <a:cs typeface="+mn-lt"/>
              </a:rPr>
              <a:t>Charity Bean </a:t>
            </a:r>
            <a:r>
              <a:rPr lang="en-US" sz="1600" b="0" i="0" kern="1200" dirty="0">
                <a:latin typeface="+mn-lt"/>
                <a:ea typeface="+mn-lt"/>
                <a:cs typeface="+mn-lt"/>
              </a:rPr>
              <a:t>–Doula Bean</a:t>
            </a:r>
            <a:endParaRPr lang="en-US" sz="1632" dirty="0">
              <a:cs typeface="+mn-lt"/>
            </a:endParaRPr>
          </a:p>
          <a:p>
            <a:pPr marL="154940" indent="-154940" defTabSz="621792">
              <a:spcBef>
                <a:spcPts val="680"/>
              </a:spcBef>
              <a:spcAft>
                <a:spcPts val="680"/>
              </a:spcAft>
            </a:pPr>
            <a:r>
              <a:rPr lang="en-US" sz="1600" b="1" dirty="0">
                <a:ea typeface="+mn-lt"/>
                <a:cs typeface="+mn-lt"/>
              </a:rPr>
              <a:t>Debra Draper </a:t>
            </a:r>
            <a:r>
              <a:rPr lang="en-US" sz="1600" dirty="0">
                <a:ea typeface="+mn-lt"/>
                <a:cs typeface="+mn-lt"/>
              </a:rPr>
              <a:t>– Patient Partner</a:t>
            </a:r>
            <a:endParaRPr lang="en-US" sz="1600" dirty="0">
              <a:cs typeface="+mn-lt"/>
            </a:endParaRPr>
          </a:p>
          <a:p>
            <a:pPr marL="154940" indent="-154940" defTabSz="621792">
              <a:spcBef>
                <a:spcPts val="680"/>
              </a:spcBef>
              <a:spcAft>
                <a:spcPts val="680"/>
              </a:spcAft>
            </a:pPr>
            <a:r>
              <a:rPr lang="en-US" sz="1600" b="1" dirty="0">
                <a:ea typeface="+mn-lt"/>
                <a:cs typeface="+mn-lt"/>
              </a:rPr>
              <a:t>Linda Gordon</a:t>
            </a:r>
            <a:r>
              <a:rPr lang="en-US" sz="1600" dirty="0">
                <a:ea typeface="+mn-lt"/>
                <a:cs typeface="+mn-lt"/>
              </a:rPr>
              <a:t> - Doula</a:t>
            </a:r>
            <a:endParaRPr lang="en-US" sz="1600" b="0" i="0" kern="1200" dirty="0">
              <a:latin typeface="+mn-lt"/>
              <a:ea typeface="Lato" panose="020F0502020204030203" pitchFamily="34" charset="0"/>
              <a:cs typeface="Calibri"/>
            </a:endParaRPr>
          </a:p>
          <a:p>
            <a:pPr marL="154940" indent="-154940" defTabSz="621792">
              <a:spcBef>
                <a:spcPts val="680"/>
              </a:spcBef>
              <a:spcAft>
                <a:spcPts val="680"/>
              </a:spcAft>
            </a:pPr>
            <a:r>
              <a:rPr lang="en-US" sz="1600" b="1" i="0" kern="1200" dirty="0">
                <a:latin typeface="+mn-lt"/>
                <a:ea typeface="+mn-lt"/>
                <a:cs typeface="+mn-lt"/>
              </a:rPr>
              <a:t>Amanda Henley</a:t>
            </a:r>
            <a:r>
              <a:rPr lang="en-US" sz="1600" b="0" i="0" kern="1200" dirty="0">
                <a:latin typeface="+mn-lt"/>
                <a:ea typeface="+mn-lt"/>
                <a:cs typeface="+mn-lt"/>
              </a:rPr>
              <a:t> – </a:t>
            </a:r>
            <a:r>
              <a:rPr lang="en-US" sz="1600" dirty="0">
                <a:ea typeface="+mn-lt"/>
                <a:cs typeface="+mn-lt"/>
              </a:rPr>
              <a:t>Patient</a:t>
            </a:r>
            <a:r>
              <a:rPr lang="en-US" sz="1600" b="0" i="0" kern="1200" dirty="0">
                <a:latin typeface="+mn-lt"/>
                <a:ea typeface="+mn-lt"/>
                <a:cs typeface="+mn-lt"/>
              </a:rPr>
              <a:t> </a:t>
            </a:r>
            <a:r>
              <a:rPr lang="en-US" sz="1600" dirty="0">
                <a:ea typeface="+mn-lt"/>
                <a:cs typeface="+mn-lt"/>
              </a:rPr>
              <a:t>Partner</a:t>
            </a:r>
            <a:endParaRPr lang="en-US" sz="1600" b="0" i="0" kern="1200" dirty="0">
              <a:latin typeface="+mn-lt"/>
            </a:endParaRPr>
          </a:p>
          <a:p>
            <a:pPr marL="154940" indent="-154940" defTabSz="621792">
              <a:spcBef>
                <a:spcPts val="680"/>
              </a:spcBef>
              <a:spcAft>
                <a:spcPts val="680"/>
              </a:spcAft>
            </a:pPr>
            <a:r>
              <a:rPr lang="en-US" sz="1600" b="1" dirty="0">
                <a:ea typeface="+mn-lt"/>
                <a:cs typeface="+mn-lt"/>
              </a:rPr>
              <a:t>Talibah Johnson</a:t>
            </a:r>
            <a:r>
              <a:rPr lang="en-US" sz="1600" dirty="0">
                <a:ea typeface="+mn-lt"/>
                <a:cs typeface="+mn-lt"/>
              </a:rPr>
              <a:t> – </a:t>
            </a:r>
            <a:r>
              <a:rPr lang="en-US" sz="1600" dirty="0" err="1">
                <a:ea typeface="+mn-lt"/>
                <a:cs typeface="+mn-lt"/>
              </a:rPr>
              <a:t>EverThrive</a:t>
            </a:r>
            <a:r>
              <a:rPr lang="en-US" sz="1600" dirty="0">
                <a:ea typeface="+mn-lt"/>
                <a:cs typeface="+mn-lt"/>
              </a:rPr>
              <a:t> IL</a:t>
            </a:r>
          </a:p>
          <a:p>
            <a:pPr marL="154940" indent="-154940" defTabSz="621792">
              <a:spcBef>
                <a:spcPts val="680"/>
              </a:spcBef>
              <a:spcAft>
                <a:spcPts val="680"/>
              </a:spcAft>
            </a:pPr>
            <a:r>
              <a:rPr lang="en-US" sz="1600" b="1" i="0" kern="1200" dirty="0">
                <a:latin typeface="+mn-lt"/>
                <a:ea typeface="+mn-lt"/>
                <a:cs typeface="+mn-lt"/>
              </a:rPr>
              <a:t>Cecilia Macias</a:t>
            </a:r>
            <a:r>
              <a:rPr lang="en-US" sz="1600" b="0" i="0" kern="1200" dirty="0">
                <a:latin typeface="+mn-lt"/>
                <a:ea typeface="+mn-lt"/>
                <a:cs typeface="+mn-lt"/>
              </a:rPr>
              <a:t> – </a:t>
            </a:r>
            <a:r>
              <a:rPr lang="en-US" sz="1600" dirty="0">
                <a:ea typeface="+mn-lt"/>
                <a:cs typeface="+mn-lt"/>
              </a:rPr>
              <a:t>Patient</a:t>
            </a:r>
            <a:r>
              <a:rPr lang="en-US" sz="1600" b="0" i="0" kern="1200" dirty="0">
                <a:latin typeface="+mn-lt"/>
                <a:ea typeface="+mn-lt"/>
                <a:cs typeface="+mn-lt"/>
              </a:rPr>
              <a:t> </a:t>
            </a:r>
            <a:r>
              <a:rPr lang="en-US" sz="1600" dirty="0">
                <a:ea typeface="+mn-lt"/>
                <a:cs typeface="+mn-lt"/>
              </a:rPr>
              <a:t>Partner</a:t>
            </a:r>
            <a:endParaRPr lang="en-US" sz="1600" b="0" i="0" kern="1200" dirty="0">
              <a:latin typeface="+mn-lt"/>
            </a:endParaRPr>
          </a:p>
          <a:p>
            <a:pPr marL="154940" indent="-154940" defTabSz="621792">
              <a:spcBef>
                <a:spcPts val="680"/>
              </a:spcBef>
              <a:spcAft>
                <a:spcPts val="680"/>
              </a:spcAft>
            </a:pPr>
            <a:r>
              <a:rPr lang="en-US" sz="1600" b="1" dirty="0">
                <a:ea typeface="Lato"/>
                <a:cs typeface="Calibri"/>
              </a:rPr>
              <a:t>Sandra Martell</a:t>
            </a:r>
            <a:r>
              <a:rPr lang="en-US" sz="1600" dirty="0">
                <a:ea typeface="Lato"/>
                <a:cs typeface="Calibri"/>
              </a:rPr>
              <a:t> - Winnebago County Health Department</a:t>
            </a:r>
          </a:p>
          <a:p>
            <a:pPr defTabSz="621792">
              <a:spcBef>
                <a:spcPts val="0"/>
              </a:spcBef>
              <a:spcAft>
                <a:spcPts val="0"/>
              </a:spcAft>
            </a:pPr>
            <a:endParaRPr lang="en-US" b="0" i="0" kern="1200">
              <a:solidFill>
                <a:schemeClr val="tx1"/>
              </a:solidFill>
              <a:latin typeface="+mn-lt"/>
              <a:cs typeface="Calibri"/>
            </a:endParaRPr>
          </a:p>
        </p:txBody>
      </p:sp>
      <p:sp>
        <p:nvSpPr>
          <p:cNvPr id="11" name="Content Placeholder 20">
            <a:extLst>
              <a:ext uri="{FF2B5EF4-FFF2-40B4-BE49-F238E27FC236}">
                <a16:creationId xmlns:a16="http://schemas.microsoft.com/office/drawing/2014/main" id="{4B764254-C5DC-4873-C36C-C0EEF864582A}"/>
              </a:ext>
            </a:extLst>
          </p:cNvPr>
          <p:cNvSpPr txBox="1">
            <a:spLocks/>
          </p:cNvSpPr>
          <p:nvPr/>
        </p:nvSpPr>
        <p:spPr>
          <a:xfrm>
            <a:off x="6264207" y="2382062"/>
            <a:ext cx="3725729" cy="2975251"/>
          </a:xfrm>
          <a:prstGeom prst="rect">
            <a:avLst/>
          </a:prstGeom>
        </p:spPr>
        <p:txBody>
          <a:bodyPr vert="horz" lIns="91440" tIns="45720" rIns="91440" bIns="45720" rtlCol="0" anchor="t">
            <a:noAutofit/>
          </a:bodyPr>
          <a:lst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54940" indent="-154940" defTabSz="621792">
              <a:spcBef>
                <a:spcPts val="680"/>
              </a:spcBef>
              <a:spcAft>
                <a:spcPts val="680"/>
              </a:spcAft>
            </a:pPr>
            <a:r>
              <a:rPr lang="en-US" sz="1600" b="1">
                <a:ea typeface="+mn-lt"/>
                <a:cs typeface="+mn-lt"/>
              </a:rPr>
              <a:t>Tayo </a:t>
            </a:r>
            <a:r>
              <a:rPr lang="en-US" sz="1600" b="1" err="1">
                <a:ea typeface="+mn-lt"/>
                <a:cs typeface="+mn-lt"/>
              </a:rPr>
              <a:t>Mbande</a:t>
            </a:r>
            <a:r>
              <a:rPr lang="en-US" sz="1600">
                <a:ea typeface="+mn-lt"/>
                <a:cs typeface="+mn-lt"/>
              </a:rPr>
              <a:t> – Chicago </a:t>
            </a:r>
            <a:r>
              <a:rPr lang="en-US" sz="1600" err="1">
                <a:ea typeface="+mn-lt"/>
                <a:cs typeface="+mn-lt"/>
              </a:rPr>
              <a:t>Birthworks</a:t>
            </a:r>
            <a:r>
              <a:rPr lang="en-US" sz="1600">
                <a:ea typeface="+mn-lt"/>
                <a:cs typeface="+mn-lt"/>
              </a:rPr>
              <a:t> </a:t>
            </a:r>
            <a:endParaRPr lang="en-US"/>
          </a:p>
          <a:p>
            <a:pPr marL="154940" indent="-154940" defTabSz="621792">
              <a:spcBef>
                <a:spcPts val="680"/>
              </a:spcBef>
              <a:spcAft>
                <a:spcPts val="680"/>
              </a:spcAft>
            </a:pPr>
            <a:r>
              <a:rPr lang="en-US" sz="1600" b="1">
                <a:ea typeface="+mn-lt"/>
                <a:cs typeface="+mn-lt"/>
              </a:rPr>
              <a:t>Tamela Milan-Alexander</a:t>
            </a:r>
            <a:r>
              <a:rPr lang="en-US" sz="1600">
                <a:ea typeface="+mn-lt"/>
                <a:cs typeface="+mn-lt"/>
              </a:rPr>
              <a:t> –MCH Patient Partner and </a:t>
            </a:r>
            <a:r>
              <a:rPr lang="en-US" sz="1600" err="1">
                <a:ea typeface="+mn-lt"/>
                <a:cs typeface="+mn-lt"/>
              </a:rPr>
              <a:t>EverThrive</a:t>
            </a:r>
            <a:r>
              <a:rPr lang="en-US" sz="1600">
                <a:ea typeface="+mn-lt"/>
                <a:cs typeface="+mn-lt"/>
              </a:rPr>
              <a:t> IL</a:t>
            </a:r>
          </a:p>
          <a:p>
            <a:pPr marL="154940" indent="-154940" defTabSz="621792">
              <a:spcBef>
                <a:spcPts val="680"/>
              </a:spcBef>
              <a:spcAft>
                <a:spcPts val="680"/>
              </a:spcAft>
            </a:pPr>
            <a:r>
              <a:rPr lang="en-US" sz="1600" b="1" i="0" kern="1200">
                <a:latin typeface="+mn-lt"/>
                <a:ea typeface="+mn-lt"/>
                <a:cs typeface="+mn-lt"/>
              </a:rPr>
              <a:t>Erin Miller </a:t>
            </a:r>
            <a:r>
              <a:rPr lang="en-US" sz="1600" b="1">
                <a:ea typeface="+mn-lt"/>
                <a:cs typeface="+mn-lt"/>
              </a:rPr>
              <a:t>&amp; Anni Reinking</a:t>
            </a:r>
            <a:r>
              <a:rPr lang="en-US" sz="1600">
                <a:ea typeface="+mn-lt"/>
                <a:cs typeface="+mn-lt"/>
              </a:rPr>
              <a:t> –</a:t>
            </a:r>
            <a:r>
              <a:rPr lang="en-US" sz="1600" b="0" i="0" kern="1200">
                <a:latin typeface="+mn-lt"/>
                <a:ea typeface="+mn-lt"/>
                <a:cs typeface="+mn-lt"/>
              </a:rPr>
              <a:t> Family Connects Peoria County</a:t>
            </a:r>
            <a:endParaRPr lang="en-US" sz="1600"/>
          </a:p>
          <a:p>
            <a:pPr marL="154940" indent="-154940" defTabSz="621792">
              <a:spcBef>
                <a:spcPts val="680"/>
              </a:spcBef>
              <a:spcAft>
                <a:spcPts val="680"/>
              </a:spcAft>
            </a:pPr>
            <a:r>
              <a:rPr lang="en-US" sz="1600" b="1" i="0" kern="1200">
                <a:latin typeface="+mn-lt"/>
                <a:ea typeface="+mn-lt"/>
                <a:cs typeface="+mn-lt"/>
              </a:rPr>
              <a:t>Karie Stewart</a:t>
            </a:r>
            <a:r>
              <a:rPr lang="en-US" sz="1600" b="0" i="0" kern="1200">
                <a:latin typeface="+mn-lt"/>
                <a:ea typeface="+mn-lt"/>
                <a:cs typeface="+mn-lt"/>
              </a:rPr>
              <a:t> – Certified Nurse Midwife</a:t>
            </a:r>
            <a:r>
              <a:rPr lang="en-US" sz="1600">
                <a:ea typeface="+mn-lt"/>
                <a:cs typeface="+mn-lt"/>
              </a:rPr>
              <a:t>, </a:t>
            </a:r>
            <a:r>
              <a:rPr lang="en-US" sz="1600" b="0" i="0" kern="1200">
                <a:latin typeface="+mn-lt"/>
                <a:ea typeface="+mn-lt"/>
                <a:cs typeface="+mn-lt"/>
              </a:rPr>
              <a:t>U of I Health Services</a:t>
            </a:r>
            <a:endParaRPr lang="en-US" sz="1600" b="0" i="0" kern="1200">
              <a:latin typeface="+mn-lt"/>
            </a:endParaRPr>
          </a:p>
          <a:p>
            <a:pPr marL="154940" indent="-154940" defTabSz="621792">
              <a:spcBef>
                <a:spcPts val="680"/>
              </a:spcBef>
              <a:spcAft>
                <a:spcPts val="680"/>
              </a:spcAft>
            </a:pPr>
            <a:r>
              <a:rPr lang="en-US" sz="1600" b="1" i="0" kern="1200">
                <a:latin typeface="+mn-lt"/>
                <a:ea typeface="+mn-lt"/>
                <a:cs typeface="+mn-lt"/>
              </a:rPr>
              <a:t>Susan Waltrip</a:t>
            </a:r>
            <a:r>
              <a:rPr lang="en-US" sz="1600" b="0" i="0" kern="1200">
                <a:latin typeface="+mn-lt"/>
                <a:ea typeface="+mn-lt"/>
                <a:cs typeface="+mn-lt"/>
              </a:rPr>
              <a:t> – Springfield WIC Office</a:t>
            </a:r>
            <a:endParaRPr lang="en-US" sz="1600" b="0" i="0" kern="1200">
              <a:latin typeface="+mn-lt"/>
            </a:endParaRPr>
          </a:p>
          <a:p>
            <a:pPr marL="154940" indent="-154940" defTabSz="621792">
              <a:spcBef>
                <a:spcPts val="680"/>
              </a:spcBef>
              <a:spcAft>
                <a:spcPts val="680"/>
              </a:spcAft>
            </a:pPr>
            <a:endParaRPr lang="en-US" sz="1632" b="0" i="0" kern="1200">
              <a:solidFill>
                <a:schemeClr val="tx1"/>
              </a:solidFill>
              <a:latin typeface="+mn-lt"/>
              <a:ea typeface="+mn-lt"/>
              <a:cs typeface="+mn-lt"/>
            </a:endParaRPr>
          </a:p>
          <a:p>
            <a:endParaRPr lang="en-US">
              <a:cs typeface="Calibri"/>
            </a:endParaRPr>
          </a:p>
        </p:txBody>
      </p:sp>
    </p:spTree>
    <p:extLst>
      <p:ext uri="{BB962C8B-B14F-4D97-AF65-F5344CB8AC3E}">
        <p14:creationId xmlns:p14="http://schemas.microsoft.com/office/powerpoint/2010/main" val="26404966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E5F17139-31EE-46AC-B04F-DBBD852DD6C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454D9D2-FD51-4B03-BD7A-F1350B0E301B}"/>
              </a:ext>
            </a:extLst>
          </p:cNvPr>
          <p:cNvSpPr>
            <a:spLocks noGrp="1"/>
          </p:cNvSpPr>
          <p:nvPr>
            <p:ph type="title"/>
          </p:nvPr>
        </p:nvSpPr>
        <p:spPr>
          <a:xfrm>
            <a:off x="1331088" y="565739"/>
            <a:ext cx="9745883" cy="1124949"/>
          </a:xfrm>
        </p:spPr>
        <p:txBody>
          <a:bodyPr>
            <a:normAutofit/>
          </a:bodyPr>
          <a:lstStyle/>
          <a:p>
            <a:r>
              <a:rPr lang="en-US">
                <a:solidFill>
                  <a:schemeClr val="bg1"/>
                </a:solidFill>
                <a:ea typeface="Lato Medium"/>
                <a:cs typeface="Calibri"/>
              </a:rPr>
              <a:t>ILPQC 2023 Neonatal Community Advisory Board</a:t>
            </a:r>
            <a:endParaRPr lang="en-US" b="0">
              <a:solidFill>
                <a:schemeClr val="bg1"/>
              </a:solidFill>
              <a:ea typeface="Lato Medium"/>
              <a:cs typeface="+mj-lt"/>
            </a:endParaRPr>
          </a:p>
        </p:txBody>
      </p:sp>
      <p:sp>
        <p:nvSpPr>
          <p:cNvPr id="28" name="Freeform: Shape 27">
            <a:extLst>
              <a:ext uri="{FF2B5EF4-FFF2-40B4-BE49-F238E27FC236}">
                <a16:creationId xmlns:a16="http://schemas.microsoft.com/office/drawing/2014/main" id="{AAD42DD4-86F6-4FD2-869F-32D35E310CF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81037"/>
            <a:ext cx="1170294" cy="274629"/>
          </a:xfrm>
          <a:custGeom>
            <a:avLst/>
            <a:gdLst>
              <a:gd name="connsiteX0" fmla="*/ 453342 w 1170294"/>
              <a:gd name="connsiteY0" fmla="*/ 0 h 274629"/>
              <a:gd name="connsiteX1" fmla="*/ 689085 w 1170294"/>
              <a:gd name="connsiteY1" fmla="*/ 235744 h 274629"/>
              <a:gd name="connsiteX2" fmla="*/ 924829 w 1170294"/>
              <a:gd name="connsiteY2" fmla="*/ 0 h 274629"/>
              <a:gd name="connsiteX3" fmla="*/ 1170294 w 1170294"/>
              <a:gd name="connsiteY3" fmla="*/ 245465 h 274629"/>
              <a:gd name="connsiteX4" fmla="*/ 1153282 w 1170294"/>
              <a:gd name="connsiteY4" fmla="*/ 264908 h 274629"/>
              <a:gd name="connsiteX5" fmla="*/ 924829 w 1170294"/>
              <a:gd name="connsiteY5" fmla="*/ 38885 h 274629"/>
              <a:gd name="connsiteX6" fmla="*/ 689085 w 1170294"/>
              <a:gd name="connsiteY6" fmla="*/ 274629 h 274629"/>
              <a:gd name="connsiteX7" fmla="*/ 453342 w 1170294"/>
              <a:gd name="connsiteY7" fmla="*/ 38885 h 274629"/>
              <a:gd name="connsiteX8" fmla="*/ 215168 w 1170294"/>
              <a:gd name="connsiteY8" fmla="*/ 274629 h 274629"/>
              <a:gd name="connsiteX9" fmla="*/ 0 w 1170294"/>
              <a:gd name="connsiteY9" fmla="*/ 59462 h 274629"/>
              <a:gd name="connsiteX10" fmla="*/ 0 w 1170294"/>
              <a:gd name="connsiteY10" fmla="*/ 20577 h 274629"/>
              <a:gd name="connsiteX11" fmla="*/ 215168 w 1170294"/>
              <a:gd name="connsiteY11" fmla="*/ 235744 h 274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70294" h="274629">
                <a:moveTo>
                  <a:pt x="453342" y="0"/>
                </a:moveTo>
                <a:lnTo>
                  <a:pt x="689085" y="235744"/>
                </a:lnTo>
                <a:lnTo>
                  <a:pt x="924829" y="0"/>
                </a:lnTo>
                <a:lnTo>
                  <a:pt x="1170294" y="245465"/>
                </a:lnTo>
                <a:lnTo>
                  <a:pt x="1153282" y="264908"/>
                </a:lnTo>
                <a:lnTo>
                  <a:pt x="924829" y="38885"/>
                </a:lnTo>
                <a:lnTo>
                  <a:pt x="689085" y="274629"/>
                </a:lnTo>
                <a:lnTo>
                  <a:pt x="453342" y="38885"/>
                </a:lnTo>
                <a:lnTo>
                  <a:pt x="215168" y="274629"/>
                </a:lnTo>
                <a:lnTo>
                  <a:pt x="0" y="59462"/>
                </a:lnTo>
                <a:lnTo>
                  <a:pt x="0" y="20577"/>
                </a:lnTo>
                <a:lnTo>
                  <a:pt x="215168" y="235744"/>
                </a:lnTo>
                <a:close/>
              </a:path>
            </a:pathLst>
          </a:cu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sp>
        <p:nvSpPr>
          <p:cNvPr id="30" name="Freeform: Shape 29">
            <a:extLst>
              <a:ext uri="{FF2B5EF4-FFF2-40B4-BE49-F238E27FC236}">
                <a16:creationId xmlns:a16="http://schemas.microsoft.com/office/drawing/2014/main" id="{4C36B8C5-0DEB-41B5-911D-572E2E835E3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116069"/>
            <a:ext cx="1170294" cy="274629"/>
          </a:xfrm>
          <a:custGeom>
            <a:avLst/>
            <a:gdLst>
              <a:gd name="connsiteX0" fmla="*/ 453342 w 1170294"/>
              <a:gd name="connsiteY0" fmla="*/ 0 h 274629"/>
              <a:gd name="connsiteX1" fmla="*/ 689085 w 1170294"/>
              <a:gd name="connsiteY1" fmla="*/ 238174 h 274629"/>
              <a:gd name="connsiteX2" fmla="*/ 924829 w 1170294"/>
              <a:gd name="connsiteY2" fmla="*/ 0 h 274629"/>
              <a:gd name="connsiteX3" fmla="*/ 1170294 w 1170294"/>
              <a:gd name="connsiteY3" fmla="*/ 247895 h 274629"/>
              <a:gd name="connsiteX4" fmla="*/ 1153282 w 1170294"/>
              <a:gd name="connsiteY4" fmla="*/ 264908 h 274629"/>
              <a:gd name="connsiteX5" fmla="*/ 924829 w 1170294"/>
              <a:gd name="connsiteY5" fmla="*/ 38885 h 274629"/>
              <a:gd name="connsiteX6" fmla="*/ 689085 w 1170294"/>
              <a:gd name="connsiteY6" fmla="*/ 274629 h 274629"/>
              <a:gd name="connsiteX7" fmla="*/ 453342 w 1170294"/>
              <a:gd name="connsiteY7" fmla="*/ 38885 h 274629"/>
              <a:gd name="connsiteX8" fmla="*/ 215168 w 1170294"/>
              <a:gd name="connsiteY8" fmla="*/ 274629 h 274629"/>
              <a:gd name="connsiteX9" fmla="*/ 0 w 1170294"/>
              <a:gd name="connsiteY9" fmla="*/ 59462 h 274629"/>
              <a:gd name="connsiteX10" fmla="*/ 0 w 1170294"/>
              <a:gd name="connsiteY10" fmla="*/ 20789 h 274629"/>
              <a:gd name="connsiteX11" fmla="*/ 215168 w 1170294"/>
              <a:gd name="connsiteY11" fmla="*/ 238174 h 274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70294" h="274629">
                <a:moveTo>
                  <a:pt x="453342" y="0"/>
                </a:moveTo>
                <a:lnTo>
                  <a:pt x="689085" y="238174"/>
                </a:lnTo>
                <a:lnTo>
                  <a:pt x="924829" y="0"/>
                </a:lnTo>
                <a:lnTo>
                  <a:pt x="1170294" y="247895"/>
                </a:lnTo>
                <a:lnTo>
                  <a:pt x="1153282" y="264908"/>
                </a:lnTo>
                <a:lnTo>
                  <a:pt x="924829" y="38885"/>
                </a:lnTo>
                <a:lnTo>
                  <a:pt x="689085" y="274629"/>
                </a:lnTo>
                <a:lnTo>
                  <a:pt x="453342" y="38885"/>
                </a:lnTo>
                <a:lnTo>
                  <a:pt x="215168" y="274629"/>
                </a:lnTo>
                <a:lnTo>
                  <a:pt x="0" y="59462"/>
                </a:lnTo>
                <a:lnTo>
                  <a:pt x="0" y="20789"/>
                </a:lnTo>
                <a:lnTo>
                  <a:pt x="215168" y="23817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B5DC987A-A8C7-4C23-9BF5-33E9F6F21DC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36766" y="2256427"/>
            <a:ext cx="10855283" cy="3963398"/>
          </a:xfrm>
          <a:prstGeom prst="rect">
            <a:avLst/>
          </a:prstGeom>
          <a:solidFill>
            <a:srgbClr val="FFFF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F213F2CF-C6DF-4CE1-A6F0-E3B1BFBB0B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38200" y="2256427"/>
            <a:ext cx="10853849" cy="3955009"/>
          </a:xfrm>
          <a:prstGeom prst="rect">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84325C15-4820-4911-B66E-A5F917CFAE5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35106" y="2125615"/>
            <a:ext cx="10855283" cy="3974760"/>
          </a:xfrm>
          <a:prstGeom prst="rect">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C4CEE450-F382-85B8-1007-AE56BB298F32}"/>
              </a:ext>
            </a:extLst>
          </p:cNvPr>
          <p:cNvSpPr>
            <a:spLocks noGrp="1"/>
          </p:cNvSpPr>
          <p:nvPr>
            <p:ph type="sldNum" sz="quarter" idx="10"/>
          </p:nvPr>
        </p:nvSpPr>
        <p:spPr>
          <a:xfrm>
            <a:off x="8083864" y="5546586"/>
            <a:ext cx="1882692" cy="250590"/>
          </a:xfrm>
        </p:spPr>
        <p:txBody>
          <a:bodyPr/>
          <a:lstStyle/>
          <a:p>
            <a:pPr defTabSz="621792">
              <a:spcAft>
                <a:spcPts val="600"/>
              </a:spcAft>
            </a:pPr>
            <a:fld id="{97033E4B-E3EB-3D46-B2D8-3159663620FA}" type="slidenum">
              <a:rPr lang="en-US" sz="816" kern="1200">
                <a:solidFill>
                  <a:schemeClr val="tx2">
                    <a:lumMod val="60000"/>
                    <a:lumOff val="40000"/>
                  </a:schemeClr>
                </a:solidFill>
                <a:latin typeface="+mn-lt"/>
                <a:ea typeface="+mn-ea"/>
                <a:cs typeface="+mn-cs"/>
              </a:rPr>
              <a:pPr defTabSz="621792">
                <a:spcAft>
                  <a:spcPts val="600"/>
                </a:spcAft>
              </a:pPr>
              <a:t>7</a:t>
            </a:fld>
            <a:endParaRPr lang="en-US"/>
          </a:p>
        </p:txBody>
      </p:sp>
      <p:sp>
        <p:nvSpPr>
          <p:cNvPr id="5" name="Footer Placeholder 4">
            <a:extLst>
              <a:ext uri="{FF2B5EF4-FFF2-40B4-BE49-F238E27FC236}">
                <a16:creationId xmlns:a16="http://schemas.microsoft.com/office/drawing/2014/main" id="{D78FCC0D-964B-6184-D355-259732ED254B}"/>
              </a:ext>
            </a:extLst>
          </p:cNvPr>
          <p:cNvSpPr>
            <a:spLocks noGrp="1"/>
          </p:cNvSpPr>
          <p:nvPr>
            <p:ph type="ftr" sz="quarter" idx="11"/>
          </p:nvPr>
        </p:nvSpPr>
        <p:spPr>
          <a:xfrm>
            <a:off x="2435787" y="5546586"/>
            <a:ext cx="2824039" cy="250590"/>
          </a:xfrm>
        </p:spPr>
        <p:txBody>
          <a:bodyPr/>
          <a:lstStyle/>
          <a:p>
            <a:pPr algn="l" defTabSz="621792">
              <a:spcAft>
                <a:spcPts val="600"/>
              </a:spcAft>
            </a:pPr>
            <a:r>
              <a:rPr lang="en-US" sz="816" kern="1200">
                <a:solidFill>
                  <a:schemeClr val="tx1">
                    <a:tint val="75000"/>
                  </a:schemeClr>
                </a:solidFill>
                <a:latin typeface="+mn-lt"/>
                <a:ea typeface="+mn-ea"/>
                <a:cs typeface="+mn-cs"/>
              </a:rPr>
              <a:t>Illinois Perinatal Quality Collaborative</a:t>
            </a:r>
            <a:endParaRPr lang="en-US"/>
          </a:p>
        </p:txBody>
      </p:sp>
      <p:sp>
        <p:nvSpPr>
          <p:cNvPr id="21" name="Content Placeholder 20">
            <a:extLst>
              <a:ext uri="{FF2B5EF4-FFF2-40B4-BE49-F238E27FC236}">
                <a16:creationId xmlns:a16="http://schemas.microsoft.com/office/drawing/2014/main" id="{46A9C70C-276E-351C-C598-87624FCAEA39}"/>
              </a:ext>
            </a:extLst>
          </p:cNvPr>
          <p:cNvSpPr>
            <a:spLocks noGrp="1"/>
          </p:cNvSpPr>
          <p:nvPr>
            <p:ph idx="1"/>
          </p:nvPr>
        </p:nvSpPr>
        <p:spPr>
          <a:xfrm>
            <a:off x="2435787" y="2448220"/>
            <a:ext cx="3725729" cy="2975251"/>
          </a:xfrm>
        </p:spPr>
        <p:txBody>
          <a:bodyPr vert="horz" lIns="91440" tIns="45720" rIns="91440" bIns="45720" rtlCol="0" anchor="t">
            <a:noAutofit/>
          </a:bodyPr>
          <a:lstStyle/>
          <a:p>
            <a:pPr marL="154940" indent="-154940" defTabSz="621792">
              <a:spcBef>
                <a:spcPts val="680"/>
              </a:spcBef>
              <a:spcAft>
                <a:spcPts val="680"/>
              </a:spcAft>
            </a:pPr>
            <a:r>
              <a:rPr lang="en-US" sz="1600" b="1">
                <a:ea typeface="+mn-lt"/>
                <a:cs typeface="+mn-lt"/>
              </a:rPr>
              <a:t>Tia Britton </a:t>
            </a:r>
            <a:r>
              <a:rPr lang="en-US" sz="1600">
                <a:ea typeface="+mn-lt"/>
                <a:cs typeface="+mn-lt"/>
              </a:rPr>
              <a:t>– FIMR East St. Louis, Healthy Start East St. Louis</a:t>
            </a:r>
            <a:endParaRPr lang="en-US" sz="1600">
              <a:latin typeface="Lato"/>
              <a:ea typeface="Lato"/>
              <a:cs typeface="+mn-lt"/>
            </a:endParaRPr>
          </a:p>
          <a:p>
            <a:pPr marL="154940" indent="-154940" defTabSz="621792">
              <a:spcBef>
                <a:spcPts val="680"/>
              </a:spcBef>
              <a:spcAft>
                <a:spcPts val="680"/>
              </a:spcAft>
            </a:pPr>
            <a:r>
              <a:rPr lang="en-US" sz="1600" b="1">
                <a:ea typeface="+mn-lt"/>
                <a:cs typeface="+mn-lt"/>
              </a:rPr>
              <a:t>Ashley Horne</a:t>
            </a:r>
            <a:r>
              <a:rPr lang="en-US" sz="1600">
                <a:ea typeface="+mn-lt"/>
                <a:cs typeface="+mn-lt"/>
              </a:rPr>
              <a:t> - IDPH</a:t>
            </a:r>
            <a:endParaRPr lang="en-US" sz="1600">
              <a:ea typeface="Lato"/>
              <a:cs typeface="+mn-lt"/>
            </a:endParaRPr>
          </a:p>
          <a:p>
            <a:pPr marL="154940" indent="-154940" defTabSz="621792">
              <a:spcBef>
                <a:spcPts val="680"/>
              </a:spcBef>
              <a:spcAft>
                <a:spcPts val="680"/>
              </a:spcAft>
            </a:pPr>
            <a:r>
              <a:rPr lang="en-US" sz="1600" b="1">
                <a:latin typeface="Calibri"/>
                <a:ea typeface="Lato"/>
                <a:cs typeface="+mn-lt"/>
              </a:rPr>
              <a:t>Nancy Maruyama</a:t>
            </a:r>
            <a:r>
              <a:rPr lang="en-US" sz="1600">
                <a:latin typeface="Calibri"/>
                <a:ea typeface="Lato"/>
                <a:cs typeface="+mn-lt"/>
              </a:rPr>
              <a:t> – SIDS Illinois</a:t>
            </a:r>
            <a:endParaRPr lang="en-US" sz="1600" b="0" i="0" kern="1200">
              <a:latin typeface="Calibri"/>
              <a:ea typeface="Lato"/>
              <a:cs typeface="+mn-lt"/>
            </a:endParaRPr>
          </a:p>
          <a:p>
            <a:pPr marL="154940" indent="-154940" defTabSz="621792">
              <a:spcBef>
                <a:spcPts val="680"/>
              </a:spcBef>
              <a:spcAft>
                <a:spcPts val="680"/>
              </a:spcAft>
            </a:pPr>
            <a:r>
              <a:rPr lang="en-US" sz="1600" b="1">
                <a:ea typeface="Lato"/>
                <a:cs typeface="Calibri"/>
              </a:rPr>
              <a:t>Erin Miller</a:t>
            </a:r>
            <a:r>
              <a:rPr lang="en-US" sz="1600">
                <a:ea typeface="Lato"/>
                <a:cs typeface="Calibri"/>
              </a:rPr>
              <a:t> – Family Connect Peoria County</a:t>
            </a:r>
          </a:p>
          <a:p>
            <a:pPr marL="154940" indent="-154940" defTabSz="621792">
              <a:spcBef>
                <a:spcPts val="680"/>
              </a:spcBef>
              <a:spcAft>
                <a:spcPts val="680"/>
              </a:spcAft>
            </a:pPr>
            <a:r>
              <a:rPr lang="en-US" sz="1600" b="1">
                <a:ea typeface="Lato"/>
                <a:cs typeface="Calibri"/>
              </a:rPr>
              <a:t>Charisse Montgomery </a:t>
            </a:r>
            <a:r>
              <a:rPr lang="en-US" sz="1600">
                <a:ea typeface="Lato"/>
                <a:cs typeface="Calibri"/>
              </a:rPr>
              <a:t>– Black Butterfly Doula</a:t>
            </a:r>
            <a:endParaRPr lang="en-US" sz="1600">
              <a:cs typeface="Calibri"/>
            </a:endParaRPr>
          </a:p>
          <a:p>
            <a:pPr marL="154940" indent="-154940" defTabSz="621792">
              <a:spcBef>
                <a:spcPts val="680"/>
              </a:spcBef>
              <a:spcAft>
                <a:spcPts val="680"/>
              </a:spcAft>
            </a:pPr>
            <a:r>
              <a:rPr lang="en-US" sz="1600" b="1">
                <a:ea typeface="Lato"/>
                <a:cs typeface="Calibri"/>
              </a:rPr>
              <a:t>Jose Ortiz </a:t>
            </a:r>
            <a:r>
              <a:rPr lang="en-US" sz="1600">
                <a:ea typeface="Lato"/>
                <a:cs typeface="Calibri"/>
              </a:rPr>
              <a:t>– FIMR Chicago</a:t>
            </a:r>
            <a:endParaRPr lang="en-US" sz="1600">
              <a:cs typeface="Calibri"/>
            </a:endParaRPr>
          </a:p>
          <a:p>
            <a:pPr marL="154940" indent="-154940" defTabSz="621792">
              <a:spcBef>
                <a:spcPts val="680"/>
              </a:spcBef>
              <a:spcAft>
                <a:spcPts val="680"/>
              </a:spcAft>
            </a:pPr>
            <a:endParaRPr lang="en-US" sz="1632" b="0" i="0" kern="1200">
              <a:solidFill>
                <a:schemeClr val="tx1"/>
              </a:solidFill>
              <a:latin typeface="+mn-lt"/>
            </a:endParaRPr>
          </a:p>
          <a:p>
            <a:pPr marL="154940" indent="-154940" defTabSz="621792">
              <a:spcBef>
                <a:spcPts val="680"/>
              </a:spcBef>
              <a:spcAft>
                <a:spcPts val="680"/>
              </a:spcAft>
            </a:pPr>
            <a:endParaRPr lang="en-US" sz="1632" b="0" i="0" kern="1200">
              <a:solidFill>
                <a:schemeClr val="tx1"/>
              </a:solidFill>
              <a:latin typeface="+mn-lt"/>
              <a:cs typeface="Calibri"/>
            </a:endParaRPr>
          </a:p>
          <a:p>
            <a:pPr>
              <a:spcBef>
                <a:spcPts val="0"/>
              </a:spcBef>
              <a:spcAft>
                <a:spcPts val="0"/>
              </a:spcAft>
            </a:pPr>
            <a:endParaRPr lang="en-US">
              <a:cs typeface="Calibri"/>
            </a:endParaRPr>
          </a:p>
        </p:txBody>
      </p:sp>
      <p:sp>
        <p:nvSpPr>
          <p:cNvPr id="11" name="Content Placeholder 20">
            <a:extLst>
              <a:ext uri="{FF2B5EF4-FFF2-40B4-BE49-F238E27FC236}">
                <a16:creationId xmlns:a16="http://schemas.microsoft.com/office/drawing/2014/main" id="{4B764254-C5DC-4873-C36C-C0EEF864582A}"/>
              </a:ext>
            </a:extLst>
          </p:cNvPr>
          <p:cNvSpPr txBox="1">
            <a:spLocks/>
          </p:cNvSpPr>
          <p:nvPr/>
        </p:nvSpPr>
        <p:spPr>
          <a:xfrm>
            <a:off x="6285978" y="2425605"/>
            <a:ext cx="3725729" cy="2975251"/>
          </a:xfrm>
          <a:prstGeom prst="rect">
            <a:avLst/>
          </a:prstGeom>
        </p:spPr>
        <p:txBody>
          <a:bodyPr vert="horz" lIns="91440" tIns="45720" rIns="91440" bIns="45720" rtlCol="0" anchor="t">
            <a:noAutofit/>
          </a:bodyPr>
          <a:lst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54940" indent="-154940" defTabSz="621792">
              <a:spcBef>
                <a:spcPts val="680"/>
              </a:spcBef>
              <a:spcAft>
                <a:spcPts val="680"/>
              </a:spcAft>
            </a:pPr>
            <a:r>
              <a:rPr lang="en-US" sz="1600" b="1">
                <a:ea typeface="+mn-lt"/>
                <a:cs typeface="+mn-lt"/>
              </a:rPr>
              <a:t>Karen </a:t>
            </a:r>
            <a:r>
              <a:rPr lang="en-US" sz="1600" b="1" err="1">
                <a:ea typeface="+mn-lt"/>
                <a:cs typeface="+mn-lt"/>
              </a:rPr>
              <a:t>Shiftlett</a:t>
            </a:r>
            <a:r>
              <a:rPr lang="en-US" sz="1600">
                <a:ea typeface="+mn-lt"/>
                <a:cs typeface="+mn-lt"/>
              </a:rPr>
              <a:t> – Macon County Health Department</a:t>
            </a:r>
            <a:endParaRPr lang="en-US" err="1"/>
          </a:p>
          <a:p>
            <a:pPr marL="154940" indent="-154940" defTabSz="621792">
              <a:spcBef>
                <a:spcPts val="680"/>
              </a:spcBef>
              <a:spcAft>
                <a:spcPts val="680"/>
              </a:spcAft>
            </a:pPr>
            <a:r>
              <a:rPr lang="en-US" sz="1600" b="1">
                <a:ea typeface="Lato"/>
                <a:cs typeface="Calibri"/>
              </a:rPr>
              <a:t>Kakuna Smith</a:t>
            </a:r>
            <a:r>
              <a:rPr lang="en-US" sz="1600">
                <a:ea typeface="Lato"/>
                <a:cs typeface="Calibri"/>
              </a:rPr>
              <a:t> – Parent Partner</a:t>
            </a:r>
          </a:p>
          <a:p>
            <a:pPr marL="154940" indent="-154940" defTabSz="621792">
              <a:spcBef>
                <a:spcPts val="680"/>
              </a:spcBef>
              <a:spcAft>
                <a:spcPts val="680"/>
              </a:spcAft>
            </a:pPr>
            <a:r>
              <a:rPr lang="en-US" sz="1600" b="1">
                <a:ea typeface="Lato"/>
                <a:cs typeface="Calibri"/>
              </a:rPr>
              <a:t>Keyonna Tompkins</a:t>
            </a:r>
            <a:r>
              <a:rPr lang="en-US" sz="1600">
                <a:ea typeface="Lato"/>
                <a:cs typeface="Calibri"/>
              </a:rPr>
              <a:t> – Access Westside Healthy Start</a:t>
            </a:r>
            <a:endParaRPr lang="en-US" sz="1600">
              <a:cs typeface="Calibri"/>
            </a:endParaRPr>
          </a:p>
          <a:p>
            <a:pPr marL="154940" indent="-154940" defTabSz="621792">
              <a:spcBef>
                <a:spcPts val="680"/>
              </a:spcBef>
              <a:spcAft>
                <a:spcPts val="680"/>
              </a:spcAft>
            </a:pPr>
            <a:r>
              <a:rPr lang="en-US" sz="1600" b="1">
                <a:ea typeface="Lato"/>
                <a:cs typeface="Calibri"/>
              </a:rPr>
              <a:t>Odessa B. Williams</a:t>
            </a:r>
            <a:r>
              <a:rPr lang="en-US" sz="1600">
                <a:ea typeface="Lato"/>
                <a:cs typeface="Calibri"/>
              </a:rPr>
              <a:t> – FIMR Chicago</a:t>
            </a:r>
            <a:endParaRPr lang="en-US" sz="1600">
              <a:cs typeface="Calibri"/>
            </a:endParaRPr>
          </a:p>
          <a:p>
            <a:pPr marL="154940" indent="-154940" defTabSz="621792">
              <a:spcBef>
                <a:spcPts val="680"/>
              </a:spcBef>
              <a:spcAft>
                <a:spcPts val="680"/>
              </a:spcAft>
            </a:pPr>
            <a:r>
              <a:rPr lang="en-US" sz="1600" b="1">
                <a:ea typeface="Lato"/>
                <a:cs typeface="Calibri"/>
              </a:rPr>
              <a:t>Shanice Williams </a:t>
            </a:r>
            <a:r>
              <a:rPr lang="en-US" sz="1600">
                <a:ea typeface="Lato"/>
                <a:cs typeface="Calibri"/>
              </a:rPr>
              <a:t>– Community Coordinator, Ingalls Memorial</a:t>
            </a:r>
            <a:endParaRPr lang="en-US" sz="1600">
              <a:cs typeface="Calibri"/>
            </a:endParaRPr>
          </a:p>
          <a:p>
            <a:pPr marL="154940" indent="-154940" defTabSz="621792">
              <a:spcBef>
                <a:spcPts val="680"/>
              </a:spcBef>
              <a:spcAft>
                <a:spcPts val="680"/>
              </a:spcAft>
            </a:pPr>
            <a:endParaRPr lang="en-US" sz="1632" b="0" i="0" kern="1200">
              <a:solidFill>
                <a:schemeClr val="tx1"/>
              </a:solidFill>
              <a:latin typeface="+mn-lt"/>
              <a:ea typeface="+mn-lt"/>
              <a:cs typeface="+mn-lt"/>
            </a:endParaRPr>
          </a:p>
          <a:p>
            <a:endParaRPr lang="en-US">
              <a:cs typeface="Calibri"/>
            </a:endParaRPr>
          </a:p>
        </p:txBody>
      </p:sp>
    </p:spTree>
    <p:extLst>
      <p:ext uri="{BB962C8B-B14F-4D97-AF65-F5344CB8AC3E}">
        <p14:creationId xmlns:p14="http://schemas.microsoft.com/office/powerpoint/2010/main" val="37563150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16" name="Straight Connector 15">
            <a:extLst>
              <a:ext uri="{FF2B5EF4-FFF2-40B4-BE49-F238E27FC236}">
                <a16:creationId xmlns:a16="http://schemas.microsoft.com/office/drawing/2014/main" id="{1503BFE4-729B-D9D0-C17B-501E6AF1127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65140" y="871146"/>
            <a:ext cx="736939"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26581DA6-8863-80DC-77B7-DBE9FEA12BE9}"/>
              </a:ext>
            </a:extLst>
          </p:cNvPr>
          <p:cNvSpPr>
            <a:spLocks noGrp="1"/>
          </p:cNvSpPr>
          <p:nvPr>
            <p:ph idx="1"/>
          </p:nvPr>
        </p:nvSpPr>
        <p:spPr>
          <a:xfrm>
            <a:off x="539365" y="1645403"/>
            <a:ext cx="4526973" cy="3591207"/>
          </a:xfrm>
        </p:spPr>
        <p:txBody>
          <a:bodyPr vert="horz" lIns="91440" tIns="45720" rIns="91440" bIns="45720" rtlCol="0" anchor="t">
            <a:noAutofit/>
          </a:bodyPr>
          <a:lstStyle/>
          <a:p>
            <a:r>
              <a:rPr lang="en-US" sz="2300" dirty="0">
                <a:ea typeface="Lato"/>
                <a:cs typeface="Lato"/>
              </a:rPr>
              <a:t>How do we more effectively link our patients to community resources?</a:t>
            </a:r>
          </a:p>
          <a:p>
            <a:r>
              <a:rPr lang="en-US" sz="2300" dirty="0">
                <a:ea typeface="Lato"/>
                <a:cs typeface="Lato"/>
              </a:rPr>
              <a:t>By building relationships with community partners</a:t>
            </a:r>
            <a:endParaRPr lang="en-US" sz="2300" dirty="0"/>
          </a:p>
          <a:p>
            <a:pPr lvl="1"/>
            <a:r>
              <a:rPr lang="en-US" sz="2300" dirty="0">
                <a:ea typeface="Lato"/>
                <a:cs typeface="Lato"/>
              </a:rPr>
              <a:t>Doulas, Community Health Workers, Home Visitors</a:t>
            </a:r>
            <a:endParaRPr lang="en-US" sz="2300" dirty="0"/>
          </a:p>
          <a:p>
            <a:pPr lvl="1"/>
            <a:r>
              <a:rPr lang="en-US" sz="2300" dirty="0">
                <a:ea typeface="Lato"/>
                <a:cs typeface="Lato"/>
              </a:rPr>
              <a:t>Share Birth Equity resources with outpatient prenatal care locations</a:t>
            </a:r>
            <a:endParaRPr lang="en-US" sz="2300" dirty="0"/>
          </a:p>
          <a:p>
            <a:pPr lvl="2">
              <a:buClr>
                <a:srgbClr val="F5668F"/>
              </a:buClr>
            </a:pPr>
            <a:endParaRPr lang="en-US" sz="2000" dirty="0">
              <a:cs typeface="Calibri"/>
            </a:endParaRPr>
          </a:p>
          <a:p>
            <a:pPr lvl="2">
              <a:buClr>
                <a:srgbClr val="F5668F"/>
              </a:buClr>
            </a:pPr>
            <a:endParaRPr lang="en-US" sz="2000" dirty="0">
              <a:cs typeface="Calibri"/>
            </a:endParaRPr>
          </a:p>
        </p:txBody>
      </p:sp>
      <p:pic>
        <p:nvPicPr>
          <p:cNvPr id="11" name="Picture 10">
            <a:extLst>
              <a:ext uri="{FF2B5EF4-FFF2-40B4-BE49-F238E27FC236}">
                <a16:creationId xmlns:a16="http://schemas.microsoft.com/office/drawing/2014/main" id="{C418DAEC-6BD9-92B7-AAA9-D181351B48C8}"/>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r="-1"/>
          <a:stretch/>
        </p:blipFill>
        <p:spPr>
          <a:xfrm>
            <a:off x="6096001" y="1"/>
            <a:ext cx="3048000" cy="3429000"/>
          </a:xfrm>
          <a:prstGeom prst="rect">
            <a:avLst/>
          </a:prstGeom>
        </p:spPr>
      </p:pic>
      <p:pic>
        <p:nvPicPr>
          <p:cNvPr id="8" name="Picture 7" descr="A poster for a doula&#10;&#10;Description automatically generated">
            <a:extLst>
              <a:ext uri="{FF2B5EF4-FFF2-40B4-BE49-F238E27FC236}">
                <a16:creationId xmlns:a16="http://schemas.microsoft.com/office/drawing/2014/main" id="{3E1EFB67-E5DB-30C1-6B74-135284106FA6}"/>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l="-474" t="-632"/>
          <a:stretch/>
        </p:blipFill>
        <p:spPr>
          <a:xfrm>
            <a:off x="9144000" y="10"/>
            <a:ext cx="3048125" cy="3431265"/>
          </a:xfrm>
          <a:prstGeom prst="rect">
            <a:avLst/>
          </a:prstGeom>
        </p:spPr>
      </p:pic>
      <p:sp>
        <p:nvSpPr>
          <p:cNvPr id="12" name="Rectangle 11">
            <a:extLst>
              <a:ext uri="{FF2B5EF4-FFF2-40B4-BE49-F238E27FC236}">
                <a16:creationId xmlns:a16="http://schemas.microsoft.com/office/drawing/2014/main" id="{7FBDCEEC-F60E-3E4C-A38C-47E000A79FD6}"/>
              </a:ext>
            </a:extLst>
          </p:cNvPr>
          <p:cNvSpPr/>
          <p:nvPr/>
        </p:nvSpPr>
        <p:spPr>
          <a:xfrm>
            <a:off x="8050039" y="1373110"/>
            <a:ext cx="2519881" cy="686553"/>
          </a:xfrm>
          <a:prstGeom prst="rect">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b="1">
                <a:cs typeface="Calibri"/>
              </a:rPr>
              <a:t>ILPQC Doula Resource – find it in your folder!</a:t>
            </a:r>
          </a:p>
        </p:txBody>
      </p:sp>
      <p:pic>
        <p:nvPicPr>
          <p:cNvPr id="5" name="Picture 4" descr="A screenshot of a computer&#10;&#10;Description automatically generated">
            <a:extLst>
              <a:ext uri="{FF2B5EF4-FFF2-40B4-BE49-F238E27FC236}">
                <a16:creationId xmlns:a16="http://schemas.microsoft.com/office/drawing/2014/main" id="{5468B20A-C47B-81BC-3F58-83635BCC36C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940061" y="3528848"/>
            <a:ext cx="7257689" cy="2589511"/>
          </a:xfrm>
          <a:prstGeom prst="rect">
            <a:avLst/>
          </a:prstGeom>
          <a:ln>
            <a:noFill/>
          </a:ln>
          <a:effectLst>
            <a:outerShdw blurRad="190500" algn="tl" rotWithShape="0">
              <a:srgbClr val="000000">
                <a:alpha val="70000"/>
              </a:srgbClr>
            </a:outerShdw>
          </a:effectLst>
        </p:spPr>
      </p:pic>
      <p:sp>
        <p:nvSpPr>
          <p:cNvPr id="14" name="Rectangle 13">
            <a:extLst>
              <a:ext uri="{FF2B5EF4-FFF2-40B4-BE49-F238E27FC236}">
                <a16:creationId xmlns:a16="http://schemas.microsoft.com/office/drawing/2014/main" id="{52DC2054-6385-74DB-C9BD-C5FFBADFE7A5}"/>
              </a:ext>
            </a:extLst>
          </p:cNvPr>
          <p:cNvSpPr/>
          <p:nvPr/>
        </p:nvSpPr>
        <p:spPr>
          <a:xfrm>
            <a:off x="9202789" y="3577401"/>
            <a:ext cx="2994334" cy="902213"/>
          </a:xfrm>
          <a:prstGeom prst="rect">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b="1" dirty="0">
                <a:cs typeface="Calibri"/>
              </a:rPr>
              <a:t>IGROW Illinois Home Visiting Collaborative helps identify Home Visiting Programs   </a:t>
            </a:r>
          </a:p>
        </p:txBody>
      </p:sp>
      <p:pic>
        <p:nvPicPr>
          <p:cNvPr id="4" name="Picture 3" descr="A qr code on a white background&#10;&#10;Description automatically generated">
            <a:extLst>
              <a:ext uri="{FF2B5EF4-FFF2-40B4-BE49-F238E27FC236}">
                <a16:creationId xmlns:a16="http://schemas.microsoft.com/office/drawing/2014/main" id="{8878B087-C83E-CCFE-B9EE-9F9F937D89E8}"/>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714457" y="5053910"/>
            <a:ext cx="1330447" cy="1624104"/>
          </a:xfrm>
          <a:prstGeom prst="rect">
            <a:avLst/>
          </a:prstGeom>
        </p:spPr>
      </p:pic>
      <p:sp>
        <p:nvSpPr>
          <p:cNvPr id="6" name="Rectangle: Rounded Corners 5">
            <a:extLst>
              <a:ext uri="{FF2B5EF4-FFF2-40B4-BE49-F238E27FC236}">
                <a16:creationId xmlns:a16="http://schemas.microsoft.com/office/drawing/2014/main" id="{8196C84A-3D43-CE9C-7D8B-48BA1A622C79}"/>
              </a:ext>
            </a:extLst>
          </p:cNvPr>
          <p:cNvSpPr/>
          <p:nvPr/>
        </p:nvSpPr>
        <p:spPr>
          <a:xfrm>
            <a:off x="548639" y="335279"/>
            <a:ext cx="1940943" cy="963283"/>
          </a:xfrm>
          <a:prstGeom prst="round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FC76440-C9CB-9CC8-7DA0-07A71B19AE83}"/>
              </a:ext>
            </a:extLst>
          </p:cNvPr>
          <p:cNvSpPr>
            <a:spLocks noGrp="1"/>
          </p:cNvSpPr>
          <p:nvPr>
            <p:ph type="title"/>
          </p:nvPr>
        </p:nvSpPr>
        <p:spPr>
          <a:xfrm>
            <a:off x="305767" y="254185"/>
            <a:ext cx="4742633" cy="1805036"/>
          </a:xfrm>
          <a:noFill/>
        </p:spPr>
        <p:txBody>
          <a:bodyPr anchor="t">
            <a:normAutofit/>
          </a:bodyPr>
          <a:lstStyle/>
          <a:p>
            <a:r>
              <a:rPr lang="en-US" dirty="0">
                <a:ea typeface="Lato Medium"/>
                <a:cs typeface="Lato Medium"/>
              </a:rPr>
              <a:t>Linking with Community Partners</a:t>
            </a:r>
            <a:endParaRPr lang="en-US" dirty="0"/>
          </a:p>
        </p:txBody>
      </p:sp>
      <p:sp>
        <p:nvSpPr>
          <p:cNvPr id="7" name="Rectangle 6">
            <a:extLst>
              <a:ext uri="{FF2B5EF4-FFF2-40B4-BE49-F238E27FC236}">
                <a16:creationId xmlns:a16="http://schemas.microsoft.com/office/drawing/2014/main" id="{CAD463A8-F7AB-78E8-1589-ECCCD41E9471}"/>
              </a:ext>
            </a:extLst>
          </p:cNvPr>
          <p:cNvSpPr/>
          <p:nvPr/>
        </p:nvSpPr>
        <p:spPr>
          <a:xfrm>
            <a:off x="5565318" y="5992797"/>
            <a:ext cx="4676484" cy="859081"/>
          </a:xfrm>
          <a:prstGeom prst="rect">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b="1" dirty="0">
                <a:cs typeface="Calibri"/>
              </a:rPr>
              <a:t>Identify a single point of entry for Home Visiting Programs or use the search tool to find a program near your hospital</a:t>
            </a:r>
          </a:p>
        </p:txBody>
      </p:sp>
      <p:pic>
        <p:nvPicPr>
          <p:cNvPr id="9" name="Picture 8">
            <a:extLst>
              <a:ext uri="{FF2B5EF4-FFF2-40B4-BE49-F238E27FC236}">
                <a16:creationId xmlns:a16="http://schemas.microsoft.com/office/drawing/2014/main" id="{DD9BA0CB-FD87-4970-BABC-5492C281BDB3}"/>
              </a:ext>
            </a:extLst>
          </p:cNvPr>
          <p:cNvPicPr>
            <a:picLocks noChangeAspect="1"/>
          </p:cNvPicPr>
          <p:nvPr/>
        </p:nvPicPr>
        <p:blipFill>
          <a:blip r:embed="rId8"/>
          <a:stretch>
            <a:fillRect/>
          </a:stretch>
        </p:blipFill>
        <p:spPr>
          <a:xfrm>
            <a:off x="5048400" y="5263602"/>
            <a:ext cx="2247900" cy="666750"/>
          </a:xfrm>
          <a:prstGeom prst="rect">
            <a:avLst/>
          </a:prstGeom>
        </p:spPr>
      </p:pic>
    </p:spTree>
    <p:extLst>
      <p:ext uri="{BB962C8B-B14F-4D97-AF65-F5344CB8AC3E}">
        <p14:creationId xmlns:p14="http://schemas.microsoft.com/office/powerpoint/2010/main" val="3116073842"/>
      </p:ext>
    </p:extLst>
  </p:cSld>
  <p:clrMapOvr>
    <a:masterClrMapping/>
  </p:clrMapOvr>
  <p:extLst>
    <p:ext uri="{6950BFC3-D8DA-4A85-94F7-54DA5524770B}">
      <p188:commentRel xmlns:p188="http://schemas.microsoft.com/office/powerpoint/2018/8/main" r:id="rId3"/>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54D9D2-FD51-4B03-BD7A-F1350B0E301B}"/>
              </a:ext>
            </a:extLst>
          </p:cNvPr>
          <p:cNvSpPr>
            <a:spLocks noGrp="1"/>
          </p:cNvSpPr>
          <p:nvPr>
            <p:ph type="title"/>
          </p:nvPr>
        </p:nvSpPr>
        <p:spPr>
          <a:xfrm>
            <a:off x="435428" y="222679"/>
            <a:ext cx="6986954" cy="1325563"/>
          </a:xfrm>
          <a:noFill/>
        </p:spPr>
        <p:txBody>
          <a:bodyPr/>
          <a:lstStyle/>
          <a:p>
            <a:r>
              <a:rPr lang="en-US" dirty="0">
                <a:ea typeface="Lato Medium"/>
                <a:cs typeface="Calibri"/>
              </a:rPr>
              <a:t>Advancing Hospital-level Patient &amp; Community Engagement</a:t>
            </a:r>
            <a:endParaRPr lang="en-US" dirty="0">
              <a:cs typeface="Calibri"/>
            </a:endParaRPr>
          </a:p>
        </p:txBody>
      </p:sp>
      <p:sp>
        <p:nvSpPr>
          <p:cNvPr id="4" name="Slide Number Placeholder 3">
            <a:extLst>
              <a:ext uri="{FF2B5EF4-FFF2-40B4-BE49-F238E27FC236}">
                <a16:creationId xmlns:a16="http://schemas.microsoft.com/office/drawing/2014/main" id="{C4CEE450-F382-85B8-1007-AE56BB298F32}"/>
              </a:ext>
            </a:extLst>
          </p:cNvPr>
          <p:cNvSpPr>
            <a:spLocks noGrp="1"/>
          </p:cNvSpPr>
          <p:nvPr>
            <p:ph type="sldNum" sz="quarter" idx="10"/>
          </p:nvPr>
        </p:nvSpPr>
        <p:spPr/>
        <p:txBody>
          <a:bodyPr/>
          <a:lstStyle/>
          <a:p>
            <a:fld id="{97033E4B-E3EB-3D46-B2D8-3159663620FA}" type="slidenum">
              <a:rPr lang="en-US" dirty="0" smtClean="0"/>
              <a:pPr/>
              <a:t>9</a:t>
            </a:fld>
            <a:endParaRPr lang="en-US"/>
          </a:p>
        </p:txBody>
      </p:sp>
      <p:sp>
        <p:nvSpPr>
          <p:cNvPr id="5" name="Footer Placeholder 4">
            <a:extLst>
              <a:ext uri="{FF2B5EF4-FFF2-40B4-BE49-F238E27FC236}">
                <a16:creationId xmlns:a16="http://schemas.microsoft.com/office/drawing/2014/main" id="{D78FCC0D-964B-6184-D355-259732ED254B}"/>
              </a:ext>
            </a:extLst>
          </p:cNvPr>
          <p:cNvSpPr>
            <a:spLocks noGrp="1"/>
          </p:cNvSpPr>
          <p:nvPr>
            <p:ph type="ftr" sz="quarter" idx="11"/>
          </p:nvPr>
        </p:nvSpPr>
        <p:spPr/>
        <p:txBody>
          <a:bodyPr/>
          <a:lstStyle/>
          <a:p>
            <a:pPr algn="l"/>
            <a:r>
              <a:rPr lang="en-US"/>
              <a:t>Illinois Perinatal Quality Collaborative</a:t>
            </a:r>
          </a:p>
        </p:txBody>
      </p:sp>
      <p:pic>
        <p:nvPicPr>
          <p:cNvPr id="10" name="Picture 6" descr="A picture containing text&#10;&#10;Description automatically generated">
            <a:extLst>
              <a:ext uri="{FF2B5EF4-FFF2-40B4-BE49-F238E27FC236}">
                <a16:creationId xmlns:a16="http://schemas.microsoft.com/office/drawing/2014/main" id="{F27DEC56-9E71-C49C-3E0A-B0FD6F49349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927446" y="1624341"/>
            <a:ext cx="3252616" cy="5041451"/>
          </a:xfrm>
          <a:prstGeom prst="rect">
            <a:avLst/>
          </a:prstGeom>
        </p:spPr>
      </p:pic>
      <p:pic>
        <p:nvPicPr>
          <p:cNvPr id="17" name="Graphic 5" descr="Badge New with solid fill">
            <a:extLst>
              <a:ext uri="{FF2B5EF4-FFF2-40B4-BE49-F238E27FC236}">
                <a16:creationId xmlns:a16="http://schemas.microsoft.com/office/drawing/2014/main" id="{27A5A02D-C930-11A7-CAD8-222BDB05A171}"/>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600951" y="5883707"/>
            <a:ext cx="247701" cy="238408"/>
          </a:xfrm>
          <a:prstGeom prst="rect">
            <a:avLst/>
          </a:prstGeom>
        </p:spPr>
      </p:pic>
      <p:sp>
        <p:nvSpPr>
          <p:cNvPr id="21" name="Content Placeholder 20">
            <a:extLst>
              <a:ext uri="{FF2B5EF4-FFF2-40B4-BE49-F238E27FC236}">
                <a16:creationId xmlns:a16="http://schemas.microsoft.com/office/drawing/2014/main" id="{46A9C70C-276E-351C-C598-87624FCAEA39}"/>
              </a:ext>
            </a:extLst>
          </p:cNvPr>
          <p:cNvSpPr>
            <a:spLocks noGrp="1"/>
          </p:cNvSpPr>
          <p:nvPr>
            <p:ph idx="1"/>
          </p:nvPr>
        </p:nvSpPr>
        <p:spPr>
          <a:xfrm>
            <a:off x="606100" y="1645747"/>
            <a:ext cx="7456522" cy="4373871"/>
          </a:xfrm>
        </p:spPr>
        <p:txBody>
          <a:bodyPr vert="horz" lIns="91440" tIns="45720" rIns="91440" bIns="45720" rtlCol="0" anchor="t">
            <a:noAutofit/>
          </a:bodyPr>
          <a:lstStyle/>
          <a:p>
            <a:pPr marL="0" indent="0">
              <a:buNone/>
            </a:pPr>
            <a:r>
              <a:rPr lang="en-US" sz="2800">
                <a:ea typeface="+mn-lt"/>
                <a:cs typeface="+mn-lt"/>
              </a:rPr>
              <a:t>Nearly</a:t>
            </a:r>
            <a:r>
              <a:rPr lang="en-US" sz="2800" b="1">
                <a:ea typeface="+mn-lt"/>
                <a:cs typeface="+mn-lt"/>
              </a:rPr>
              <a:t> 13x</a:t>
            </a:r>
            <a:r>
              <a:rPr lang="en-US" sz="2800">
                <a:ea typeface="+mn-lt"/>
                <a:cs typeface="+mn-lt"/>
              </a:rPr>
              <a:t> increase in teams who have patient/community engagement strategy in place from start of BE initiative (4% --&gt; 50%)</a:t>
            </a:r>
            <a:endParaRPr lang="en-US"/>
          </a:p>
          <a:p>
            <a:pPr marL="0" indent="0">
              <a:buNone/>
            </a:pPr>
            <a:r>
              <a:rPr lang="en-US" sz="2800" b="1">
                <a:ea typeface="+mn-lt"/>
                <a:cs typeface="+mn-lt"/>
              </a:rPr>
              <a:t>20 </a:t>
            </a:r>
            <a:r>
              <a:rPr lang="en-US" sz="2800">
                <a:ea typeface="+mn-lt"/>
                <a:cs typeface="+mn-lt"/>
              </a:rPr>
              <a:t>hospitals have held Respectful Care Breakfasts in 2023</a:t>
            </a:r>
            <a:endParaRPr lang="en-US" sz="2800">
              <a:cs typeface="Calibri"/>
            </a:endParaRPr>
          </a:p>
          <a:p>
            <a:pPr marL="0" indent="0">
              <a:buNone/>
            </a:pPr>
            <a:r>
              <a:rPr lang="en-US" sz="2800" b="1">
                <a:ea typeface="+mn-lt"/>
                <a:cs typeface="+mn-lt"/>
              </a:rPr>
              <a:t>7</a:t>
            </a:r>
            <a:r>
              <a:rPr lang="en-US" sz="2800">
                <a:ea typeface="+mn-lt"/>
                <a:cs typeface="+mn-lt"/>
              </a:rPr>
              <a:t> Patient Partners engaged on hospital QI teams</a:t>
            </a:r>
            <a:endParaRPr lang="en-US"/>
          </a:p>
          <a:p>
            <a:pPr marL="0" indent="0">
              <a:buNone/>
            </a:pPr>
            <a:r>
              <a:rPr lang="en-US" sz="2800">
                <a:ea typeface="+mn-lt"/>
                <a:cs typeface="+mn-lt"/>
              </a:rPr>
              <a:t>ILPQC is offering a FREE Momma's Voices Patient &amp; Family Partner Training to each of the first</a:t>
            </a:r>
            <a:r>
              <a:rPr lang="en-US" sz="2800" b="1">
                <a:ea typeface="+mn-lt"/>
                <a:cs typeface="+mn-lt"/>
              </a:rPr>
              <a:t> 20</a:t>
            </a:r>
            <a:r>
              <a:rPr lang="en-US" sz="2800">
                <a:ea typeface="+mn-lt"/>
                <a:cs typeface="+mn-lt"/>
              </a:rPr>
              <a:t> patient partners identified!</a:t>
            </a:r>
            <a:endParaRPr lang="en-US"/>
          </a:p>
        </p:txBody>
      </p:sp>
      <p:pic>
        <p:nvPicPr>
          <p:cNvPr id="31" name="Graphic 5" descr="Badge New with solid fill">
            <a:extLst>
              <a:ext uri="{FF2B5EF4-FFF2-40B4-BE49-F238E27FC236}">
                <a16:creationId xmlns:a16="http://schemas.microsoft.com/office/drawing/2014/main" id="{7628A1FB-0082-2E3B-5D69-790C34917CBA}"/>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683831" y="2198627"/>
            <a:ext cx="247701" cy="247701"/>
          </a:xfrm>
          <a:prstGeom prst="rect">
            <a:avLst/>
          </a:prstGeom>
        </p:spPr>
      </p:pic>
      <p:pic>
        <p:nvPicPr>
          <p:cNvPr id="35" name="Graphic 5" descr="Badge New with solid fill">
            <a:extLst>
              <a:ext uri="{FF2B5EF4-FFF2-40B4-BE49-F238E27FC236}">
                <a16:creationId xmlns:a16="http://schemas.microsoft.com/office/drawing/2014/main" id="{016EC706-5381-6F8A-E645-312DBD2714A6}"/>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436228" y="1713785"/>
            <a:ext cx="247701" cy="247701"/>
          </a:xfrm>
          <a:prstGeom prst="rect">
            <a:avLst/>
          </a:prstGeom>
        </p:spPr>
      </p:pic>
      <p:sp>
        <p:nvSpPr>
          <p:cNvPr id="8" name="Rectangle: Rounded Corners 7">
            <a:extLst>
              <a:ext uri="{FF2B5EF4-FFF2-40B4-BE49-F238E27FC236}">
                <a16:creationId xmlns:a16="http://schemas.microsoft.com/office/drawing/2014/main" id="{3736185A-04B9-5AE2-4F05-767F6C9244FA}"/>
              </a:ext>
            </a:extLst>
          </p:cNvPr>
          <p:cNvSpPr/>
          <p:nvPr/>
        </p:nvSpPr>
        <p:spPr>
          <a:xfrm>
            <a:off x="9356123" y="4464907"/>
            <a:ext cx="2677296" cy="116898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000">
                <a:cs typeface="Calibri"/>
              </a:rPr>
              <a:t>20 Respectful Care Breakfasts</a:t>
            </a:r>
            <a:endParaRPr lang="en-US"/>
          </a:p>
          <a:p>
            <a:pPr algn="ctr"/>
            <a:r>
              <a:rPr lang="en-US" sz="2000">
                <a:cs typeface="Calibri"/>
              </a:rPr>
              <a:t>May – Nov 2023</a:t>
            </a:r>
          </a:p>
        </p:txBody>
      </p:sp>
      <p:pic>
        <p:nvPicPr>
          <p:cNvPr id="3" name="Graphic 5" descr="Badge New with solid fill">
            <a:extLst>
              <a:ext uri="{FF2B5EF4-FFF2-40B4-BE49-F238E27FC236}">
                <a16:creationId xmlns:a16="http://schemas.microsoft.com/office/drawing/2014/main" id="{195523A0-798C-A60D-7C9F-1400D4F29FEF}"/>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680115" y="2441757"/>
            <a:ext cx="247701" cy="247701"/>
          </a:xfrm>
          <a:prstGeom prst="rect">
            <a:avLst/>
          </a:prstGeom>
        </p:spPr>
      </p:pic>
      <p:pic>
        <p:nvPicPr>
          <p:cNvPr id="9" name="Graphic 5" descr="Badge New with solid fill">
            <a:extLst>
              <a:ext uri="{FF2B5EF4-FFF2-40B4-BE49-F238E27FC236}">
                <a16:creationId xmlns:a16="http://schemas.microsoft.com/office/drawing/2014/main" id="{E2B8F2AE-8F1C-81CB-C781-ADAB14246E4D}"/>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910370" y="4975014"/>
            <a:ext cx="247701" cy="247701"/>
          </a:xfrm>
          <a:prstGeom prst="rect">
            <a:avLst/>
          </a:prstGeom>
        </p:spPr>
      </p:pic>
      <p:pic>
        <p:nvPicPr>
          <p:cNvPr id="11" name="Graphic 5" descr="Badge New with solid fill">
            <a:extLst>
              <a:ext uri="{FF2B5EF4-FFF2-40B4-BE49-F238E27FC236}">
                <a16:creationId xmlns:a16="http://schemas.microsoft.com/office/drawing/2014/main" id="{999026FA-999B-16AC-AD2B-0DD10F0A26F4}"/>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884031" y="2270038"/>
            <a:ext cx="247701" cy="247701"/>
          </a:xfrm>
          <a:prstGeom prst="rect">
            <a:avLst/>
          </a:prstGeom>
        </p:spPr>
      </p:pic>
      <p:pic>
        <p:nvPicPr>
          <p:cNvPr id="12" name="Graphic 5" descr="Badge New with solid fill">
            <a:extLst>
              <a:ext uri="{FF2B5EF4-FFF2-40B4-BE49-F238E27FC236}">
                <a16:creationId xmlns:a16="http://schemas.microsoft.com/office/drawing/2014/main" id="{E83BF750-B616-843D-AF53-23F93408E817}"/>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633470" y="1718970"/>
            <a:ext cx="247701" cy="247701"/>
          </a:xfrm>
          <a:prstGeom prst="rect">
            <a:avLst/>
          </a:prstGeom>
        </p:spPr>
      </p:pic>
      <p:pic>
        <p:nvPicPr>
          <p:cNvPr id="13" name="Graphic 5" descr="Badge New with solid fill">
            <a:extLst>
              <a:ext uri="{FF2B5EF4-FFF2-40B4-BE49-F238E27FC236}">
                <a16:creationId xmlns:a16="http://schemas.microsoft.com/office/drawing/2014/main" id="{D3CEBC24-4F23-6E3A-29B1-758FF7AE5CD9}"/>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771163" y="1715254"/>
            <a:ext cx="247701" cy="247701"/>
          </a:xfrm>
          <a:prstGeom prst="rect">
            <a:avLst/>
          </a:prstGeom>
        </p:spPr>
      </p:pic>
      <p:pic>
        <p:nvPicPr>
          <p:cNvPr id="14" name="Graphic 5" descr="Badge New with solid fill">
            <a:extLst>
              <a:ext uri="{FF2B5EF4-FFF2-40B4-BE49-F238E27FC236}">
                <a16:creationId xmlns:a16="http://schemas.microsoft.com/office/drawing/2014/main" id="{CB74F1DF-5187-6D30-9C82-1CBBB6EB1C63}"/>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512800" y="2309114"/>
            <a:ext cx="247701" cy="247701"/>
          </a:xfrm>
          <a:prstGeom prst="rect">
            <a:avLst/>
          </a:prstGeom>
        </p:spPr>
      </p:pic>
      <p:pic>
        <p:nvPicPr>
          <p:cNvPr id="15" name="Graphic 5" descr="Badge New with solid fill">
            <a:extLst>
              <a:ext uri="{FF2B5EF4-FFF2-40B4-BE49-F238E27FC236}">
                <a16:creationId xmlns:a16="http://schemas.microsoft.com/office/drawing/2014/main" id="{C7300F3E-5E53-D5E6-6857-A8EA4F59A6D7}"/>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024338" y="2563114"/>
            <a:ext cx="247701" cy="247701"/>
          </a:xfrm>
          <a:prstGeom prst="rect">
            <a:avLst/>
          </a:prstGeom>
        </p:spPr>
      </p:pic>
      <p:pic>
        <p:nvPicPr>
          <p:cNvPr id="16" name="Graphic 5" descr="Badge New with solid fill">
            <a:extLst>
              <a:ext uri="{FF2B5EF4-FFF2-40B4-BE49-F238E27FC236}">
                <a16:creationId xmlns:a16="http://schemas.microsoft.com/office/drawing/2014/main" id="{CE4530F3-F8CC-51CB-EB1A-66A09CD7C6D4}"/>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815646" y="2436115"/>
            <a:ext cx="247701" cy="247701"/>
          </a:xfrm>
          <a:prstGeom prst="rect">
            <a:avLst/>
          </a:prstGeom>
        </p:spPr>
      </p:pic>
      <p:pic>
        <p:nvPicPr>
          <p:cNvPr id="18" name="Graphic 5" descr="Badge New with solid fill">
            <a:extLst>
              <a:ext uri="{FF2B5EF4-FFF2-40B4-BE49-F238E27FC236}">
                <a16:creationId xmlns:a16="http://schemas.microsoft.com/office/drawing/2014/main" id="{146FED9A-563A-3506-3036-6BA62285DBD2}"/>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389338" y="2817114"/>
            <a:ext cx="247701" cy="247701"/>
          </a:xfrm>
          <a:prstGeom prst="rect">
            <a:avLst/>
          </a:prstGeom>
        </p:spPr>
      </p:pic>
      <p:pic>
        <p:nvPicPr>
          <p:cNvPr id="19" name="Graphic 5" descr="Badge New with solid fill">
            <a:extLst>
              <a:ext uri="{FF2B5EF4-FFF2-40B4-BE49-F238E27FC236}">
                <a16:creationId xmlns:a16="http://schemas.microsoft.com/office/drawing/2014/main" id="{51EE5AF0-C780-2D97-C58C-6937A78B7C17}"/>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024337" y="3715883"/>
            <a:ext cx="247701" cy="247701"/>
          </a:xfrm>
          <a:prstGeom prst="rect">
            <a:avLst/>
          </a:prstGeom>
        </p:spPr>
      </p:pic>
      <p:pic>
        <p:nvPicPr>
          <p:cNvPr id="20" name="Graphic 5" descr="Badge New with solid fill">
            <a:extLst>
              <a:ext uri="{FF2B5EF4-FFF2-40B4-BE49-F238E27FC236}">
                <a16:creationId xmlns:a16="http://schemas.microsoft.com/office/drawing/2014/main" id="{E56A7663-FEFA-CBE3-56F5-B706CC1C57D9}"/>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512800" y="2182114"/>
            <a:ext cx="247701" cy="247701"/>
          </a:xfrm>
          <a:prstGeom prst="rect">
            <a:avLst/>
          </a:prstGeom>
        </p:spPr>
      </p:pic>
      <p:pic>
        <p:nvPicPr>
          <p:cNvPr id="22" name="Graphic 5" descr="Badge New with solid fill">
            <a:extLst>
              <a:ext uri="{FF2B5EF4-FFF2-40B4-BE49-F238E27FC236}">
                <a16:creationId xmlns:a16="http://schemas.microsoft.com/office/drawing/2014/main" id="{A62CEA58-C1DE-FB2C-F176-8B8294A58C68}"/>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757030" y="2563115"/>
            <a:ext cx="247701" cy="247701"/>
          </a:xfrm>
          <a:prstGeom prst="rect">
            <a:avLst/>
          </a:prstGeom>
        </p:spPr>
      </p:pic>
      <p:pic>
        <p:nvPicPr>
          <p:cNvPr id="23" name="Graphic 5" descr="Badge New with solid fill">
            <a:extLst>
              <a:ext uri="{FF2B5EF4-FFF2-40B4-BE49-F238E27FC236}">
                <a16:creationId xmlns:a16="http://schemas.microsoft.com/office/drawing/2014/main" id="{200576E4-0CE8-3BA3-96DA-2C14DD80117E}"/>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317415" y="2201652"/>
            <a:ext cx="247701" cy="247701"/>
          </a:xfrm>
          <a:prstGeom prst="rect">
            <a:avLst/>
          </a:prstGeom>
        </p:spPr>
      </p:pic>
      <p:pic>
        <p:nvPicPr>
          <p:cNvPr id="24" name="Graphic 5" descr="Badge New with solid fill">
            <a:extLst>
              <a:ext uri="{FF2B5EF4-FFF2-40B4-BE49-F238E27FC236}">
                <a16:creationId xmlns:a16="http://schemas.microsoft.com/office/drawing/2014/main" id="{63B38D4E-2D5F-C5CD-A780-64F224A92A4A}"/>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942645" y="2397038"/>
            <a:ext cx="247701" cy="247701"/>
          </a:xfrm>
          <a:prstGeom prst="rect">
            <a:avLst/>
          </a:prstGeom>
        </p:spPr>
      </p:pic>
      <p:pic>
        <p:nvPicPr>
          <p:cNvPr id="26" name="Graphic 5" descr="Badge New with solid fill">
            <a:extLst>
              <a:ext uri="{FF2B5EF4-FFF2-40B4-BE49-F238E27FC236}">
                <a16:creationId xmlns:a16="http://schemas.microsoft.com/office/drawing/2014/main" id="{38D4E71D-842B-83DE-FBF5-F0C3442DD9B0}"/>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698413" y="2318884"/>
            <a:ext cx="247701" cy="247701"/>
          </a:xfrm>
          <a:prstGeom prst="rect">
            <a:avLst/>
          </a:prstGeom>
        </p:spPr>
      </p:pic>
      <p:sp>
        <p:nvSpPr>
          <p:cNvPr id="25" name="Star: 5 Points 24">
            <a:extLst>
              <a:ext uri="{FF2B5EF4-FFF2-40B4-BE49-F238E27FC236}">
                <a16:creationId xmlns:a16="http://schemas.microsoft.com/office/drawing/2014/main" id="{7D3D0E9B-6BAA-933A-47D0-3EB503BC7446}"/>
              </a:ext>
            </a:extLst>
          </p:cNvPr>
          <p:cNvSpPr/>
          <p:nvPr/>
        </p:nvSpPr>
        <p:spPr>
          <a:xfrm>
            <a:off x="9386159" y="1708042"/>
            <a:ext cx="206644" cy="245390"/>
          </a:xfrm>
          <a:prstGeom prst="star5">
            <a:avLst/>
          </a:prstGeom>
          <a:solidFill>
            <a:srgbClr val="FFFF00"/>
          </a:solidFill>
          <a:ln>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8" name="Graphic 5" descr="Badge New with solid fill">
            <a:extLst>
              <a:ext uri="{FF2B5EF4-FFF2-40B4-BE49-F238E27FC236}">
                <a16:creationId xmlns:a16="http://schemas.microsoft.com/office/drawing/2014/main" id="{848AAE80-596F-FE82-C177-C05C6AB8F8E4}"/>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151338" y="1928113"/>
            <a:ext cx="247701" cy="247701"/>
          </a:xfrm>
          <a:prstGeom prst="rect">
            <a:avLst/>
          </a:prstGeom>
        </p:spPr>
      </p:pic>
      <p:pic>
        <p:nvPicPr>
          <p:cNvPr id="6" name="Graphic 5" descr="Badge New with solid fill">
            <a:extLst>
              <a:ext uri="{FF2B5EF4-FFF2-40B4-BE49-F238E27FC236}">
                <a16:creationId xmlns:a16="http://schemas.microsoft.com/office/drawing/2014/main" id="{5327B7A2-63A5-A0F3-5D24-30437DC4EC30}"/>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3" y="3282012"/>
            <a:ext cx="701938" cy="682013"/>
          </a:xfrm>
          <a:prstGeom prst="rect">
            <a:avLst/>
          </a:prstGeom>
        </p:spPr>
      </p:pic>
      <p:sp>
        <p:nvSpPr>
          <p:cNvPr id="29" name="Star: 5 Points 28">
            <a:extLst>
              <a:ext uri="{FF2B5EF4-FFF2-40B4-BE49-F238E27FC236}">
                <a16:creationId xmlns:a16="http://schemas.microsoft.com/office/drawing/2014/main" id="{2683819D-B268-71D9-14BF-797BB85380F7}"/>
              </a:ext>
            </a:extLst>
          </p:cNvPr>
          <p:cNvSpPr/>
          <p:nvPr/>
        </p:nvSpPr>
        <p:spPr>
          <a:xfrm>
            <a:off x="48430" y="4222111"/>
            <a:ext cx="608118" cy="556458"/>
          </a:xfrm>
          <a:prstGeom prst="star5">
            <a:avLst/>
          </a:prstGeom>
          <a:solidFill>
            <a:srgbClr val="FFFF00"/>
          </a:solidFill>
          <a:ln>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Star: 5 Points 29">
            <a:extLst>
              <a:ext uri="{FF2B5EF4-FFF2-40B4-BE49-F238E27FC236}">
                <a16:creationId xmlns:a16="http://schemas.microsoft.com/office/drawing/2014/main" id="{F763E378-73B6-1F4B-4DAD-149C96EA667C}"/>
              </a:ext>
            </a:extLst>
          </p:cNvPr>
          <p:cNvSpPr/>
          <p:nvPr/>
        </p:nvSpPr>
        <p:spPr>
          <a:xfrm>
            <a:off x="10961819" y="2340889"/>
            <a:ext cx="206644" cy="245390"/>
          </a:xfrm>
          <a:prstGeom prst="star5">
            <a:avLst/>
          </a:prstGeom>
          <a:solidFill>
            <a:srgbClr val="FFFF00"/>
          </a:solidFill>
          <a:ln>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Star: 5 Points 32">
            <a:extLst>
              <a:ext uri="{FF2B5EF4-FFF2-40B4-BE49-F238E27FC236}">
                <a16:creationId xmlns:a16="http://schemas.microsoft.com/office/drawing/2014/main" id="{182BBC9E-CCFD-D001-DA79-3EDEA7622824}"/>
              </a:ext>
            </a:extLst>
          </p:cNvPr>
          <p:cNvSpPr/>
          <p:nvPr/>
        </p:nvSpPr>
        <p:spPr>
          <a:xfrm>
            <a:off x="10613108" y="1708042"/>
            <a:ext cx="206644" cy="245390"/>
          </a:xfrm>
          <a:prstGeom prst="star5">
            <a:avLst/>
          </a:prstGeom>
          <a:solidFill>
            <a:srgbClr val="FFFF00"/>
          </a:solidFill>
          <a:ln>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Star: 5 Points 33">
            <a:extLst>
              <a:ext uri="{FF2B5EF4-FFF2-40B4-BE49-F238E27FC236}">
                <a16:creationId xmlns:a16="http://schemas.microsoft.com/office/drawing/2014/main" id="{375895AA-05CB-B21F-ED9D-97BDBEDD8FFE}"/>
              </a:ext>
            </a:extLst>
          </p:cNvPr>
          <p:cNvSpPr/>
          <p:nvPr/>
        </p:nvSpPr>
        <p:spPr>
          <a:xfrm>
            <a:off x="10819751" y="2276312"/>
            <a:ext cx="206644" cy="245390"/>
          </a:xfrm>
          <a:prstGeom prst="star5">
            <a:avLst/>
          </a:prstGeom>
          <a:solidFill>
            <a:srgbClr val="FFFF00"/>
          </a:solidFill>
          <a:ln>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Star: 5 Points 35">
            <a:extLst>
              <a:ext uri="{FF2B5EF4-FFF2-40B4-BE49-F238E27FC236}">
                <a16:creationId xmlns:a16="http://schemas.microsoft.com/office/drawing/2014/main" id="{17C8ABA9-BD95-4A6D-3AF7-4AECB00E6D9F}"/>
              </a:ext>
            </a:extLst>
          </p:cNvPr>
          <p:cNvSpPr/>
          <p:nvPr/>
        </p:nvSpPr>
        <p:spPr>
          <a:xfrm>
            <a:off x="10109413" y="2392550"/>
            <a:ext cx="206644" cy="245390"/>
          </a:xfrm>
          <a:prstGeom prst="star5">
            <a:avLst/>
          </a:prstGeom>
          <a:solidFill>
            <a:srgbClr val="FFFF00"/>
          </a:solidFill>
          <a:ln>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Star: 5 Points 36">
            <a:extLst>
              <a:ext uri="{FF2B5EF4-FFF2-40B4-BE49-F238E27FC236}">
                <a16:creationId xmlns:a16="http://schemas.microsoft.com/office/drawing/2014/main" id="{7D7B2BC9-4203-17DA-0FB4-543CF6D55553}"/>
              </a:ext>
            </a:extLst>
          </p:cNvPr>
          <p:cNvSpPr/>
          <p:nvPr/>
        </p:nvSpPr>
        <p:spPr>
          <a:xfrm>
            <a:off x="10574362" y="2172991"/>
            <a:ext cx="206644" cy="245390"/>
          </a:xfrm>
          <a:prstGeom prst="star5">
            <a:avLst/>
          </a:prstGeom>
          <a:solidFill>
            <a:srgbClr val="FFFF00"/>
          </a:solidFill>
          <a:ln>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Star: 5 Points 37">
            <a:extLst>
              <a:ext uri="{FF2B5EF4-FFF2-40B4-BE49-F238E27FC236}">
                <a16:creationId xmlns:a16="http://schemas.microsoft.com/office/drawing/2014/main" id="{EB5E07AC-F0E4-A176-4894-8E8B3CB49707}"/>
              </a:ext>
            </a:extLst>
          </p:cNvPr>
          <p:cNvSpPr/>
          <p:nvPr/>
        </p:nvSpPr>
        <p:spPr>
          <a:xfrm>
            <a:off x="10186904" y="2560448"/>
            <a:ext cx="206644" cy="245390"/>
          </a:xfrm>
          <a:prstGeom prst="star5">
            <a:avLst/>
          </a:prstGeom>
          <a:solidFill>
            <a:srgbClr val="FFFF00"/>
          </a:solidFill>
          <a:ln>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938321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Application>Microsoft Office PowerPoint</Application>
  <PresentationFormat>Widescreen</PresentationFormat>
  <Slides>36</Slides>
  <Notes>12</Notes>
  <HiddenSlides>0</HiddenSlides>
  <ScaleCrop>false</ScaleCrop>
  <HeadingPairs>
    <vt:vector size="4" baseType="variant">
      <vt:variant>
        <vt:lpstr>Theme</vt:lpstr>
      </vt:variant>
      <vt:variant>
        <vt:i4>3</vt:i4>
      </vt:variant>
      <vt:variant>
        <vt:lpstr>Slide Titles</vt:lpstr>
      </vt:variant>
      <vt:variant>
        <vt:i4>36</vt:i4>
      </vt:variant>
    </vt:vector>
  </HeadingPairs>
  <TitlesOfParts>
    <vt:vector size="39" baseType="lpstr">
      <vt:lpstr>1_Office Theme</vt:lpstr>
      <vt:lpstr>3_Office Theme</vt:lpstr>
      <vt:lpstr>Office Theme</vt:lpstr>
      <vt:lpstr>PowerPoint Presentation</vt:lpstr>
      <vt:lpstr>Patient, Family &amp; Community Engagement  Breakout Session</vt:lpstr>
      <vt:lpstr>Patient, Family, Community Engagement Breakout Session  </vt:lpstr>
      <vt:lpstr>Engaging patients, families and communities through ILPQC</vt:lpstr>
      <vt:lpstr>Together, we are ILPQC! Patient, family &amp; community engagement focus in 2023</vt:lpstr>
      <vt:lpstr>ILPQC 2023 Obstetric Community Advisory Board</vt:lpstr>
      <vt:lpstr>ILPQC 2023 Neonatal Community Advisory Board</vt:lpstr>
      <vt:lpstr>Linking with Community Partners</vt:lpstr>
      <vt:lpstr>Advancing Hospital-level Patient &amp; Community Engagement</vt:lpstr>
      <vt:lpstr>Respectful Care Breakfast: A Celebration of Respectful Care and Patient Voices  Building connections over breakfast with postpartum patients, community members, and clinical staff for discussion and feedback on respectful care</vt:lpstr>
      <vt:lpstr>Respectful Care Breakfast: A Celebration of Respectful Care and Patient Voices  Building connections over breakfast with postpartum patients, community members, and clinical staff for discussion and feedback on respectful care</vt:lpstr>
      <vt:lpstr>Respectful Care Breakfasts Across IL</vt:lpstr>
      <vt:lpstr>Respectful Care Breakfast – Completed by 20 Hospitals Focused on listening to patients</vt:lpstr>
      <vt:lpstr>PowerPoint Presentation</vt:lpstr>
      <vt:lpstr>Who is a patient partner?</vt:lpstr>
      <vt:lpstr>Identification of Patient Partner</vt:lpstr>
      <vt:lpstr>PowerPoint Presentation</vt:lpstr>
      <vt:lpstr>Momma's Voices Patient Family Partner Training</vt:lpstr>
      <vt:lpstr>Our ILPQC goal for Patient Engagement in 2024</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revision>393</cp:revision>
  <dcterms:created xsi:type="dcterms:W3CDTF">2022-10-24T05:36:57Z</dcterms:created>
  <dcterms:modified xsi:type="dcterms:W3CDTF">2023-11-10T15:48:27Z</dcterms:modified>
</cp:coreProperties>
</file>